
<file path=[Content_Types].xml><?xml version="1.0" encoding="utf-8"?>
<Types xmlns="http://schemas.openxmlformats.org/package/2006/content-types">
  <Override PartName="/ppt/slideLayouts/slideLayout307.xml" ContentType="application/vnd.openxmlformats-officedocument.presentationml.slideLayout+xml"/>
  <Override PartName="/ppt/tags/tag8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408.xml" ContentType="application/vnd.openxmlformats-officedocument.presentationml.slideLayout+xml"/>
  <Default Extension="xml" ContentType="application/xml"/>
  <Override PartName="/ppt/slides/slide50.xml" ContentType="application/vnd.openxmlformats-officedocument.presentationml.slide+xml"/>
  <Override PartName="/ppt/slideLayouts/slideLayout24.xml" ContentType="application/vnd.openxmlformats-officedocument.presentationml.slideLayout+xml"/>
  <Override PartName="/ppt/slideLayouts/slideLayout247.xml" ContentType="application/vnd.openxmlformats-officedocument.presentationml.slideLayout+xml"/>
  <Override PartName="/ppt/tags/tag38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Masters/slideMaster11.xml" ContentType="application/vnd.openxmlformats-officedocument.presentationml.slideMaster+xml"/>
  <Override PartName="/ppt/slideLayouts/slideLayout272.xml" ContentType="application/vnd.openxmlformats-officedocument.presentationml.slideLayout+xml"/>
  <Override PartName="/ppt/slideLayouts/slideLayout509.xml" ContentType="application/vnd.openxmlformats-officedocument.presentationml.slideLayout+xml"/>
  <Override PartName="/ppt/theme/themeOverride17.xml" ContentType="application/vnd.openxmlformats-officedocument.themeOverride+xml"/>
  <Override PartName="/ppt/slideLayouts/slideLayout203.xml" ContentType="application/vnd.openxmlformats-officedocument.presentationml.slideLayout+xml"/>
  <Override PartName="/ppt/slideLayouts/slideLayout348.xml" ContentType="application/vnd.openxmlformats-officedocument.presentationml.slideLayout+xml"/>
  <Override PartName="/ppt/theme/theme32.xml" ContentType="application/vnd.openxmlformats-officedocument.theme+xml"/>
  <Override PartName="/ppt/charts/chart3.xml" ContentType="application/vnd.openxmlformats-officedocument.drawingml.chart+xml"/>
  <Override PartName="/ppt/slideLayouts/slideLayout187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534.xml" ContentType="application/vnd.openxmlformats-officedocument.presentationml.slideLayout+xml"/>
  <Default Extension="png" ContentType="image/png"/>
  <Override PartName="/ppt/slideLayouts/slideLayout118.xml" ContentType="application/vnd.openxmlformats-officedocument.presentationml.slideLayout+xml"/>
  <Override PartName="/ppt/slideLayouts/slideLayout65.xml" ContentType="application/vnd.openxmlformats-officedocument.presentationml.slideLayout+xml"/>
  <Override PartName="/ppt/tags/tag5.xml" ContentType="application/vnd.openxmlformats-officedocument.presentationml.tags+xml"/>
  <Override PartName="/ppt/slideLayouts/slideLayout304.xml" ContentType="application/vnd.openxmlformats-officedocument.presentationml.slideLayout+xml"/>
  <Override PartName="/ppt/slideLayouts/slideLayout449.xml" ContentType="application/vnd.openxmlformats-officedocument.presentationml.slideLayout+xml"/>
  <Override PartName="/ppt/theme/themeOverride6.xml" ContentType="application/vnd.openxmlformats-officedocument.themeOverride+xml"/>
  <Override PartName="/ppt/charts/chart18.xml" ContentType="application/vnd.openxmlformats-officedocument.drawingml.chart+xml"/>
  <Override PartName="/ppt/slideMasters/slideMaster27.xml" ContentType="application/vnd.openxmlformats-officedocument.presentationml.slideMaster+xml"/>
  <Override PartName="/ppt/slides/slide44.xml" ContentType="application/vnd.openxmlformats-officedocument.presentationml.slide+xml"/>
  <Override PartName="/ppt/slideLayouts/slideLayout43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74.xml" ContentType="application/vnd.openxmlformats-officedocument.presentationml.slideLayout+xml"/>
  <Default Extension="emf" ContentType="image/x-emf"/>
  <Override PartName="/ppt/slides/slide22.xml" ContentType="application/vnd.openxmlformats-officedocument.presentationml.slide+xml"/>
  <Override PartName="/ppt/slideLayouts/slideLayout219.xml" ContentType="application/vnd.openxmlformats-officedocument.presentationml.slideLayout+xml"/>
  <Override PartName="/ppt/slideLayouts/slideLayout266.xml" ContentType="application/vnd.openxmlformats-officedocument.presentationml.slideLayout+xml"/>
  <Override PartName="/ppt/theme/theme48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26.xml" ContentType="application/vnd.openxmlformats-officedocument.theme+xml"/>
  <Override PartName="/ppt/slideLayouts/slideLayout389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52.xml" ContentType="application/vnd.openxmlformats-officedocument.presentationml.slideLayout+xml"/>
  <Override PartName="/ppt/tags/tag35.xml" ContentType="application/vnd.openxmlformats-officedocument.presentationml.tags+xml"/>
  <Override PartName="/ppt/slideMasters/slideMaster30.xml" ContentType="application/vnd.openxmlformats-officedocument.presentationml.slideMaster+xml"/>
  <Override PartName="/ppt/slideLayouts/slideLayout244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53.xml" ContentType="application/vnd.openxmlformats-officedocument.presentationml.slideLayout+xml"/>
  <Override PartName="/ppt/tags/tag13.xml" ContentType="application/vnd.openxmlformats-officedocument.presentationml.tags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92.xml" ContentType="application/vnd.openxmlformats-officedocument.presentationml.slideLayout+xml"/>
  <Override PartName="/ppt/theme/themeOverride14.xml" ContentType="application/vnd.openxmlformats-officedocument.themeOverride+xml"/>
  <Override PartName="/ppt/slides/slide38.xml" ContentType="application/vnd.openxmlformats-officedocument.presentationml.slide+xml"/>
  <Override PartName="/ppt/slideLayouts/slideLayout137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Masters/slideMaster46.xml" ContentType="application/vnd.openxmlformats-officedocument.presentationml.slideMaster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01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93.xml" ContentType="application/vnd.openxmlformats-officedocument.presentationml.slideLayout+xml"/>
  <Override PartName="/ppt/theme/themeOverride3.xml" ContentType="application/vnd.openxmlformats-officedocument.themeOverride+xml"/>
  <Override PartName="/ppt/slides/slide41.xml" ContentType="application/vnd.openxmlformats-officedocument.presentationml.slide+xml"/>
  <Override PartName="/ppt/slideLayouts/slideLayout140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569.xml" ContentType="application/vnd.openxmlformats-officedocument.presentationml.slideLayout+xml"/>
  <Override PartName="/ppt/tags/tag29.xml" ContentType="application/vnd.openxmlformats-officedocument.presentationml.tags+xml"/>
  <Override PartName="/ppt/charts/chart15.xml" ContentType="application/vnd.openxmlformats-officedocument.drawingml.chart+xml"/>
  <Override PartName="/ppt/slideMasters/slideMaster24.xml" ContentType="application/vnd.openxmlformats-officedocument.presentationml.slideMaster+xml"/>
  <Override PartName="/ppt/slideLayouts/slideLayout40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71.xml" ContentType="application/vnd.openxmlformats-officedocument.presentationml.slideLayout+xml"/>
  <Override PartName="/ppt/theme/theme45.xml" ContentType="application/vnd.openxmlformats-officedocument.theme+xml"/>
  <Override PartName="/ppt/slideLayouts/slideLayout216.xml" ContentType="application/vnd.openxmlformats-officedocument.presentationml.slideLayout+xml"/>
  <Override PartName="/ppt/slideLayouts/slideLayout263.xml" ContentType="application/vnd.openxmlformats-officedocument.presentationml.slideLayout+xml"/>
  <Override PartName="/ppt/theme/theme23.xml" ContentType="application/vnd.openxmlformats-officedocument.theme+xml"/>
  <Override PartName="/ppt/slideLayouts/slideLayout402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72.xml" ContentType="application/vnd.openxmlformats-officedocument.presentationml.slideLayout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64.xml" ContentType="application/vnd.openxmlformats-officedocument.presentationml.slideLayout+xml"/>
  <Override PartName="/ppt/tags/tag10.xml" ContentType="application/vnd.openxmlformats-officedocument.presentationml.tags+xml"/>
  <Override PartName="/ppt/slideMasters/slideMaster2.xml" ContentType="application/vnd.openxmlformats-officedocument.presentationml.slideMaster+xml"/>
  <Override PartName="/ppt/slideLayouts/slideLayout109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50.xml" ContentType="application/vnd.openxmlformats-officedocument.presentationml.slideLayout+xml"/>
  <Override PartName="/ppt/theme/themeOverride11.xml" ContentType="application/vnd.openxmlformats-officedocument.themeOverride+xml"/>
  <Override PartName="/ppt/notesSlides/notesSlide1.xml" ContentType="application/vnd.openxmlformats-officedocument.presentationml.notesSlide+xml"/>
  <Override PartName="/ppt/slideLayouts/slideLayout56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Masters/slideMaster18.xml" ContentType="application/vnd.openxmlformats-officedocument.presentationml.slideMaster+xml"/>
  <Override PartName="/ppt/slides/slide35.xml" ContentType="application/vnd.openxmlformats-officedocument.presentationml.slide+xml"/>
  <Override PartName="/ppt/slideLayouts/slideLayout34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65.xml" ContentType="application/vnd.openxmlformats-officedocument.presentationml.slideLayout+xml"/>
  <Override PartName="/ppt/theme/theme39.xml" ContentType="application/vnd.openxmlformats-officedocument.theme+xml"/>
  <Override PartName="/ppt/slides/slide13.xml" ContentType="application/vnd.openxmlformats-officedocument.presentationml.slide+xml"/>
  <Override PartName="/ppt/slideLayouts/slideLayout112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Masters/slideMaster43.xml" ContentType="application/vnd.openxmlformats-officedocument.presentationml.slideMaster+xml"/>
  <Override PartName="/ppt/slideLayouts/slideLayout12.xml" ContentType="application/vnd.openxmlformats-officedocument.presentationml.slideLayout+xml"/>
  <Override PartName="/ppt/theme/theme17.xml" ContentType="application/vnd.openxmlformats-officedocument.theme+xml"/>
  <Override PartName="/ppt/slideLayouts/slideLayout235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90.xml" ContentType="application/vnd.openxmlformats-officedocument.presentationml.slideLayout+xml"/>
  <Override PartName="/ppt/charts/chart12.xml" ContentType="application/vnd.openxmlformats-officedocument.drawingml.chart+xml"/>
  <Override PartName="/ppt/tags/tag26.xml" ContentType="application/vnd.openxmlformats-officedocument.presentationml.tags+xml"/>
  <Override PartName="/ppt/slideMasters/slideMaster21.xml" ContentType="application/vnd.openxmlformats-officedocument.presentationml.slideMaster+xml"/>
  <Override PartName="/ppt/slideLayouts/slideLayout282.xml" ContentType="application/vnd.openxmlformats-officedocument.presentationml.slideLayout+xml"/>
  <Override PartName="/ppt/slideLayouts/slideLayout421.xml" ContentType="application/vnd.openxmlformats-officedocument.presentationml.slideLayout+xml"/>
  <Override PartName="/ppt/theme/theme42.xml" ContentType="application/vnd.openxmlformats-officedocument.theme+xml"/>
  <Override PartName="/ppt/slideLayouts/slideLayout519.xml" ContentType="application/vnd.openxmlformats-officedocument.presentationml.slideLayout+xml"/>
  <Override PartName="/ppt/slideLayouts/slideLayout566.xml" ContentType="application/vnd.openxmlformats-officedocument.presentationml.slideLayout+xml"/>
  <Override PartName="/ppt/theme/theme9.xml" ContentType="application/vnd.openxmlformats-officedocument.theme+xml"/>
  <Override PartName="/ppt/slideLayouts/slideLayout213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20.xml" ContentType="application/vnd.openxmlformats-officedocument.theme+xml"/>
  <Override PartName="/ppt/slideLayouts/slideLayout336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s/slide29.xml" ContentType="application/vnd.openxmlformats-officedocument.presentationml.slide+xml"/>
  <Override PartName="/ppt/slideLayouts/slideLayout128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Masters/slideMaster37.xml" ContentType="application/vnd.openxmlformats-officedocument.presentationml.slideMaster+xml"/>
  <Override PartName="/ppt/slideLayouts/slideLayout53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s/slide32.xml" ContentType="application/vnd.openxmlformats-officedocument.presentationml.slide+xml"/>
  <Override PartName="/ppt/slideLayouts/slideLayout131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Masters/slideMaster15.xml" ContentType="application/vnd.openxmlformats-officedocument.presentationml.slideMaster+xml"/>
  <Override PartName="/ppt/slides/slide10.xml" ContentType="application/vnd.openxmlformats-officedocument.presentationml.slide+xml"/>
  <Override PartName="/ppt/slideLayouts/slideLayout31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399.xml" ContentType="application/vnd.openxmlformats-officedocument.presentationml.slideLayout+xml"/>
  <Override PartName="/ppt/theme/theme36.xml" ContentType="application/vnd.openxmlformats-officedocument.theme+xml"/>
  <Override PartName="/ppt/slideMasters/slideMaster40.xml" ContentType="application/vnd.openxmlformats-officedocument.presentationml.slideMaster+xml"/>
  <Override PartName="/ppt/theme/theme14.xml" ContentType="application/vnd.openxmlformats-officedocument.theme+xml"/>
  <Override PartName="/ppt/slideLayouts/slideLayout440.xml" ContentType="application/vnd.openxmlformats-officedocument.presentationml.slideLayout+xml"/>
  <Override PartName="/ppt/slideLayouts/slideLayout538.xml" ContentType="application/vnd.openxmlformats-officedocument.presentationml.slideLayout+xml"/>
  <Override PartName="/ppt/charts/chart7.xml" ContentType="application/vnd.openxmlformats-officedocument.drawingml.chart+xml"/>
  <Override PartName="/ppt/slideLayouts/slideLayout232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63.xml" ContentType="application/vnd.openxmlformats-officedocument.presentationml.slideLayout+xml"/>
  <Override PartName="/ppt/tags/tag23.xml" ContentType="application/vnd.openxmlformats-officedocument.presentationml.tags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slideLayouts/slideLayout16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55.xml" ContentType="application/vnd.openxmlformats-officedocument.presentationml.slideLayout+xml"/>
  <Override PartName="/ppt/tags/tag9.xml" ContentType="application/vnd.openxmlformats-officedocument.presentationml.tags+xml"/>
  <Override PartName="/ppt/slides/slide48.xml" ContentType="application/vnd.openxmlformats-officedocument.presentationml.slide+xml"/>
  <Override PartName="/ppt/slideLayouts/slideLayout147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541.xml" ContentType="application/vnd.openxmlformats-officedocument.presentationml.slideLayout+xml"/>
  <Default Extension="bin" ContentType="application/vnd.openxmlformats-officedocument.oleObject"/>
  <Override PartName="/ppt/slides/slide26.xml" ContentType="application/vnd.openxmlformats-officedocument.presentationml.slide+xml"/>
  <Override PartName="/ppt/slideLayouts/slideLayout47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56.xml" ContentType="application/vnd.openxmlformats-officedocument.presentationml.slideLayout+xml"/>
  <Override PartName="/ppt/tags/tag39.xml" ContentType="application/vnd.openxmlformats-officedocument.presentationml.tags+xml"/>
  <Override PartName="/ppt/slideMasters/slideMaster34.xml" ContentType="application/vnd.openxmlformats-officedocument.presentationml.slideMaster+xml"/>
  <Override PartName="/ppt/slides/slide51.xml" ContentType="application/vnd.openxmlformats-officedocument.presentationml.slide+xml"/>
  <Override PartName="/ppt/slideLayouts/slideLayout103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557.xml" ContentType="application/vnd.openxmlformats-officedocument.presentationml.slideLayout+xml"/>
  <Override PartName="/ppt/tags/tag17.xml" ContentType="application/vnd.openxmlformats-officedocument.presentationml.tags+xml"/>
  <Override PartName="/ppt/slideMasters/slideMaster9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Layouts/slideLayout349.xml" ContentType="application/vnd.openxmlformats-officedocument.presentationml.slideLayout+xml"/>
  <Override PartName="/ppt/theme/theme33.xml" ContentType="application/vnd.openxmlformats-officedocument.theme+xml"/>
  <Override PartName="/ppt/slideLayouts/slideLayout396.xml" ContentType="application/vnd.openxmlformats-officedocument.presentationml.slideLayout+xml"/>
  <Override PartName="/ppt/slideLayouts/slideLayout412.xml" ContentType="application/vnd.openxmlformats-officedocument.presentationml.slideLayout+xml"/>
  <Override PartName="/ppt/theme/themeOverride18.xml" ContentType="application/vnd.openxmlformats-officedocument.themeOverride+xml"/>
  <Override PartName="/ppt/slideLayouts/slideLayout188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535.xml" ContentType="application/vnd.openxmlformats-officedocument.presentationml.slideLayout+xml"/>
  <Override PartName="/ppt/charts/chart4.xml" ContentType="application/vnd.openxmlformats-officedocument.drawingml.chart+xml"/>
  <Override PartName="/ppt/tags/tag42.xml" ContentType="application/vnd.openxmlformats-officedocument.presentationml.tags+xml"/>
  <Override PartName="/ppt/handoutMasters/handoutMaster1.xml" ContentType="application/vnd.openxmlformats-officedocument.presentationml.handoutMaster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ppt/slideLayouts/slideLayout327.xml" ContentType="application/vnd.openxmlformats-officedocument.presentationml.slideLayout+xml"/>
  <Override PartName="/ppt/slideLayouts/slideLayout374.xml" ContentType="application/vnd.openxmlformats-officedocument.presentationml.slideLayout+xml"/>
  <Override PartName="/ppt/tags/tag20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ags/tag6.xml" ContentType="application/vnd.openxmlformats-officedocument.presentationml.tags+xml"/>
  <Override PartName="/ppt/slideLayouts/slideLayout497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60.xml" ContentType="application/vnd.openxmlformats-officedocument.presentationml.slideLayout+xml"/>
  <Override PartName="/ppt/theme/themeOverride7.xml" ContentType="application/vnd.openxmlformats-officedocument.themeOverride+xml"/>
  <Override PartName="/ppt/slides/slide45.xml" ContentType="application/vnd.openxmlformats-officedocument.presentationml.slide+xml"/>
  <Override PartName="/ppt/theme/theme3.xml" ContentType="application/vnd.openxmlformats-officedocument.theme+xml"/>
  <Override PartName="/ppt/slideLayouts/slideLayout289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Masters/slideMaster28.xml" ContentType="application/vnd.openxmlformats-officedocument.presentationml.slideMaster+xml"/>
  <Override PartName="/ppt/slideLayouts/slideLayout44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75.xml" ContentType="application/vnd.openxmlformats-officedocument.presentationml.slideLayout+xml"/>
  <Override PartName="/ppt/theme/theme49.xml" ContentType="application/vnd.openxmlformats-officedocument.theme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92.xml" ContentType="application/vnd.openxmlformats-officedocument.presentationml.slideLayout+xml"/>
  <Override PartName="/ppt/theme/theme27.xml" ContentType="application/vnd.openxmlformats-officedocument.theme+xml"/>
  <Override PartName="/ppt/slideLayouts/slideLayout529.xml" ContentType="application/vnd.openxmlformats-officedocument.presentationml.slideLayout+xml"/>
  <Override PartName="/ppt/slideLayouts/slideLayout576.xml" ContentType="application/vnd.openxmlformats-officedocument.presentationml.slideLayout+xml"/>
  <Override PartName="/ppt/tags/tag36.xml" ContentType="application/vnd.openxmlformats-officedocument.presentationml.tags+xml"/>
  <Override PartName="/ppt/slideMasters/slideMaster31.xml" ContentType="application/vnd.openxmlformats-officedocument.presentationml.slideMaster+xml"/>
  <Override PartName="/ppt/slideLayouts/slideLayout100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431.xml" ContentType="application/vnd.openxmlformats-officedocument.presentationml.slideLayout+xml"/>
  <Override PartName="/ppt/tags/tag14.xml" ContentType="application/vnd.openxmlformats-officedocument.presentationml.tags+xml"/>
  <Override PartName="/ppt/slideMasters/slideMaster6.xml" ContentType="application/vnd.openxmlformats-officedocument.presentationml.slideMaster+xml"/>
  <Override PartName="/ppt/slideLayouts/slideLayout223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54.xml" ContentType="application/vnd.openxmlformats-officedocument.presentationml.slideLayout+xml"/>
  <Override PartName="/ppt/theme/themeOverride15.xml" ContentType="application/vnd.openxmlformats-officedocument.themeOverride+xml"/>
  <Override PartName="/ppt/slideLayouts/slideLayout201.xml" ContentType="application/vnd.openxmlformats-officedocument.presentationml.slideLayout+xml"/>
  <Override PartName="/ppt/slideLayouts/slideLayout346.xml" ContentType="application/vnd.openxmlformats-officedocument.presentationml.slideLayout+xml"/>
  <Override PartName="/ppt/theme/theme30.xml" ContentType="application/vnd.openxmlformats-officedocument.theme+xml"/>
  <Override PartName="/ppt/slideLayouts/slideLayout393.xml" ContentType="application/vnd.openxmlformats-officedocument.presentationml.slideLayout+xml"/>
  <Override PartName="/ppt/slideLayouts/slideLayout532.xml" ContentType="application/vnd.openxmlformats-officedocument.presentationml.slideLayout+xml"/>
  <Override PartName="/ppt/charts/chart1.xml" ContentType="application/vnd.openxmlformats-officedocument.drawingml.chart+xml"/>
  <Override PartName="/ppt/slides/slide39.xml" ContentType="application/vnd.openxmlformats-officedocument.presentationml.slide+xml"/>
  <Override PartName="/ppt/slideLayouts/slideLayout38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s/slide17.xml" ContentType="application/vnd.openxmlformats-officedocument.presentationml.slide+xml"/>
  <Override PartName="/ppt/slideLayouts/slideLayout116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Masters/slideMaster47.xml" ContentType="application/vnd.openxmlformats-officedocument.presentationml.slideMaster+xml"/>
  <Override PartName="/ppt/slideLayouts/slideLayout16.xml" ContentType="application/vnd.openxmlformats-officedocument.presentationml.slideLayout+xml"/>
  <Override PartName="/ppt/slideLayouts/slideLayout63.xml" ContentType="application/vnd.openxmlformats-officedocument.presentationml.slideLayout+xml"/>
  <Override PartName="/ppt/tags/tag3.xml" ContentType="application/vnd.openxmlformats-officedocument.presentationml.tags+xml"/>
  <Override PartName="/ppt/slideLayouts/slideLayout302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94.xml" ContentType="application/vnd.openxmlformats-officedocument.presentationml.slideLayout+xml"/>
  <Override PartName="/ppt/theme/themeOverride4.xml" ContentType="application/vnd.openxmlformats-officedocument.themeOverride+xml"/>
  <Override PartName="/ppt/charts/chart16.xml" ContentType="application/vnd.openxmlformats-officedocument.drawingml.chart+xml"/>
  <Override PartName="/ppt/slideMasters/slideMaster25.xml" ContentType="application/vnd.openxmlformats-officedocument.presentationml.slideMaster+xml"/>
  <Override PartName="/ppt/slides/slide42.xml" ContentType="application/vnd.openxmlformats-officedocument.presentationml.slide+xml"/>
  <Override PartName="/ppt/slideLayouts/slideLayout41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72.xml" ContentType="application/vnd.openxmlformats-officedocument.presentationml.slideLayout+xml"/>
  <Override PartName="/ppt/theme/theme46.xml" ContentType="application/vnd.openxmlformats-officedocument.theme+xml"/>
  <Override PartName="/ppt/slides/slide20.xml" ContentType="application/vnd.openxmlformats-officedocument.presentationml.slide+xml"/>
  <Override PartName="/ppt/slideLayouts/slideLayout217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548.xml" ContentType="application/vnd.openxmlformats-officedocument.presentationml.slideLayout+xml"/>
  <Override PartName="/ppt/theme/theme24.xml" ContentType="application/vnd.openxmlformats-officedocument.theme+xml"/>
  <Override PartName="/ppt/slideLayouts/slideLayout387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50.xml" ContentType="application/vnd.openxmlformats-officedocument.presentationml.slideLayout+xml"/>
  <Override PartName="/ppt/tags/tag33.xml" ContentType="application/vnd.openxmlformats-officedocument.presentationml.tags+xml"/>
  <Override PartName="/ppt/slideLayouts/slideLayout179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s/slide8.xml" ContentType="application/vnd.openxmlformats-officedocument.presentationml.slide+xml"/>
  <Override PartName="/ppt/slideLayouts/slideLayout7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51.xml" ContentType="application/vnd.openxmlformats-officedocument.presentationml.slideLayout+xml"/>
  <Override PartName="/ppt/tags/tag11.xml" ContentType="application/vnd.openxmlformats-officedocument.presentationml.tags+xml"/>
  <Override PartName="/ppt/slideMasters/slideMaster3.xml" ContentType="application/vnd.openxmlformats-officedocument.presentationml.slideMaster+xml"/>
  <Override PartName="/ppt/slideLayouts/slideLayout57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488.xml" ContentType="application/vnd.openxmlformats-officedocument.presentationml.slideLayout+xml"/>
  <Override PartName="/ppt/theme/themeOverride12.xml" ContentType="application/vnd.openxmlformats-officedocument.themeOverride+xml"/>
  <Override PartName="/ppt/notesSlides/notesSlide2.xml" ContentType="application/vnd.openxmlformats-officedocument.presentationml.notesSlide+xml"/>
  <Override PartName="/ppt/slides/slide36.xml" ContentType="application/vnd.openxmlformats-officedocument.presentationml.slide+xml"/>
  <Override PartName="/ppt/slideLayouts/slideLayout135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Masters/slideMaster19.xml" ContentType="application/vnd.openxmlformats-officedocument.presentationml.slideMaster+xml"/>
  <Override PartName="/ppt/slideLayouts/slideLayout35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Masters/slideMaster44.xml" ContentType="application/vnd.openxmlformats-officedocument.presentationml.slideMaster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8.xml" ContentType="application/vnd.openxmlformats-officedocument.theme+xml"/>
  <Override PartName="/ppt/slideLayouts/slideLayout444.xml" ContentType="application/vnd.openxmlformats-officedocument.presentationml.slideLayout+xml"/>
  <Override PartName="/ppt/slideLayouts/slideLayout491.xml" ContentType="application/vnd.openxmlformats-officedocument.presentationml.slideLayout+xml"/>
  <Override PartName="/ppt/theme/themeOverride1.xml" ContentType="application/vnd.openxmlformats-officedocument.themeOverride+xml"/>
  <Override PartName="/ppt/charts/chart13.xml" ContentType="application/vnd.openxmlformats-officedocument.drawingml.chart+xml"/>
  <Override PartName="/ppt/tableStyles.xml" ContentType="application/vnd.openxmlformats-officedocument.presentationml.tableStyles+xml"/>
  <Override PartName="/ppt/slideLayouts/slideLayout236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567.xml" ContentType="application/vnd.openxmlformats-officedocument.presentationml.slideLayout+xml"/>
  <Override PartName="/ppt/tags/tag27.xml" ContentType="application/vnd.openxmlformats-officedocument.presentationml.tags+xml"/>
  <Override PartName="/ppt/slideMasters/slideMaster22.xml" ContentType="application/vnd.openxmlformats-officedocument.presentationml.slideMaster+xml"/>
  <Override PartName="/ppt/slideLayouts/slideLayout359.xml" ContentType="application/vnd.openxmlformats-officedocument.presentationml.slideLayout+xml"/>
  <Override PartName="/ppt/slideLayouts/slideLayout422.xml" ContentType="application/vnd.openxmlformats-officedocument.presentationml.slideLayout+xml"/>
  <Override PartName="/ppt/theme/theme43.xml" ContentType="application/vnd.openxmlformats-officedocument.theme+xml"/>
  <Override PartName="/ppt/slideLayouts/slideLayout198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21.xml" ContentType="application/vnd.openxmlformats-officedocument.theme+xml"/>
  <Override PartName="/ppt/slideLayouts/slideLayout261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70.xml" ContentType="application/vnd.openxmlformats-officedocument.presentationml.slideLayout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Masters/slideMaster38.xml" ContentType="application/vnd.openxmlformats-officedocument.presentationml.slideMaster+xml"/>
  <Override PartName="/ppt/slides/slide33.xml" ContentType="application/vnd.openxmlformats-officedocument.presentationml.slide+xml"/>
  <Override PartName="/ppt/slideLayouts/slideLayout54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340.xml" ContentType="application/vnd.openxmlformats-officedocument.presentationml.slideLayout+xml"/>
  <Override PartName="/ppt/presentation.xml" ContentType="application/vnd.openxmlformats-officedocument.presentationml.presentation.main+xml"/>
  <Override PartName="/ppt/slideMasters/slideMaster16.xml" ContentType="application/vnd.openxmlformats-officedocument.presentationml.slideMaster+xml"/>
  <Override PartName="/ppt/slideLayouts/slideLayout32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416.xml" ContentType="application/vnd.openxmlformats-officedocument.presentationml.slideLayout+xml"/>
  <Override PartName="/ppt/theme/theme37.xml" ContentType="application/vnd.openxmlformats-officedocument.theme+xml"/>
  <Override PartName="/ppt/slideLayouts/slideLayout463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10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539.xml" ContentType="application/vnd.openxmlformats-officedocument.presentationml.slideLayout+xml"/>
  <Override PartName="/ppt/charts/chart8.xml" ContentType="application/vnd.openxmlformats-officedocument.drawingml.chart+xml"/>
  <Override PartName="/ppt/slideMasters/slideMaster41.xml" ContentType="application/vnd.openxmlformats-officedocument.presentationml.slideMaster+xml"/>
  <Override PartName="/ppt/slideLayouts/slideLayout10.xml" ContentType="application/vnd.openxmlformats-officedocument.presentationml.slideLayout+xml"/>
  <Override PartName="/ppt/theme/theme15.xml" ContentType="application/vnd.openxmlformats-officedocument.theme+xml"/>
  <Override PartName="/ppt/slideLayouts/slideLayout233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378.xml" ContentType="application/vnd.openxmlformats-officedocument.presentationml.slideLayout+xml"/>
  <Override PartName="/ppt/charts/chart10.xml" ContentType="application/vnd.openxmlformats-officedocument.drawingml.chart+xml"/>
  <Override PartName="/ppt/tags/tag24.xml" ContentType="application/vnd.openxmlformats-officedocument.presentationml.tags+xml"/>
  <Override PartName="/ppt/theme/theme40.xml" ContentType="application/vnd.openxmlformats-officedocument.theme+xml"/>
  <Override PartName="/ppt/slideLayouts/slideLayout517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s/slide49.xml" ContentType="application/vnd.openxmlformats-officedocument.presentationml.slide+xml"/>
  <Override PartName="/ppt/theme/theme7.xml" ContentType="application/vnd.openxmlformats-officedocument.theme+xml"/>
  <Override PartName="/ppt/slideLayouts/slideLayout211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s/slide2.xml" ContentType="application/vnd.openxmlformats-officedocument.presentationml.slide+xml"/>
  <Override PartName="/ppt/slides/slide52.xml" ContentType="application/vnd.openxmlformats-officedocument.presentationml.slide+xml"/>
  <Override PartName="/ppt/slideLayouts/slideLayout26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312.xml" ContentType="application/vnd.openxmlformats-officedocument.presentationml.slideLayout+xml"/>
  <Default Extension="wmf" ContentType="image/x-wmf"/>
  <Override PartName="/ppt/slideMasters/slideMaster35.xml" ContentType="application/vnd.openxmlformats-officedocument.presentationml.slideMaster+xml"/>
  <Override PartName="/ppt/slideLayouts/slideLayout51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s/slide30.xml" ContentType="application/vnd.openxmlformats-officedocument.presentationml.slide+xml"/>
  <Override PartName="/ppt/slideLayouts/slideLayout227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558.xml" ContentType="application/vnd.openxmlformats-officedocument.presentationml.slideLayout+xml"/>
  <Override PartName="/ppt/tags/tag18.xml" ContentType="application/vnd.openxmlformats-officedocument.presentationml.tags+xml"/>
  <Override PartName="/ppt/slideMasters/slideMaster13.xml" ContentType="application/vnd.openxmlformats-officedocument.presentationml.slideMaster+xml"/>
  <Override PartName="/ppt/slideLayouts/slideLayout205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397.xml" ContentType="application/vnd.openxmlformats-officedocument.presentationml.slideLayout+xml"/>
  <Override PartName="/ppt/theme/theme34.xml" ContentType="application/vnd.openxmlformats-officedocument.theme+xml"/>
  <Override PartName="/ppt/tags/tag43.xml" ContentType="application/vnd.openxmlformats-officedocument.presentationml.tags+xml"/>
  <Override PartName="/ppt/slideLayouts/slideLayout89.xml" ContentType="application/vnd.openxmlformats-officedocument.presentationml.slideLayout+xml"/>
  <Override PartName="/ppt/theme/theme12.xml" ContentType="application/vnd.openxmlformats-officedocument.theme+xml"/>
  <Override PartName="/ppt/slideLayouts/slideLayout189.xml" ContentType="application/vnd.openxmlformats-officedocument.presentationml.slideLayout+xml"/>
  <Override PartName="/ppt/slideLayouts/slideLayout536.xml" ContentType="application/vnd.openxmlformats-officedocument.presentationml.slideLayout+xml"/>
  <Override PartName="/ppt/charts/chart5.xml" ContentType="application/vnd.openxmlformats-officedocument.drawingml.chart+xml"/>
  <Override PartName="/ppt/slideLayouts/slideLayout230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61.xml" ContentType="application/vnd.openxmlformats-officedocument.presentationml.slideLayout+xml"/>
  <Override PartName="/ppt/tags/tag21.xml" ContentType="application/vnd.openxmlformats-officedocument.presentationml.tags+xml"/>
  <Override PartName="/ppt/theme/theme4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498.xml" ContentType="application/vnd.openxmlformats-officedocument.presentationml.slideLayout+xml"/>
  <Override PartName="/ppt/theme/themeOverride8.xml" ContentType="application/vnd.openxmlformats-officedocument.themeOverride+xml"/>
  <Override PartName="/ppt/tags/tag7.xml" ContentType="application/vnd.openxmlformats-officedocument.presentationml.tags+xml"/>
  <Override PartName="/ppt/slideMasters/slideMaster29.xml" ContentType="application/vnd.openxmlformats-officedocument.presentationml.slideMaster+xml"/>
  <Override PartName="/ppt/slides/slide46.xml" ContentType="application/vnd.openxmlformats-officedocument.presentationml.slide+xml"/>
  <Override PartName="/ppt/slideLayouts/slideLayout45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s/slide24.xml" ContentType="application/vnd.openxmlformats-officedocument.presentationml.slide+xml"/>
  <Override PartName="/ppt/slideLayouts/slideLayout92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heme/theme28.xml" ContentType="application/vnd.openxmlformats-officedocument.theme+xml"/>
  <Override PartName="/ppt/slideLayouts/slideLayout407.xml" ContentType="application/vnd.openxmlformats-officedocument.presentationml.slideLayout+xml"/>
  <Override PartName="/ppt/slideLayouts/slideLayout454.xml" ContentType="application/vnd.openxmlformats-officedocument.presentationml.slideLayout+xml"/>
  <Override PartName="/ppt/tags/tag37.xml" ContentType="application/vnd.openxmlformats-officedocument.presentationml.tags+xml"/>
  <Override PartName="/ppt/slideMasters/slideMaster32.xml" ContentType="application/vnd.openxmlformats-officedocument.presentationml.slideMaster+xml"/>
  <Override PartName="/ppt/slideLayouts/slideLayout101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55.xml" ContentType="application/vnd.openxmlformats-officedocument.presentationml.slideLayout+xml"/>
  <Override PartName="/ppt/tags/tag15.xml" ContentType="application/vnd.openxmlformats-officedocument.presentationml.tags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Layouts/slideLayout347.xml" ContentType="application/vnd.openxmlformats-officedocument.presentationml.slideLayout+xml"/>
  <Override PartName="/ppt/theme/theme31.xml" ContentType="application/vnd.openxmlformats-officedocument.theme+xml"/>
  <Override PartName="/ppt/slideLayouts/slideLayout394.xml" ContentType="application/vnd.openxmlformats-officedocument.presentationml.slideLayout+xml"/>
  <Override PartName="/ppt/slideLayouts/slideLayout410.xml" ContentType="application/vnd.openxmlformats-officedocument.presentationml.slideLayout+xml"/>
  <Override PartName="/ppt/tags/tag40.xml" ContentType="application/vnd.openxmlformats-officedocument.presentationml.tags+xml"/>
  <Override PartName="/ppt/theme/themeOverride16.xml" ContentType="application/vnd.openxmlformats-officedocument.themeOverride+xml"/>
  <Override PartName="/ppt/slideLayouts/slideLayout139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charts/chart2.xml" ContentType="application/vnd.openxmlformats-officedocument.drawingml.chart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s/slide18.xml" ContentType="application/vnd.openxmlformats-officedocument.presentationml.slide+xml"/>
  <Override PartName="/ppt/slideLayouts/slideLayout17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ags/tag4.xml" ContentType="application/vnd.openxmlformats-officedocument.presentationml.tags+xml"/>
  <Override PartName="/ppt/slideLayouts/slideLayout303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511.xml" ContentType="application/vnd.openxmlformats-officedocument.presentationml.slideLayout+xml"/>
  <Override PartName="/ppt/theme/themeOverride5.xml" ContentType="application/vnd.openxmlformats-officedocument.themeOverr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142.xml" ContentType="application/vnd.openxmlformats-officedocument.presentationml.slideLayout+xml"/>
  <Override PartName="/ppt/slideLayouts/slideLayout287.xml" ContentType="application/vnd.openxmlformats-officedocument.presentationml.slideLayout+xml"/>
  <Override PartName="/ppt/charts/chart17.xml" ContentType="application/vnd.openxmlformats-officedocument.drawingml.chart+xml"/>
  <Override PartName="/ppt/slideMasters/slideMaster26.xml" ContentType="application/vnd.openxmlformats-officedocument.presentationml.slideMaster+xml"/>
  <Override PartName="/ppt/slideLayouts/slideLayout42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73.xml" ContentType="application/vnd.openxmlformats-officedocument.presentationml.slideLayout+xml"/>
  <Override PartName="/ppt/theme/theme47.xml" ContentType="application/vnd.openxmlformats-officedocument.them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90.xml" ContentType="application/vnd.openxmlformats-officedocument.presentationml.slideLayout+xml"/>
  <Override PartName="/ppt/theme/theme25.xml" ContentType="application/vnd.openxmlformats-officedocument.theme+xml"/>
  <Override PartName="/ppt/slideLayouts/slideLayout388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74.xml" ContentType="application/vnd.openxmlformats-officedocument.presentationml.slideLayout+xml"/>
  <Override PartName="/ppt/tags/tag34.xml" ContentType="application/vnd.openxmlformats-officedocument.presentationml.tags+xml"/>
  <Override PartName="/ppt/slideLayouts/slideLayout319.xml" ContentType="application/vnd.openxmlformats-officedocument.presentationml.slideLayout+xml"/>
  <Override PartName="/ppt/slideLayouts/slideLayout366.xml" ContentType="application/vnd.openxmlformats-officedocument.presentationml.slideLayout+xml"/>
  <Override PartName="/ppt/tags/tag12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158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52.xml" ContentType="application/vnd.openxmlformats-officedocument.presentationml.slideLayout+xml"/>
  <Override PartName="/ppt/theme/themeOverride13.xml" ContentType="application/vnd.openxmlformats-officedocument.themeOverride+xml"/>
  <Override PartName="/ppt/slideLayouts/slideLayout58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s/slide15.xml" ContentType="application/vnd.openxmlformats-officedocument.presentationml.slide+xml"/>
  <Override PartName="/ppt/slideLayouts/slideLayout114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Masters/slideMaster45.xml" ContentType="application/vnd.openxmlformats-officedocument.presentationml.slideMaster+xml"/>
  <Override PartName="/ppt/slideLayouts/slideLayout14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1.xml" ContentType="application/vnd.openxmlformats-officedocument.presentationml.tags+xml"/>
  <Override PartName="/ppt/theme/theme19.xml" ContentType="application/vnd.openxmlformats-officedocument.theme+xml"/>
  <Override PartName="/ppt/slideLayouts/slideLayout300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92.xml" ContentType="application/vnd.openxmlformats-officedocument.presentationml.slideLayout+xml"/>
  <Override PartName="/ppt/theme/themeOverride2.xml" ContentType="application/vnd.openxmlformats-officedocument.themeOverride+xml"/>
  <Override PartName="/ppt/tags/tag28.xml" ContentType="application/vnd.openxmlformats-officedocument.presentationml.tags+xml"/>
  <Override PartName="/ppt/charts/chart14.xml" ContentType="application/vnd.openxmlformats-officedocument.drawingml.chart+xml"/>
  <Override PartName="/ppt/slideMasters/slideMaster23.xml" ContentType="application/vnd.openxmlformats-officedocument.presentationml.slideMaster+xml"/>
  <Override PartName="/ppt/slides/slide40.xml" ContentType="application/vnd.openxmlformats-officedocument.presentationml.slide+xml"/>
  <Override PartName="/ppt/slideLayouts/slideLayout237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70.xml" ContentType="application/vnd.openxmlformats-officedocument.presentationml.slideLayout+xml"/>
  <Override PartName="/ppt/theme/theme44.xml" ContentType="application/vnd.openxmlformats-officedocument.theme+xml"/>
  <Override PartName="/ppt/slideLayouts/slideLayout568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546.xml" ContentType="application/vnd.openxmlformats-officedocument.presentationml.slideLayout+xml"/>
  <Default Extension="vml" ContentType="application/vnd.openxmlformats-officedocument.vmlDrawing"/>
  <Override PartName="/ppt/slideLayouts/slideLayout99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22.xml" ContentType="application/vnd.openxmlformats-officedocument.theme+xml"/>
  <Override PartName="/ppt/slideLayouts/slideLayout338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401.xml" ContentType="application/vnd.openxmlformats-officedocument.presentationml.slideLayout+xml"/>
  <Override PartName="/ppt/tags/tag31.xml" ContentType="application/vnd.openxmlformats-officedocument.presentationml.tags+xml"/>
  <Override PartName="/ppt/slideLayouts/slideLayout177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71.xml" ContentType="application/vnd.openxmlformats-officedocument.presentationml.slideLayou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Layouts/slideLayout55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86.xml" ContentType="application/vnd.openxmlformats-officedocument.presentationml.slideLayout+xml"/>
  <Override PartName="/ppt/theme/themeOverride10.xml" ContentType="application/vnd.openxmlformats-officedocument.themeOverride+xml"/>
  <Override PartName="/ppt/slides/slide34.xml" ContentType="application/vnd.openxmlformats-officedocument.presentationml.slide+xml"/>
  <Override PartName="/ppt/slideLayouts/slideLayout133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64.xml" ContentType="application/vnd.openxmlformats-officedocument.presentationml.slideLayout+xml"/>
  <Default Extension="rels" ContentType="application/vnd.openxmlformats-package.relationships+xml"/>
  <Override PartName="/ppt/slideMasters/slideMaster17.xml" ContentType="application/vnd.openxmlformats-officedocument.presentationml.slideMaster+xml"/>
  <Override PartName="/ppt/slideLayouts/slideLayout33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56.xml" ContentType="application/vnd.openxmlformats-officedocument.presentationml.slideLayout+xml"/>
  <Override PartName="/ppt/theme/theme38.xml" ContentType="application/vnd.openxmlformats-officedocument.theme+xml"/>
  <Override PartName="/ppt/slideMasters/slideMaster42.xml" ContentType="application/vnd.openxmlformats-officedocument.presentationml.slideMaster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6.xml" ContentType="application/vnd.openxmlformats-officedocument.theme+xml"/>
  <Override PartName="/ppt/slideLayouts/slideLayout442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slideLayouts/slideLayout234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65.xml" ContentType="application/vnd.openxmlformats-officedocument.presentationml.slideLayout+xml"/>
  <Override PartName="/ppt/tags/tag25.xml" ContentType="application/vnd.openxmlformats-officedocument.presentationml.tags+xml"/>
  <Override PartName="/ppt/slideMasters/slideMaster20.xml" ContentType="application/vnd.openxmlformats-officedocument.presentationml.slideMaster+xml"/>
  <Override PartName="/ppt/theme/theme8.xml" ContentType="application/vnd.openxmlformats-officedocument.theme+xml"/>
  <Override PartName="/ppt/slideLayouts/slideLayout357.xml" ContentType="application/vnd.openxmlformats-officedocument.presentationml.slideLayout+xml"/>
  <Override PartName="/ppt/slideLayouts/slideLayout420.xml" ContentType="application/vnd.openxmlformats-officedocument.presentationml.slideLayout+xml"/>
  <Override PartName="/ppt/theme/theme41.xml" ContentType="application/vnd.openxmlformats-officedocument.theme+xml"/>
  <Override PartName="/ppt/slideLayouts/slideLayout149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s/slide28.xml" ContentType="application/vnd.openxmlformats-officedocument.presentationml.slide+xml"/>
  <Override PartName="/ppt/slideLayouts/slideLayout49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s/slide53.xml" ContentType="application/vnd.openxmlformats-officedocument.presentationml.slide+xml"/>
  <Default Extension="jpeg" ContentType="image/jpeg"/>
  <Override PartName="/ppt/slideLayouts/slideLayout105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Masters/slideMaster36.xml" ContentType="application/vnd.openxmlformats-officedocument.presentationml.slideMaster+xml"/>
  <Override PartName="/ppt/slides/slide31.xml" ContentType="application/vnd.openxmlformats-officedocument.presentationml.slide+xml"/>
  <Override PartName="/ppt/slideLayouts/slideLayout52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75.xml" ContentType="application/vnd.openxmlformats-officedocument.presentationml.slideLayout+xml"/>
  <Override PartName="/ppt/tags/tag19.xml" ContentType="application/vnd.openxmlformats-officedocument.presentationml.tags+xml"/>
  <Override PartName="/ppt/slideMasters/slideMaster14.xml" ContentType="application/vnd.openxmlformats-officedocument.presentationml.slideMaster+xml"/>
  <Override PartName="/ppt/slideLayouts/slideLayout30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414.xml" ContentType="application/vnd.openxmlformats-officedocument.presentationml.slideLayout+xml"/>
  <Override PartName="/ppt/theme/theme35.xml" ContentType="application/vnd.openxmlformats-officedocument.theme+xml"/>
  <Override PartName="/ppt/slideLayouts/slideLayout461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537.xml" ContentType="application/vnd.openxmlformats-officedocument.presentationml.slideLayout+xml"/>
  <Override PartName="/ppt/charts/chart6.xml" ContentType="application/vnd.openxmlformats-officedocument.drawingml.chart+xml"/>
  <Override PartName="/ppt/tags/tag44.xml" ContentType="application/vnd.openxmlformats-officedocument.presentationml.tags+xml"/>
  <Override PartName="/ppt/theme/theme13.xml" ContentType="application/vnd.openxmlformats-officedocument.theme+xml"/>
  <Override PartName="/ppt/slideLayouts/slideLayout231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76.xml" ContentType="application/vnd.openxmlformats-officedocument.presentationml.slideLayout+xml"/>
  <Override PartName="/ppt/tags/tag22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62.xml" ContentType="application/vnd.openxmlformats-officedocument.presentationml.slideLayout+xml"/>
  <Override PartName="/ppt/theme/themeOverride9.xml" ContentType="application/vnd.openxmlformats-officedocument.themeOverride+xml"/>
  <Override PartName="/ppt/slides/slide47.xml" ContentType="application/vnd.openxmlformats-officedocument.presentationml.slide+xml"/>
  <Override PartName="/ppt/theme/theme5.xml" ContentType="application/vnd.openxmlformats-officedocument.theme+xml"/>
  <Override PartName="/ppt/slideLayouts/slideLayout354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310.xml" ContentType="application/vnd.openxmlformats-officedocument.presentationml.slideLayout+xml"/>
  <Override PartName="/ppt/theme/theme29.xml" ContentType="application/vnd.openxmlformats-officedocument.theme+xml"/>
  <Override PartName="/ppt/slideMasters/slideMaster33.xml" ContentType="application/vnd.openxmlformats-officedocument.presentationml.slideMaster+xml"/>
  <Override PartName="/ppt/slideLayouts/slideLayout480.xml" ContentType="application/vnd.openxmlformats-officedocument.presentationml.slideLayout+xml"/>
  <Override PartName="/ppt/tags/tag16.xml" ContentType="application/vnd.openxmlformats-officedocument.presentationml.tags+xml"/>
  <Override PartName="/ppt/slideMasters/slideMaster8.xml" ContentType="application/vnd.openxmlformats-officedocument.presentationml.slideMaster+xml"/>
  <Override PartName="/ppt/slideLayouts/slideLayout225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395.xml" ContentType="application/vnd.openxmlformats-officedocument.presentationml.slideLayout+xml"/>
  <Override PartName="/ppt/tags/tag41.xml" ContentType="application/vnd.openxmlformats-officedocument.presentationml.tags+xml"/>
  <Override PartName="/ppt/slideLayouts/slideLayout87.xml" ContentType="application/vnd.openxmlformats-officedocument.presentationml.slideLayout+xml"/>
  <Override PartName="/ppt/theme/theme10.xml" ContentType="application/vnd.openxmlformats-officedocument.theme+xml"/>
  <Override PartName="/ppt/slideLayouts/slideLayout326.xml" ContentType="application/vnd.openxmlformats-officedocument.presentationml.slideLayout+xml"/>
  <Override PartName="/ppt/slides/slide19.xml" ContentType="application/vnd.openxmlformats-officedocument.presentationml.slide+xml"/>
  <Override PartName="/ppt/slideLayouts/slideLayout165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351.xml" ContentType="application/vnd.openxmlformats-officedocument.presentationml.slideLayout+xml"/>
  <Override PartName="/ppt/slideLayouts/slideLayout496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728" r:id="rId1"/>
    <p:sldMasterId id="2147485392" r:id="rId2"/>
    <p:sldMasterId id="2147485666" r:id="rId3"/>
    <p:sldMasterId id="2147485836" r:id="rId4"/>
    <p:sldMasterId id="2147485850" r:id="rId5"/>
    <p:sldMasterId id="2147485864" r:id="rId6"/>
    <p:sldMasterId id="2147485878" r:id="rId7"/>
    <p:sldMasterId id="2147485892" r:id="rId8"/>
    <p:sldMasterId id="2147485906" r:id="rId9"/>
    <p:sldMasterId id="2147485920" r:id="rId10"/>
    <p:sldMasterId id="2147485934" r:id="rId11"/>
    <p:sldMasterId id="2147485948" r:id="rId12"/>
    <p:sldMasterId id="2147485962" r:id="rId13"/>
    <p:sldMasterId id="2147485976" r:id="rId14"/>
    <p:sldMasterId id="2147485980" r:id="rId15"/>
    <p:sldMasterId id="2147485984" r:id="rId16"/>
    <p:sldMasterId id="2147486370" r:id="rId17"/>
    <p:sldMasterId id="2147486384" r:id="rId18"/>
    <p:sldMasterId id="2147486398" r:id="rId19"/>
    <p:sldMasterId id="2147486412" r:id="rId20"/>
    <p:sldMasterId id="2147486426" r:id="rId21"/>
    <p:sldMasterId id="2147488448" r:id="rId22"/>
    <p:sldMasterId id="2147490476" r:id="rId23"/>
    <p:sldMasterId id="2147490490" r:id="rId24"/>
    <p:sldMasterId id="2147490503" r:id="rId25"/>
    <p:sldMasterId id="2147490517" r:id="rId26"/>
    <p:sldMasterId id="2147490530" r:id="rId27"/>
    <p:sldMasterId id="2147490543" r:id="rId28"/>
    <p:sldMasterId id="2147490557" r:id="rId29"/>
    <p:sldMasterId id="2147490571" r:id="rId30"/>
    <p:sldMasterId id="2147490583" r:id="rId31"/>
    <p:sldMasterId id="2147490597" r:id="rId32"/>
    <p:sldMasterId id="2147490611" r:id="rId33"/>
    <p:sldMasterId id="2147490625" r:id="rId34"/>
    <p:sldMasterId id="2147490639" r:id="rId35"/>
    <p:sldMasterId id="2147490653" r:id="rId36"/>
    <p:sldMasterId id="2147490667" r:id="rId37"/>
    <p:sldMasterId id="2147490681" r:id="rId38"/>
    <p:sldMasterId id="2147490695" r:id="rId39"/>
    <p:sldMasterId id="2147490709" r:id="rId40"/>
    <p:sldMasterId id="2147490723" r:id="rId41"/>
    <p:sldMasterId id="2147490737" r:id="rId42"/>
    <p:sldMasterId id="2147490751" r:id="rId43"/>
    <p:sldMasterId id="2147490765" r:id="rId44"/>
    <p:sldMasterId id="2147490779" r:id="rId45"/>
    <p:sldMasterId id="2147490793" r:id="rId46"/>
    <p:sldMasterId id="2147490807" r:id="rId47"/>
  </p:sldMasterIdLst>
  <p:notesMasterIdLst>
    <p:notesMasterId r:id="rId101"/>
  </p:notesMasterIdLst>
  <p:handoutMasterIdLst>
    <p:handoutMasterId r:id="rId102"/>
  </p:handoutMasterIdLst>
  <p:sldIdLst>
    <p:sldId id="2505" r:id="rId48"/>
    <p:sldId id="2585" r:id="rId49"/>
    <p:sldId id="2781" r:id="rId50"/>
    <p:sldId id="2779" r:id="rId51"/>
    <p:sldId id="2590" r:id="rId52"/>
    <p:sldId id="2796" r:id="rId53"/>
    <p:sldId id="2797" r:id="rId54"/>
    <p:sldId id="2798" r:id="rId55"/>
    <p:sldId id="2799" r:id="rId56"/>
    <p:sldId id="2800" r:id="rId57"/>
    <p:sldId id="2801" r:id="rId58"/>
    <p:sldId id="2802" r:id="rId59"/>
    <p:sldId id="2803" r:id="rId60"/>
    <p:sldId id="2804" r:id="rId61"/>
    <p:sldId id="2805" r:id="rId62"/>
    <p:sldId id="2806" r:id="rId63"/>
    <p:sldId id="2807" r:id="rId64"/>
    <p:sldId id="2808" r:id="rId65"/>
    <p:sldId id="2809" r:id="rId66"/>
    <p:sldId id="2810" r:id="rId67"/>
    <p:sldId id="2811" r:id="rId68"/>
    <p:sldId id="2812" r:id="rId69"/>
    <p:sldId id="2769" r:id="rId70"/>
    <p:sldId id="2749" r:id="rId71"/>
    <p:sldId id="2787" r:id="rId72"/>
    <p:sldId id="2788" r:id="rId73"/>
    <p:sldId id="2730" r:id="rId74"/>
    <p:sldId id="2733" r:id="rId75"/>
    <p:sldId id="2794" r:id="rId76"/>
    <p:sldId id="2735" r:id="rId77"/>
    <p:sldId id="2721" r:id="rId78"/>
    <p:sldId id="2722" r:id="rId79"/>
    <p:sldId id="2698" r:id="rId80"/>
    <p:sldId id="2750" r:id="rId81"/>
    <p:sldId id="2792" r:id="rId82"/>
    <p:sldId id="2793" r:id="rId83"/>
    <p:sldId id="2753" r:id="rId84"/>
    <p:sldId id="2754" r:id="rId85"/>
    <p:sldId id="2755" r:id="rId86"/>
    <p:sldId id="2756" r:id="rId87"/>
    <p:sldId id="2757" r:id="rId88"/>
    <p:sldId id="2758" r:id="rId89"/>
    <p:sldId id="2759" r:id="rId90"/>
    <p:sldId id="2760" r:id="rId91"/>
    <p:sldId id="2761" r:id="rId92"/>
    <p:sldId id="2762" r:id="rId93"/>
    <p:sldId id="2763" r:id="rId94"/>
    <p:sldId id="2764" r:id="rId95"/>
    <p:sldId id="2765" r:id="rId96"/>
    <p:sldId id="2766" r:id="rId97"/>
    <p:sldId id="2784" r:id="rId98"/>
    <p:sldId id="2789" r:id="rId99"/>
    <p:sldId id="2568" r:id="rId100"/>
  </p:sldIdLst>
  <p:sldSz cx="9906000" cy="6858000" type="A4"/>
  <p:notesSz cx="9874250" cy="6797675"/>
  <p:defaultTextStyle>
    <a:defPPr>
      <a:defRPr lang="ko-KR"/>
    </a:defPPr>
    <a:lvl1pPr algn="l" rtl="0" fontAlgn="base">
      <a:spcBef>
        <a:spcPct val="0"/>
      </a:spcBef>
      <a:spcAft>
        <a:spcPct val="0"/>
      </a:spcAft>
      <a:defRPr sz="1400" b="1" u="sng" kern="1200">
        <a:solidFill>
          <a:schemeClr val="tx1"/>
        </a:solidFill>
        <a:latin typeface="Calibri" pitchFamily="34" charset="0"/>
        <a:ea typeface="맑은 고딕" pitchFamily="50" charset="-127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400" b="1" u="sng" kern="1200">
        <a:solidFill>
          <a:schemeClr val="tx1"/>
        </a:solidFill>
        <a:latin typeface="Calibri" pitchFamily="34" charset="0"/>
        <a:ea typeface="맑은 고딕" pitchFamily="50" charset="-127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400" b="1" u="sng" kern="1200">
        <a:solidFill>
          <a:schemeClr val="tx1"/>
        </a:solidFill>
        <a:latin typeface="Calibri" pitchFamily="34" charset="0"/>
        <a:ea typeface="맑은 고딕" pitchFamily="50" charset="-127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400" b="1" u="sng" kern="1200">
        <a:solidFill>
          <a:schemeClr val="tx1"/>
        </a:solidFill>
        <a:latin typeface="Calibri" pitchFamily="34" charset="0"/>
        <a:ea typeface="맑은 고딕" pitchFamily="50" charset="-127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400" b="1" u="sng" kern="1200">
        <a:solidFill>
          <a:schemeClr val="tx1"/>
        </a:solidFill>
        <a:latin typeface="Calibri" pitchFamily="34" charset="0"/>
        <a:ea typeface="맑은 고딕" pitchFamily="50" charset="-127"/>
        <a:cs typeface="+mn-cs"/>
      </a:defRPr>
    </a:lvl5pPr>
    <a:lvl6pPr marL="2286000" algn="l" defTabSz="914400" rtl="0" eaLnBrk="1" latinLnBrk="1" hangingPunct="1">
      <a:defRPr sz="1400" b="1" u="sng" kern="1200">
        <a:solidFill>
          <a:schemeClr val="tx1"/>
        </a:solidFill>
        <a:latin typeface="Calibri" pitchFamily="34" charset="0"/>
        <a:ea typeface="맑은 고딕" pitchFamily="50" charset="-127"/>
        <a:cs typeface="+mn-cs"/>
      </a:defRPr>
    </a:lvl6pPr>
    <a:lvl7pPr marL="2743200" algn="l" defTabSz="914400" rtl="0" eaLnBrk="1" latinLnBrk="1" hangingPunct="1">
      <a:defRPr sz="1400" b="1" u="sng" kern="1200">
        <a:solidFill>
          <a:schemeClr val="tx1"/>
        </a:solidFill>
        <a:latin typeface="Calibri" pitchFamily="34" charset="0"/>
        <a:ea typeface="맑은 고딕" pitchFamily="50" charset="-127"/>
        <a:cs typeface="+mn-cs"/>
      </a:defRPr>
    </a:lvl7pPr>
    <a:lvl8pPr marL="3200400" algn="l" defTabSz="914400" rtl="0" eaLnBrk="1" latinLnBrk="1" hangingPunct="1">
      <a:defRPr sz="1400" b="1" u="sng" kern="1200">
        <a:solidFill>
          <a:schemeClr val="tx1"/>
        </a:solidFill>
        <a:latin typeface="Calibri" pitchFamily="34" charset="0"/>
        <a:ea typeface="맑은 고딕" pitchFamily="50" charset="-127"/>
        <a:cs typeface="+mn-cs"/>
      </a:defRPr>
    </a:lvl8pPr>
    <a:lvl9pPr marL="3657600" algn="l" defTabSz="914400" rtl="0" eaLnBrk="1" latinLnBrk="1" hangingPunct="1">
      <a:defRPr sz="1400" b="1" u="sng" kern="1200">
        <a:solidFill>
          <a:schemeClr val="tx1"/>
        </a:solidFill>
        <a:latin typeface="Calibri" pitchFamily="34" charset="0"/>
        <a:ea typeface="맑은 고딕" pitchFamily="50" charset="-127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00FF"/>
    <a:srgbClr val="080327"/>
    <a:srgbClr val="09002A"/>
    <a:srgbClr val="640B04"/>
    <a:srgbClr val="FFFFCC"/>
    <a:srgbClr val="FFFF99"/>
    <a:srgbClr val="FFFF66"/>
    <a:srgbClr val="CCFF99"/>
    <a:srgbClr val="FFCCCC"/>
    <a:srgbClr val="FF66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4979" autoAdjust="0"/>
    <p:restoredTop sz="99816" autoAdjust="0"/>
  </p:normalViewPr>
  <p:slideViewPr>
    <p:cSldViewPr snapToObjects="1">
      <p:cViewPr>
        <p:scale>
          <a:sx n="75" d="100"/>
          <a:sy n="75" d="100"/>
        </p:scale>
        <p:origin x="-2976" y="-888"/>
      </p:cViewPr>
      <p:guideLst>
        <p:guide orient="horz" pos="754"/>
        <p:guide orient="horz" pos="3702"/>
        <p:guide pos="6068"/>
        <p:guide pos="172"/>
        <p:guide pos="3120"/>
      </p:guideLst>
    </p:cSldViewPr>
  </p:slideViewPr>
  <p:outlineViewPr>
    <p:cViewPr>
      <p:scale>
        <a:sx n="28" d="100"/>
        <a:sy n="28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5442"/>
    </p:cViewPr>
  </p:sorterViewPr>
  <p:notesViewPr>
    <p:cSldViewPr snapToObjects="1">
      <p:cViewPr varScale="1">
        <p:scale>
          <a:sx n="46" d="100"/>
          <a:sy n="46" d="100"/>
        </p:scale>
        <p:origin x="-3030" y="-90"/>
      </p:cViewPr>
      <p:guideLst>
        <p:guide orient="horz" pos="2141"/>
        <p:guide pos="3109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6.xml"/><Relationship Id="rId21" Type="http://schemas.openxmlformats.org/officeDocument/2006/relationships/slideMaster" Target="slideMasters/slideMaster21.xml"/><Relationship Id="rId42" Type="http://schemas.openxmlformats.org/officeDocument/2006/relationships/slideMaster" Target="slideMasters/slideMaster42.xml"/><Relationship Id="rId47" Type="http://schemas.openxmlformats.org/officeDocument/2006/relationships/slideMaster" Target="slideMasters/slideMaster47.xml"/><Relationship Id="rId63" Type="http://schemas.openxmlformats.org/officeDocument/2006/relationships/slide" Target="slides/slide16.xml"/><Relationship Id="rId68" Type="http://schemas.openxmlformats.org/officeDocument/2006/relationships/slide" Target="slides/slide21.xml"/><Relationship Id="rId84" Type="http://schemas.openxmlformats.org/officeDocument/2006/relationships/slide" Target="slides/slide37.xml"/><Relationship Id="rId89" Type="http://schemas.openxmlformats.org/officeDocument/2006/relationships/slide" Target="slides/slide42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24.xml"/><Relationship Id="rId92" Type="http://schemas.openxmlformats.org/officeDocument/2006/relationships/slide" Target="slides/slide45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Master" Target="slideMasters/slideMaster29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slideMaster" Target="slideMasters/slideMaster40.xml"/><Relationship Id="rId45" Type="http://schemas.openxmlformats.org/officeDocument/2006/relationships/slideMaster" Target="slideMasters/slideMaster45.xml"/><Relationship Id="rId53" Type="http://schemas.openxmlformats.org/officeDocument/2006/relationships/slide" Target="slides/slide6.xml"/><Relationship Id="rId58" Type="http://schemas.openxmlformats.org/officeDocument/2006/relationships/slide" Target="slides/slide11.xml"/><Relationship Id="rId66" Type="http://schemas.openxmlformats.org/officeDocument/2006/relationships/slide" Target="slides/slide19.xml"/><Relationship Id="rId74" Type="http://schemas.openxmlformats.org/officeDocument/2006/relationships/slide" Target="slides/slide27.xml"/><Relationship Id="rId79" Type="http://schemas.openxmlformats.org/officeDocument/2006/relationships/slide" Target="slides/slide32.xml"/><Relationship Id="rId87" Type="http://schemas.openxmlformats.org/officeDocument/2006/relationships/slide" Target="slides/slide40.xml"/><Relationship Id="rId102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14.xml"/><Relationship Id="rId82" Type="http://schemas.openxmlformats.org/officeDocument/2006/relationships/slide" Target="slides/slide35.xml"/><Relationship Id="rId90" Type="http://schemas.openxmlformats.org/officeDocument/2006/relationships/slide" Target="slides/slide43.xml"/><Relationship Id="rId95" Type="http://schemas.openxmlformats.org/officeDocument/2006/relationships/slide" Target="slides/slide48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Master" Target="slideMasters/slideMaster43.xml"/><Relationship Id="rId48" Type="http://schemas.openxmlformats.org/officeDocument/2006/relationships/slide" Target="slides/slide1.xml"/><Relationship Id="rId56" Type="http://schemas.openxmlformats.org/officeDocument/2006/relationships/slide" Target="slides/slide9.xml"/><Relationship Id="rId64" Type="http://schemas.openxmlformats.org/officeDocument/2006/relationships/slide" Target="slides/slide17.xml"/><Relationship Id="rId69" Type="http://schemas.openxmlformats.org/officeDocument/2006/relationships/slide" Target="slides/slide22.xml"/><Relationship Id="rId77" Type="http://schemas.openxmlformats.org/officeDocument/2006/relationships/slide" Target="slides/slide30.xml"/><Relationship Id="rId100" Type="http://schemas.openxmlformats.org/officeDocument/2006/relationships/slide" Target="slides/slide53.xml"/><Relationship Id="rId105" Type="http://schemas.openxmlformats.org/officeDocument/2006/relationships/theme" Target="theme/theme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.xml"/><Relationship Id="rId72" Type="http://schemas.openxmlformats.org/officeDocument/2006/relationships/slide" Target="slides/slide25.xml"/><Relationship Id="rId80" Type="http://schemas.openxmlformats.org/officeDocument/2006/relationships/slide" Target="slides/slide33.xml"/><Relationship Id="rId85" Type="http://schemas.openxmlformats.org/officeDocument/2006/relationships/slide" Target="slides/slide38.xml"/><Relationship Id="rId93" Type="http://schemas.openxmlformats.org/officeDocument/2006/relationships/slide" Target="slides/slide46.xml"/><Relationship Id="rId98" Type="http://schemas.openxmlformats.org/officeDocument/2006/relationships/slide" Target="slides/slide51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slideMaster" Target="slideMasters/slideMaster46.xml"/><Relationship Id="rId59" Type="http://schemas.openxmlformats.org/officeDocument/2006/relationships/slide" Target="slides/slide12.xml"/><Relationship Id="rId67" Type="http://schemas.openxmlformats.org/officeDocument/2006/relationships/slide" Target="slides/slide20.xml"/><Relationship Id="rId103" Type="http://schemas.openxmlformats.org/officeDocument/2006/relationships/presProps" Target="presProps.xml"/><Relationship Id="rId20" Type="http://schemas.openxmlformats.org/officeDocument/2006/relationships/slideMaster" Target="slideMasters/slideMaster20.xml"/><Relationship Id="rId41" Type="http://schemas.openxmlformats.org/officeDocument/2006/relationships/slideMaster" Target="slideMasters/slideMaster41.xml"/><Relationship Id="rId54" Type="http://schemas.openxmlformats.org/officeDocument/2006/relationships/slide" Target="slides/slide7.xml"/><Relationship Id="rId62" Type="http://schemas.openxmlformats.org/officeDocument/2006/relationships/slide" Target="slides/slide15.xml"/><Relationship Id="rId70" Type="http://schemas.openxmlformats.org/officeDocument/2006/relationships/slide" Target="slides/slide23.xml"/><Relationship Id="rId75" Type="http://schemas.openxmlformats.org/officeDocument/2006/relationships/slide" Target="slides/slide28.xml"/><Relationship Id="rId83" Type="http://schemas.openxmlformats.org/officeDocument/2006/relationships/slide" Target="slides/slide36.xml"/><Relationship Id="rId88" Type="http://schemas.openxmlformats.org/officeDocument/2006/relationships/slide" Target="slides/slide41.xml"/><Relationship Id="rId91" Type="http://schemas.openxmlformats.org/officeDocument/2006/relationships/slide" Target="slides/slide44.xml"/><Relationship Id="rId96" Type="http://schemas.openxmlformats.org/officeDocument/2006/relationships/slide" Target="slides/slide49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" Target="slides/slide2.xml"/><Relationship Id="rId57" Type="http://schemas.openxmlformats.org/officeDocument/2006/relationships/slide" Target="slides/slide10.xml"/><Relationship Id="rId106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31" Type="http://schemas.openxmlformats.org/officeDocument/2006/relationships/slideMaster" Target="slideMasters/slideMaster31.xml"/><Relationship Id="rId44" Type="http://schemas.openxmlformats.org/officeDocument/2006/relationships/slideMaster" Target="slideMasters/slideMaster44.xml"/><Relationship Id="rId52" Type="http://schemas.openxmlformats.org/officeDocument/2006/relationships/slide" Target="slides/slide5.xml"/><Relationship Id="rId60" Type="http://schemas.openxmlformats.org/officeDocument/2006/relationships/slide" Target="slides/slide13.xml"/><Relationship Id="rId65" Type="http://schemas.openxmlformats.org/officeDocument/2006/relationships/slide" Target="slides/slide18.xml"/><Relationship Id="rId73" Type="http://schemas.openxmlformats.org/officeDocument/2006/relationships/slide" Target="slides/slide26.xml"/><Relationship Id="rId78" Type="http://schemas.openxmlformats.org/officeDocument/2006/relationships/slide" Target="slides/slide31.xml"/><Relationship Id="rId81" Type="http://schemas.openxmlformats.org/officeDocument/2006/relationships/slide" Target="slides/slide34.xml"/><Relationship Id="rId86" Type="http://schemas.openxmlformats.org/officeDocument/2006/relationships/slide" Target="slides/slide39.xml"/><Relationship Id="rId94" Type="http://schemas.openxmlformats.org/officeDocument/2006/relationships/slide" Target="slides/slide47.xml"/><Relationship Id="rId99" Type="http://schemas.openxmlformats.org/officeDocument/2006/relationships/slide" Target="slides/slide52.xml"/><Relationship Id="rId10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Master" Target="slideMasters/slideMaster39.xml"/><Relationship Id="rId34" Type="http://schemas.openxmlformats.org/officeDocument/2006/relationships/slideMaster" Target="slideMasters/slideMaster34.xml"/><Relationship Id="rId50" Type="http://schemas.openxmlformats.org/officeDocument/2006/relationships/slide" Target="slides/slide3.xml"/><Relationship Id="rId55" Type="http://schemas.openxmlformats.org/officeDocument/2006/relationships/slide" Target="slides/slide8.xml"/><Relationship Id="rId76" Type="http://schemas.openxmlformats.org/officeDocument/2006/relationships/slide" Target="slides/slide29.xml"/><Relationship Id="rId97" Type="http://schemas.openxmlformats.org/officeDocument/2006/relationships/slide" Target="slides/slide50.xml"/><Relationship Id="rId10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Jeeae_2\Desktop\&#51333;&#47308;&#48372;&#44256;&#49436;_&#54252;&#47607;.xlsx" TargetMode="External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Jeeae_2\Desktop\%5b2014-12-26%5d%20&#51221;&#47532;&#54028;&#51068;\&#53364;&#47112;&#51076;(&#44592;&#51316;&#47784;&#54805;)_Cass_Can_Top-Down_12&#50900;3&#51452;&#52264;(W-2).xls" TargetMode="External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Jeeae_2\Desktop\%5b2014-12-26%5d%20&#51221;&#47532;&#54028;&#51068;\&#53364;&#47112;&#51076;(&#44592;&#51316;&#47784;&#54805;)_Cass_Can_Top-Down_12&#50900;3&#51452;&#52264;(W-2).xls" TargetMode="External"/><Relationship Id="rId1" Type="http://schemas.openxmlformats.org/officeDocument/2006/relationships/themeOverride" Target="../theme/themeOverride1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oleObject" Target="Book1" TargetMode="External"/><Relationship Id="rId1" Type="http://schemas.openxmlformats.org/officeDocument/2006/relationships/themeOverride" Target="../theme/themeOverrid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Jeeae_2\Desktop\&#51333;&#47308;&#48372;&#44256;&#49436;_&#54252;&#47607;.xlsx" TargetMode="External"/><Relationship Id="rId1" Type="http://schemas.openxmlformats.org/officeDocument/2006/relationships/themeOverride" Target="../theme/themeOverride13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Jeeae_2\Desktop\&#51333;&#47308;&#48372;&#44256;&#49436;_&#54252;&#47607;.xlsx" TargetMode="External"/><Relationship Id="rId1" Type="http://schemas.openxmlformats.org/officeDocument/2006/relationships/themeOverride" Target="../theme/themeOverride14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Jeeae_2\Desktop\&#51333;&#47308;&#48372;&#44256;&#49436;_&#54252;&#47607;.xlsx" TargetMode="External"/><Relationship Id="rId1" Type="http://schemas.openxmlformats.org/officeDocument/2006/relationships/themeOverride" Target="../theme/themeOverride15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Jeeae_2\Desktop\&#51333;&#47308;&#48372;&#44256;&#49436;_&#54252;&#47607;.xlsx" TargetMode="External"/><Relationship Id="rId1" Type="http://schemas.openxmlformats.org/officeDocument/2006/relationships/themeOverride" Target="../theme/themeOverride16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Jeeae_2\Desktop\&#51333;&#47308;&#48372;&#44256;&#49436;_&#54252;&#47607;.xlsx" TargetMode="External"/><Relationship Id="rId1" Type="http://schemas.openxmlformats.org/officeDocument/2006/relationships/themeOverride" Target="../theme/themeOverride17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oleObject" Target="Book2" TargetMode="External"/><Relationship Id="rId1" Type="http://schemas.openxmlformats.org/officeDocument/2006/relationships/themeOverride" Target="../theme/themeOverride18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Jeeae_2\Desktop\&#51333;&#47308;&#48372;&#44256;&#49436;_&#54252;&#47607;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Jeeae_2\Desktop\&#51333;&#47308;&#48372;&#44256;&#49436;_&#54252;&#47607;.xlsx" TargetMode="External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Jeeae_2\Desktop\%5b2014-12-26%5d%20&#51221;&#47532;&#54028;&#51068;\&#53364;&#47112;&#51076;(&#44592;&#51316;&#47784;&#54805;)_&#54924;&#49324;&#51204;&#52404;_Top-Down_12&#50900;3&#51452;&#52264;(W-2).xls" TargetMode="External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Jeeae_2\Desktop\%5b2014-12-26%5d%20&#51221;&#47532;&#54028;&#51068;\&#53364;&#47112;&#51076;(&#44592;&#51316;&#47784;&#54805;)_&#54924;&#49324;&#51204;&#52404;_Top-Down_12&#50900;3&#51452;&#52264;(W-2).xls" TargetMode="External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Jeeae_2\Desktop\&#51333;&#47308;&#48372;&#44256;&#49436;_&#54252;&#47607;.xlsx" TargetMode="External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Jeeae_2\Desktop\%5b2014-12-26%5d%20&#51221;&#47532;&#54028;&#51068;\&#53364;&#47112;&#51076;(&#44592;&#51316;&#47784;&#54805;)_Cass_Bottle_Top-Down_12&#50900;3&#51452;&#52264;(W-2).xls" TargetMode="External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Jeeae_2\Desktop\%5b2014-12-26%5d%20&#51221;&#47532;&#54028;&#51068;\&#53364;&#47112;&#51076;(&#44592;&#51316;&#47784;&#54805;)_Cass_Bottle_Top-Down_12&#50900;3&#51452;&#52264;(W-2).xls" TargetMode="External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Jeeae_2\Desktop\&#51333;&#47308;&#48372;&#44256;&#49436;_&#54252;&#47607;.xlsx" TargetMode="External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lrMapOvr bg1="lt1" tx1="dk1" bg2="lt2" tx2="dk2" accent1="accent1" accent2="accent2" accent3="accent3" accent4="accent4" accent5="accent5" accent6="accent6" hlink="hlink" folHlink="folHlink"/>
  <c:chart>
    <c:plotArea>
      <c:layout/>
      <c:lineChart>
        <c:grouping val="standard"/>
        <c:ser>
          <c:idx val="0"/>
          <c:order val="0"/>
          <c:tx>
            <c:strRef>
              <c:f>회사전체!$I$50</c:f>
              <c:strCache>
                <c:ptCount val="1"/>
                <c:pt idx="0">
                  <c:v>실적</c:v>
                </c:pt>
              </c:strCache>
            </c:strRef>
          </c:tx>
          <c:cat>
            <c:numRef>
              <c:f>회사전체!$H$51:$H$59</c:f>
              <c:numCache>
                <c:formatCode>yyyy"-"mm</c:formatCode>
                <c:ptCount val="9"/>
                <c:pt idx="0">
                  <c:v>41670</c:v>
                </c:pt>
                <c:pt idx="1">
                  <c:v>41698</c:v>
                </c:pt>
                <c:pt idx="2">
                  <c:v>41729</c:v>
                </c:pt>
                <c:pt idx="3">
                  <c:v>41759</c:v>
                </c:pt>
                <c:pt idx="4">
                  <c:v>41790</c:v>
                </c:pt>
                <c:pt idx="5">
                  <c:v>41820</c:v>
                </c:pt>
                <c:pt idx="6">
                  <c:v>41851</c:v>
                </c:pt>
                <c:pt idx="7">
                  <c:v>41881</c:v>
                </c:pt>
                <c:pt idx="8">
                  <c:v>41912</c:v>
                </c:pt>
              </c:numCache>
            </c:numRef>
          </c:cat>
          <c:val>
            <c:numRef>
              <c:f>회사전체!$I$51:$I$59</c:f>
              <c:numCache>
                <c:formatCode>_(* #,##0_);_(* \(#,##0\);_(* "-"_);_(@_)</c:formatCode>
                <c:ptCount val="9"/>
                <c:pt idx="0">
                  <c:v>9730052.3220000006</c:v>
                </c:pt>
                <c:pt idx="1">
                  <c:v>7352873.5860000011</c:v>
                </c:pt>
                <c:pt idx="2">
                  <c:v>8768948.9080000017</c:v>
                </c:pt>
                <c:pt idx="3">
                  <c:v>9728641.7199999746</c:v>
                </c:pt>
                <c:pt idx="4">
                  <c:v>11285750.761</c:v>
                </c:pt>
                <c:pt idx="5">
                  <c:v>11698982.173</c:v>
                </c:pt>
                <c:pt idx="6">
                  <c:v>12959034.185999999</c:v>
                </c:pt>
                <c:pt idx="7">
                  <c:v>10904275.559</c:v>
                </c:pt>
                <c:pt idx="8">
                  <c:v>10001048.844000002</c:v>
                </c:pt>
              </c:numCache>
            </c:numRef>
          </c:val>
        </c:ser>
        <c:ser>
          <c:idx val="1"/>
          <c:order val="1"/>
          <c:tx>
            <c:strRef>
              <c:f>회사전체!$J$50</c:f>
              <c:strCache>
                <c:ptCount val="1"/>
                <c:pt idx="0">
                  <c:v>예측</c:v>
                </c:pt>
              </c:strCache>
            </c:strRef>
          </c:tx>
          <c:marker>
            <c:symbol val="square"/>
            <c:size val="5"/>
          </c:marker>
          <c:cat>
            <c:numRef>
              <c:f>회사전체!$H$51:$H$59</c:f>
              <c:numCache>
                <c:formatCode>yyyy"-"mm</c:formatCode>
                <c:ptCount val="9"/>
                <c:pt idx="0">
                  <c:v>41670</c:v>
                </c:pt>
                <c:pt idx="1">
                  <c:v>41698</c:v>
                </c:pt>
                <c:pt idx="2">
                  <c:v>41729</c:v>
                </c:pt>
                <c:pt idx="3">
                  <c:v>41759</c:v>
                </c:pt>
                <c:pt idx="4">
                  <c:v>41790</c:v>
                </c:pt>
                <c:pt idx="5">
                  <c:v>41820</c:v>
                </c:pt>
                <c:pt idx="6">
                  <c:v>41851</c:v>
                </c:pt>
                <c:pt idx="7">
                  <c:v>41881</c:v>
                </c:pt>
                <c:pt idx="8">
                  <c:v>41912</c:v>
                </c:pt>
              </c:numCache>
            </c:numRef>
          </c:cat>
          <c:val>
            <c:numRef>
              <c:f>회사전체!$J$51:$J$59</c:f>
              <c:numCache>
                <c:formatCode>_(* #,##0_);_(* \(#,##0\);_(* "-"_);_(@_)</c:formatCode>
                <c:ptCount val="9"/>
                <c:pt idx="0">
                  <c:v>9662670.1944596656</c:v>
                </c:pt>
                <c:pt idx="1">
                  <c:v>7573570.2178733591</c:v>
                </c:pt>
                <c:pt idx="2">
                  <c:v>8914452.8804431669</c:v>
                </c:pt>
                <c:pt idx="3">
                  <c:v>9657422.064053515</c:v>
                </c:pt>
                <c:pt idx="4">
                  <c:v>11202568.136424938</c:v>
                </c:pt>
                <c:pt idx="5">
                  <c:v>11384500.104369661</c:v>
                </c:pt>
                <c:pt idx="6">
                  <c:v>13026001.910089448</c:v>
                </c:pt>
                <c:pt idx="7">
                  <c:v>11904160.776409371</c:v>
                </c:pt>
                <c:pt idx="8">
                  <c:v>11177329.357775684</c:v>
                </c:pt>
              </c:numCache>
            </c:numRef>
          </c:val>
        </c:ser>
        <c:marker val="1"/>
        <c:axId val="99677696"/>
        <c:axId val="99679232"/>
      </c:lineChart>
      <c:dateAx>
        <c:axId val="99677696"/>
        <c:scaling>
          <c:orientation val="minMax"/>
        </c:scaling>
        <c:axPos val="b"/>
        <c:numFmt formatCode="yyyy&quot;-&quot;mm" sourceLinked="1"/>
        <c:tickLblPos val="nextTo"/>
        <c:txPr>
          <a:bodyPr/>
          <a:lstStyle/>
          <a:p>
            <a:pPr>
              <a:defRPr sz="1100"/>
            </a:pPr>
            <a:endParaRPr lang="ko-KR"/>
          </a:p>
        </c:txPr>
        <c:crossAx val="99679232"/>
        <c:crosses val="autoZero"/>
        <c:auto val="1"/>
        <c:lblOffset val="100"/>
        <c:baseTimeUnit val="months"/>
      </c:dateAx>
      <c:valAx>
        <c:axId val="99679232"/>
        <c:scaling>
          <c:orientation val="minMax"/>
          <c:min val="6000000"/>
        </c:scaling>
        <c:axPos val="l"/>
        <c:majorGridlines/>
        <c:numFmt formatCode="_(* #,##0_);_(* \(#,##0\);_(* &quot;-&quot;_);_(@_)" sourceLinked="1"/>
        <c:tickLblPos val="nextTo"/>
        <c:txPr>
          <a:bodyPr/>
          <a:lstStyle/>
          <a:p>
            <a:pPr>
              <a:defRPr sz="1200"/>
            </a:pPr>
            <a:endParaRPr lang="ko-KR"/>
          </a:p>
        </c:txPr>
        <c:crossAx val="9967769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90065306066653594"/>
          <c:y val="0.73378518913552193"/>
          <c:w val="9.9346939333464224E-2"/>
          <c:h val="0.17415954752509274"/>
        </c:manualLayout>
      </c:layout>
    </c:legend>
    <c:plotVisOnly val="1"/>
    <c:dispBlanksAs val="gap"/>
  </c:chart>
  <c:externalData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ko-KR"/>
  <c:clrMapOvr bg1="lt1" tx1="dk1" bg2="lt2" tx2="dk2" accent1="accent1" accent2="accent2" accent3="accent3" accent4="accent4" accent5="accent5" accent6="accent6" hlink="hlink" folHlink="folHlink"/>
  <c:chart>
    <c:plotArea>
      <c:layout/>
      <c:scatterChart>
        <c:scatterStyle val="lineMarker"/>
        <c:ser>
          <c:idx val="0"/>
          <c:order val="0"/>
          <c:tx>
            <c:v>실적</c:v>
          </c:tx>
          <c:spPr>
            <a:ln w="28575">
              <a:noFill/>
            </a:ln>
          </c:spPr>
          <c:marker>
            <c:symbol val="diamond"/>
            <c:size val="6"/>
          </c:marker>
          <c:xVal>
            <c:numRef>
              <c:f>Cass_Can_Weekly!$A$160:$A$262</c:f>
              <c:numCache>
                <c:formatCode>yyyy/mm/dd</c:formatCode>
                <c:ptCount val="103"/>
                <c:pt idx="0">
                  <c:v>41280</c:v>
                </c:pt>
                <c:pt idx="1">
                  <c:v>41287</c:v>
                </c:pt>
                <c:pt idx="2">
                  <c:v>41294</c:v>
                </c:pt>
                <c:pt idx="3">
                  <c:v>41301</c:v>
                </c:pt>
                <c:pt idx="4">
                  <c:v>41308</c:v>
                </c:pt>
                <c:pt idx="5">
                  <c:v>41315</c:v>
                </c:pt>
                <c:pt idx="6">
                  <c:v>41322</c:v>
                </c:pt>
                <c:pt idx="7">
                  <c:v>41329</c:v>
                </c:pt>
                <c:pt idx="8">
                  <c:v>41336</c:v>
                </c:pt>
                <c:pt idx="9">
                  <c:v>41343</c:v>
                </c:pt>
                <c:pt idx="10">
                  <c:v>41350</c:v>
                </c:pt>
                <c:pt idx="11">
                  <c:v>41357</c:v>
                </c:pt>
                <c:pt idx="12">
                  <c:v>41364</c:v>
                </c:pt>
                <c:pt idx="13">
                  <c:v>41371</c:v>
                </c:pt>
                <c:pt idx="14">
                  <c:v>41378</c:v>
                </c:pt>
                <c:pt idx="15">
                  <c:v>41385</c:v>
                </c:pt>
                <c:pt idx="16">
                  <c:v>41392</c:v>
                </c:pt>
                <c:pt idx="17">
                  <c:v>41399</c:v>
                </c:pt>
                <c:pt idx="18">
                  <c:v>41406</c:v>
                </c:pt>
                <c:pt idx="19">
                  <c:v>41413</c:v>
                </c:pt>
                <c:pt idx="20">
                  <c:v>41420</c:v>
                </c:pt>
                <c:pt idx="21">
                  <c:v>41427</c:v>
                </c:pt>
                <c:pt idx="22">
                  <c:v>41434</c:v>
                </c:pt>
                <c:pt idx="23">
                  <c:v>41441</c:v>
                </c:pt>
                <c:pt idx="24">
                  <c:v>41448</c:v>
                </c:pt>
                <c:pt idx="25">
                  <c:v>41455</c:v>
                </c:pt>
                <c:pt idx="26">
                  <c:v>41462</c:v>
                </c:pt>
                <c:pt idx="27">
                  <c:v>41469</c:v>
                </c:pt>
                <c:pt idx="28">
                  <c:v>41476</c:v>
                </c:pt>
                <c:pt idx="29">
                  <c:v>41483</c:v>
                </c:pt>
                <c:pt idx="30">
                  <c:v>41490</c:v>
                </c:pt>
                <c:pt idx="31">
                  <c:v>41497</c:v>
                </c:pt>
                <c:pt idx="32">
                  <c:v>41504</c:v>
                </c:pt>
                <c:pt idx="33">
                  <c:v>41511</c:v>
                </c:pt>
                <c:pt idx="34">
                  <c:v>41518</c:v>
                </c:pt>
                <c:pt idx="35">
                  <c:v>41525</c:v>
                </c:pt>
                <c:pt idx="36">
                  <c:v>41532</c:v>
                </c:pt>
                <c:pt idx="37">
                  <c:v>41539</c:v>
                </c:pt>
                <c:pt idx="38">
                  <c:v>41546</c:v>
                </c:pt>
                <c:pt idx="39">
                  <c:v>41553</c:v>
                </c:pt>
                <c:pt idx="40">
                  <c:v>41560</c:v>
                </c:pt>
                <c:pt idx="41">
                  <c:v>41567</c:v>
                </c:pt>
                <c:pt idx="42">
                  <c:v>41574</c:v>
                </c:pt>
                <c:pt idx="43">
                  <c:v>41581</c:v>
                </c:pt>
                <c:pt idx="44">
                  <c:v>41588</c:v>
                </c:pt>
                <c:pt idx="45">
                  <c:v>41595</c:v>
                </c:pt>
                <c:pt idx="46">
                  <c:v>41602</c:v>
                </c:pt>
                <c:pt idx="47">
                  <c:v>41609</c:v>
                </c:pt>
                <c:pt idx="48">
                  <c:v>41616</c:v>
                </c:pt>
                <c:pt idx="49">
                  <c:v>41623</c:v>
                </c:pt>
                <c:pt idx="50">
                  <c:v>41630</c:v>
                </c:pt>
                <c:pt idx="51">
                  <c:v>41637</c:v>
                </c:pt>
                <c:pt idx="52">
                  <c:v>41644</c:v>
                </c:pt>
                <c:pt idx="53">
                  <c:v>41651</c:v>
                </c:pt>
                <c:pt idx="54">
                  <c:v>41658</c:v>
                </c:pt>
                <c:pt idx="55">
                  <c:v>41665</c:v>
                </c:pt>
                <c:pt idx="56">
                  <c:v>41672</c:v>
                </c:pt>
                <c:pt idx="57">
                  <c:v>41679</c:v>
                </c:pt>
                <c:pt idx="58">
                  <c:v>41686</c:v>
                </c:pt>
                <c:pt idx="59">
                  <c:v>41693</c:v>
                </c:pt>
                <c:pt idx="60">
                  <c:v>41700</c:v>
                </c:pt>
                <c:pt idx="61">
                  <c:v>41707</c:v>
                </c:pt>
                <c:pt idx="62">
                  <c:v>41714</c:v>
                </c:pt>
                <c:pt idx="63">
                  <c:v>41721</c:v>
                </c:pt>
                <c:pt idx="64">
                  <c:v>41728</c:v>
                </c:pt>
                <c:pt idx="65">
                  <c:v>41735</c:v>
                </c:pt>
                <c:pt idx="66">
                  <c:v>41742</c:v>
                </c:pt>
                <c:pt idx="67">
                  <c:v>41749</c:v>
                </c:pt>
                <c:pt idx="68">
                  <c:v>41756</c:v>
                </c:pt>
                <c:pt idx="69">
                  <c:v>41763</c:v>
                </c:pt>
                <c:pt idx="70">
                  <c:v>41770</c:v>
                </c:pt>
                <c:pt idx="71">
                  <c:v>41777</c:v>
                </c:pt>
                <c:pt idx="72">
                  <c:v>41784</c:v>
                </c:pt>
                <c:pt idx="73">
                  <c:v>41791</c:v>
                </c:pt>
                <c:pt idx="74">
                  <c:v>41798</c:v>
                </c:pt>
                <c:pt idx="75">
                  <c:v>41805</c:v>
                </c:pt>
                <c:pt idx="76">
                  <c:v>41812</c:v>
                </c:pt>
                <c:pt idx="77">
                  <c:v>41819</c:v>
                </c:pt>
                <c:pt idx="78">
                  <c:v>41826</c:v>
                </c:pt>
                <c:pt idx="79">
                  <c:v>41833</c:v>
                </c:pt>
                <c:pt idx="80">
                  <c:v>41840</c:v>
                </c:pt>
                <c:pt idx="81">
                  <c:v>41847</c:v>
                </c:pt>
                <c:pt idx="82">
                  <c:v>41854</c:v>
                </c:pt>
                <c:pt idx="83">
                  <c:v>41861</c:v>
                </c:pt>
                <c:pt idx="84">
                  <c:v>41868</c:v>
                </c:pt>
                <c:pt idx="85">
                  <c:v>41875</c:v>
                </c:pt>
                <c:pt idx="86">
                  <c:v>41882</c:v>
                </c:pt>
                <c:pt idx="87">
                  <c:v>41889</c:v>
                </c:pt>
                <c:pt idx="88">
                  <c:v>41896</c:v>
                </c:pt>
                <c:pt idx="89">
                  <c:v>41903</c:v>
                </c:pt>
                <c:pt idx="90">
                  <c:v>41910</c:v>
                </c:pt>
                <c:pt idx="91">
                  <c:v>41917</c:v>
                </c:pt>
                <c:pt idx="92">
                  <c:v>41924</c:v>
                </c:pt>
                <c:pt idx="93">
                  <c:v>41931</c:v>
                </c:pt>
                <c:pt idx="94">
                  <c:v>41938</c:v>
                </c:pt>
                <c:pt idx="95">
                  <c:v>41945</c:v>
                </c:pt>
                <c:pt idx="96">
                  <c:v>41952</c:v>
                </c:pt>
                <c:pt idx="97">
                  <c:v>41959</c:v>
                </c:pt>
                <c:pt idx="98">
                  <c:v>41966</c:v>
                </c:pt>
                <c:pt idx="99">
                  <c:v>41973</c:v>
                </c:pt>
                <c:pt idx="100">
                  <c:v>41980</c:v>
                </c:pt>
                <c:pt idx="101">
                  <c:v>41987</c:v>
                </c:pt>
                <c:pt idx="102">
                  <c:v>41994</c:v>
                </c:pt>
              </c:numCache>
            </c:numRef>
          </c:xVal>
          <c:yVal>
            <c:numRef>
              <c:f>Cass_Can_Weekly!$B$160:$B$262</c:f>
              <c:numCache>
                <c:formatCode>_-* #,##0_-;\-* #,##0_-;_-* "-"_-;_-@_-</c:formatCode>
                <c:ptCount val="103"/>
                <c:pt idx="0">
                  <c:v>240875.00399999999</c:v>
                </c:pt>
                <c:pt idx="1">
                  <c:v>240394.872</c:v>
                </c:pt>
                <c:pt idx="2">
                  <c:v>244758.93599999999</c:v>
                </c:pt>
                <c:pt idx="3">
                  <c:v>286061.70600000001</c:v>
                </c:pt>
                <c:pt idx="4">
                  <c:v>399386.35199999984</c:v>
                </c:pt>
                <c:pt idx="5">
                  <c:v>160526.78399999999</c:v>
                </c:pt>
                <c:pt idx="6">
                  <c:v>214853.652</c:v>
                </c:pt>
                <c:pt idx="7">
                  <c:v>249751.56</c:v>
                </c:pt>
                <c:pt idx="8">
                  <c:v>309006.054</c:v>
                </c:pt>
                <c:pt idx="9">
                  <c:v>300441.10199999984</c:v>
                </c:pt>
                <c:pt idx="10">
                  <c:v>326752.87199999986</c:v>
                </c:pt>
                <c:pt idx="11">
                  <c:v>259413.51</c:v>
                </c:pt>
                <c:pt idx="12">
                  <c:v>368510.86799999984</c:v>
                </c:pt>
                <c:pt idx="13">
                  <c:v>295502.31</c:v>
                </c:pt>
                <c:pt idx="14">
                  <c:v>325307.67</c:v>
                </c:pt>
                <c:pt idx="15">
                  <c:v>318885.04799999989</c:v>
                </c:pt>
                <c:pt idx="16">
                  <c:v>388427.91000000021</c:v>
                </c:pt>
                <c:pt idx="17">
                  <c:v>367242.35399999999</c:v>
                </c:pt>
                <c:pt idx="18">
                  <c:v>432340.12199999986</c:v>
                </c:pt>
                <c:pt idx="19">
                  <c:v>433936.88400000002</c:v>
                </c:pt>
                <c:pt idx="20">
                  <c:v>368294.826</c:v>
                </c:pt>
                <c:pt idx="21">
                  <c:v>528554.22</c:v>
                </c:pt>
                <c:pt idx="22">
                  <c:v>549542.32799999998</c:v>
                </c:pt>
                <c:pt idx="23">
                  <c:v>464952.59399999998</c:v>
                </c:pt>
                <c:pt idx="24">
                  <c:v>414212.78400000022</c:v>
                </c:pt>
                <c:pt idx="25">
                  <c:v>539523.10199999996</c:v>
                </c:pt>
                <c:pt idx="26">
                  <c:v>463757.46600000001</c:v>
                </c:pt>
                <c:pt idx="27">
                  <c:v>513116.68199999986</c:v>
                </c:pt>
                <c:pt idx="28">
                  <c:v>540993.55200000003</c:v>
                </c:pt>
                <c:pt idx="29">
                  <c:v>647003.90399999998</c:v>
                </c:pt>
                <c:pt idx="30">
                  <c:v>635269.81200000003</c:v>
                </c:pt>
                <c:pt idx="31">
                  <c:v>554663.04</c:v>
                </c:pt>
                <c:pt idx="32">
                  <c:v>541638.978</c:v>
                </c:pt>
                <c:pt idx="33">
                  <c:v>429313.87800000003</c:v>
                </c:pt>
                <c:pt idx="34">
                  <c:v>555403.16999999946</c:v>
                </c:pt>
                <c:pt idx="35">
                  <c:v>645618.15599999996</c:v>
                </c:pt>
                <c:pt idx="36">
                  <c:v>326861.68199999986</c:v>
                </c:pt>
                <c:pt idx="37">
                  <c:v>394818.09600000002</c:v>
                </c:pt>
                <c:pt idx="38">
                  <c:v>436768.71600000001</c:v>
                </c:pt>
                <c:pt idx="39">
                  <c:v>429969.35399999999</c:v>
                </c:pt>
                <c:pt idx="40">
                  <c:v>410939.88</c:v>
                </c:pt>
                <c:pt idx="41">
                  <c:v>387419.06400000001</c:v>
                </c:pt>
                <c:pt idx="42">
                  <c:v>368228.29200000002</c:v>
                </c:pt>
                <c:pt idx="43">
                  <c:v>388450.45199999999</c:v>
                </c:pt>
                <c:pt idx="44">
                  <c:v>342168.87</c:v>
                </c:pt>
                <c:pt idx="45">
                  <c:v>336455.83199999999</c:v>
                </c:pt>
                <c:pt idx="46">
                  <c:v>277728.00599999999</c:v>
                </c:pt>
                <c:pt idx="47">
                  <c:v>386168.48400000029</c:v>
                </c:pt>
                <c:pt idx="48">
                  <c:v>329220.54599999986</c:v>
                </c:pt>
                <c:pt idx="49">
                  <c:v>340092.33</c:v>
                </c:pt>
                <c:pt idx="50">
                  <c:v>375141.46799999999</c:v>
                </c:pt>
                <c:pt idx="51">
                  <c:v>368198.2200000002</c:v>
                </c:pt>
                <c:pt idx="52">
                  <c:v>329394.37199999986</c:v>
                </c:pt>
                <c:pt idx="53">
                  <c:v>333222.14999999985</c:v>
                </c:pt>
                <c:pt idx="54">
                  <c:v>432856.60799999989</c:v>
                </c:pt>
                <c:pt idx="55">
                  <c:v>279188.33399999997</c:v>
                </c:pt>
                <c:pt idx="56">
                  <c:v>283208.47200000001</c:v>
                </c:pt>
                <c:pt idx="57">
                  <c:v>267318.15599999984</c:v>
                </c:pt>
                <c:pt idx="58">
                  <c:v>308844.43199999997</c:v>
                </c:pt>
                <c:pt idx="59">
                  <c:v>330474.636</c:v>
                </c:pt>
                <c:pt idx="60">
                  <c:v>352356.58799999999</c:v>
                </c:pt>
                <c:pt idx="61">
                  <c:v>334983.71399999998</c:v>
                </c:pt>
                <c:pt idx="62">
                  <c:v>352193.89199999999</c:v>
                </c:pt>
                <c:pt idx="63">
                  <c:v>385570.36799999984</c:v>
                </c:pt>
                <c:pt idx="64">
                  <c:v>411253.359</c:v>
                </c:pt>
                <c:pt idx="65">
                  <c:v>351040.40899999999</c:v>
                </c:pt>
                <c:pt idx="66">
                  <c:v>400896.71100000001</c:v>
                </c:pt>
                <c:pt idx="67">
                  <c:v>396916.23200000002</c:v>
                </c:pt>
                <c:pt idx="68">
                  <c:v>546690.04299999936</c:v>
                </c:pt>
                <c:pt idx="69">
                  <c:v>362562.967</c:v>
                </c:pt>
                <c:pt idx="70">
                  <c:v>452294.73500000022</c:v>
                </c:pt>
                <c:pt idx="71">
                  <c:v>496726.11499999999</c:v>
                </c:pt>
                <c:pt idx="72">
                  <c:v>493617.46100000001</c:v>
                </c:pt>
                <c:pt idx="73">
                  <c:v>610847.52599999937</c:v>
                </c:pt>
                <c:pt idx="74">
                  <c:v>546128.73600000003</c:v>
                </c:pt>
                <c:pt idx="75">
                  <c:v>522029.43600000022</c:v>
                </c:pt>
                <c:pt idx="76">
                  <c:v>559692.54599999997</c:v>
                </c:pt>
                <c:pt idx="77">
                  <c:v>573910.66999999946</c:v>
                </c:pt>
                <c:pt idx="78">
                  <c:v>485510.86900000001</c:v>
                </c:pt>
                <c:pt idx="79">
                  <c:v>578713.64399999997</c:v>
                </c:pt>
                <c:pt idx="80">
                  <c:v>582474.02399999998</c:v>
                </c:pt>
                <c:pt idx="81">
                  <c:v>657745.88899999997</c:v>
                </c:pt>
                <c:pt idx="82">
                  <c:v>545108.35200000042</c:v>
                </c:pt>
                <c:pt idx="83">
                  <c:v>441150.08299999993</c:v>
                </c:pt>
                <c:pt idx="84">
                  <c:v>419110.57299999986</c:v>
                </c:pt>
                <c:pt idx="85">
                  <c:v>484925.49599999998</c:v>
                </c:pt>
                <c:pt idx="86">
                  <c:v>732774.19199999946</c:v>
                </c:pt>
                <c:pt idx="87">
                  <c:v>171055.49399999998</c:v>
                </c:pt>
                <c:pt idx="88">
                  <c:v>354423.85799999989</c:v>
                </c:pt>
                <c:pt idx="89">
                  <c:v>403076.11199999985</c:v>
                </c:pt>
                <c:pt idx="90">
                  <c:v>372880.62</c:v>
                </c:pt>
                <c:pt idx="91">
                  <c:v>365203.05799999984</c:v>
                </c:pt>
                <c:pt idx="92">
                  <c:v>393001.76199999999</c:v>
                </c:pt>
                <c:pt idx="93">
                  <c:v>388226.55300000001</c:v>
                </c:pt>
                <c:pt idx="94">
                  <c:v>369493.97899999999</c:v>
                </c:pt>
                <c:pt idx="95">
                  <c:v>342394.22300000029</c:v>
                </c:pt>
                <c:pt idx="96">
                  <c:v>303978.2040000002</c:v>
                </c:pt>
                <c:pt idx="97">
                  <c:v>317306.02799999999</c:v>
                </c:pt>
                <c:pt idx="98">
                  <c:v>294295.56</c:v>
                </c:pt>
                <c:pt idx="99">
                  <c:v>328654.39500000002</c:v>
                </c:pt>
                <c:pt idx="100">
                  <c:v>294371.12</c:v>
                </c:pt>
                <c:pt idx="101">
                  <c:v>315539.80799999984</c:v>
                </c:pt>
                <c:pt idx="102">
                  <c:v>331705.22500000021</c:v>
                </c:pt>
              </c:numCache>
            </c:numRef>
          </c:yVal>
        </c:ser>
        <c:ser>
          <c:idx val="1"/>
          <c:order val="1"/>
          <c:tx>
            <c:v>예측</c:v>
          </c:tx>
          <c:spPr>
            <a:ln w="28575">
              <a:noFill/>
            </a:ln>
          </c:spPr>
          <c:marker>
            <c:symbol val="square"/>
            <c:size val="4"/>
          </c:marker>
          <c:xVal>
            <c:numRef>
              <c:f>Cass_Can_Weekly!$A$160:$A$262</c:f>
              <c:numCache>
                <c:formatCode>yyyy/mm/dd</c:formatCode>
                <c:ptCount val="103"/>
                <c:pt idx="0">
                  <c:v>41280</c:v>
                </c:pt>
                <c:pt idx="1">
                  <c:v>41287</c:v>
                </c:pt>
                <c:pt idx="2">
                  <c:v>41294</c:v>
                </c:pt>
                <c:pt idx="3">
                  <c:v>41301</c:v>
                </c:pt>
                <c:pt idx="4">
                  <c:v>41308</c:v>
                </c:pt>
                <c:pt idx="5">
                  <c:v>41315</c:v>
                </c:pt>
                <c:pt idx="6">
                  <c:v>41322</c:v>
                </c:pt>
                <c:pt idx="7">
                  <c:v>41329</c:v>
                </c:pt>
                <c:pt idx="8">
                  <c:v>41336</c:v>
                </c:pt>
                <c:pt idx="9">
                  <c:v>41343</c:v>
                </c:pt>
                <c:pt idx="10">
                  <c:v>41350</c:v>
                </c:pt>
                <c:pt idx="11">
                  <c:v>41357</c:v>
                </c:pt>
                <c:pt idx="12">
                  <c:v>41364</c:v>
                </c:pt>
                <c:pt idx="13">
                  <c:v>41371</c:v>
                </c:pt>
                <c:pt idx="14">
                  <c:v>41378</c:v>
                </c:pt>
                <c:pt idx="15">
                  <c:v>41385</c:v>
                </c:pt>
                <c:pt idx="16">
                  <c:v>41392</c:v>
                </c:pt>
                <c:pt idx="17">
                  <c:v>41399</c:v>
                </c:pt>
                <c:pt idx="18">
                  <c:v>41406</c:v>
                </c:pt>
                <c:pt idx="19">
                  <c:v>41413</c:v>
                </c:pt>
                <c:pt idx="20">
                  <c:v>41420</c:v>
                </c:pt>
                <c:pt idx="21">
                  <c:v>41427</c:v>
                </c:pt>
                <c:pt idx="22">
                  <c:v>41434</c:v>
                </c:pt>
                <c:pt idx="23">
                  <c:v>41441</c:v>
                </c:pt>
                <c:pt idx="24">
                  <c:v>41448</c:v>
                </c:pt>
                <c:pt idx="25">
                  <c:v>41455</c:v>
                </c:pt>
                <c:pt idx="26">
                  <c:v>41462</c:v>
                </c:pt>
                <c:pt idx="27">
                  <c:v>41469</c:v>
                </c:pt>
                <c:pt idx="28">
                  <c:v>41476</c:v>
                </c:pt>
                <c:pt idx="29">
                  <c:v>41483</c:v>
                </c:pt>
                <c:pt idx="30">
                  <c:v>41490</c:v>
                </c:pt>
                <c:pt idx="31">
                  <c:v>41497</c:v>
                </c:pt>
                <c:pt idx="32">
                  <c:v>41504</c:v>
                </c:pt>
                <c:pt idx="33">
                  <c:v>41511</c:v>
                </c:pt>
                <c:pt idx="34">
                  <c:v>41518</c:v>
                </c:pt>
                <c:pt idx="35">
                  <c:v>41525</c:v>
                </c:pt>
                <c:pt idx="36">
                  <c:v>41532</c:v>
                </c:pt>
                <c:pt idx="37">
                  <c:v>41539</c:v>
                </c:pt>
                <c:pt idx="38">
                  <c:v>41546</c:v>
                </c:pt>
                <c:pt idx="39">
                  <c:v>41553</c:v>
                </c:pt>
                <c:pt idx="40">
                  <c:v>41560</c:v>
                </c:pt>
                <c:pt idx="41">
                  <c:v>41567</c:v>
                </c:pt>
                <c:pt idx="42">
                  <c:v>41574</c:v>
                </c:pt>
                <c:pt idx="43">
                  <c:v>41581</c:v>
                </c:pt>
                <c:pt idx="44">
                  <c:v>41588</c:v>
                </c:pt>
                <c:pt idx="45">
                  <c:v>41595</c:v>
                </c:pt>
                <c:pt idx="46">
                  <c:v>41602</c:v>
                </c:pt>
                <c:pt idx="47">
                  <c:v>41609</c:v>
                </c:pt>
                <c:pt idx="48">
                  <c:v>41616</c:v>
                </c:pt>
                <c:pt idx="49">
                  <c:v>41623</c:v>
                </c:pt>
                <c:pt idx="50">
                  <c:v>41630</c:v>
                </c:pt>
                <c:pt idx="51">
                  <c:v>41637</c:v>
                </c:pt>
                <c:pt idx="52">
                  <c:v>41644</c:v>
                </c:pt>
                <c:pt idx="53">
                  <c:v>41651</c:v>
                </c:pt>
                <c:pt idx="54">
                  <c:v>41658</c:v>
                </c:pt>
                <c:pt idx="55">
                  <c:v>41665</c:v>
                </c:pt>
                <c:pt idx="56">
                  <c:v>41672</c:v>
                </c:pt>
                <c:pt idx="57">
                  <c:v>41679</c:v>
                </c:pt>
                <c:pt idx="58">
                  <c:v>41686</c:v>
                </c:pt>
                <c:pt idx="59">
                  <c:v>41693</c:v>
                </c:pt>
                <c:pt idx="60">
                  <c:v>41700</c:v>
                </c:pt>
                <c:pt idx="61">
                  <c:v>41707</c:v>
                </c:pt>
                <c:pt idx="62">
                  <c:v>41714</c:v>
                </c:pt>
                <c:pt idx="63">
                  <c:v>41721</c:v>
                </c:pt>
                <c:pt idx="64">
                  <c:v>41728</c:v>
                </c:pt>
                <c:pt idx="65">
                  <c:v>41735</c:v>
                </c:pt>
                <c:pt idx="66">
                  <c:v>41742</c:v>
                </c:pt>
                <c:pt idx="67">
                  <c:v>41749</c:v>
                </c:pt>
                <c:pt idx="68">
                  <c:v>41756</c:v>
                </c:pt>
                <c:pt idx="69">
                  <c:v>41763</c:v>
                </c:pt>
                <c:pt idx="70">
                  <c:v>41770</c:v>
                </c:pt>
                <c:pt idx="71">
                  <c:v>41777</c:v>
                </c:pt>
                <c:pt idx="72">
                  <c:v>41784</c:v>
                </c:pt>
                <c:pt idx="73">
                  <c:v>41791</c:v>
                </c:pt>
                <c:pt idx="74">
                  <c:v>41798</c:v>
                </c:pt>
                <c:pt idx="75">
                  <c:v>41805</c:v>
                </c:pt>
                <c:pt idx="76">
                  <c:v>41812</c:v>
                </c:pt>
                <c:pt idx="77">
                  <c:v>41819</c:v>
                </c:pt>
                <c:pt idx="78">
                  <c:v>41826</c:v>
                </c:pt>
                <c:pt idx="79">
                  <c:v>41833</c:v>
                </c:pt>
                <c:pt idx="80">
                  <c:v>41840</c:v>
                </c:pt>
                <c:pt idx="81">
                  <c:v>41847</c:v>
                </c:pt>
                <c:pt idx="82">
                  <c:v>41854</c:v>
                </c:pt>
                <c:pt idx="83">
                  <c:v>41861</c:v>
                </c:pt>
                <c:pt idx="84">
                  <c:v>41868</c:v>
                </c:pt>
                <c:pt idx="85">
                  <c:v>41875</c:v>
                </c:pt>
                <c:pt idx="86">
                  <c:v>41882</c:v>
                </c:pt>
                <c:pt idx="87">
                  <c:v>41889</c:v>
                </c:pt>
                <c:pt idx="88">
                  <c:v>41896</c:v>
                </c:pt>
                <c:pt idx="89">
                  <c:v>41903</c:v>
                </c:pt>
                <c:pt idx="90">
                  <c:v>41910</c:v>
                </c:pt>
                <c:pt idx="91">
                  <c:v>41917</c:v>
                </c:pt>
                <c:pt idx="92">
                  <c:v>41924</c:v>
                </c:pt>
                <c:pt idx="93">
                  <c:v>41931</c:v>
                </c:pt>
                <c:pt idx="94">
                  <c:v>41938</c:v>
                </c:pt>
                <c:pt idx="95">
                  <c:v>41945</c:v>
                </c:pt>
                <c:pt idx="96">
                  <c:v>41952</c:v>
                </c:pt>
                <c:pt idx="97">
                  <c:v>41959</c:v>
                </c:pt>
                <c:pt idx="98">
                  <c:v>41966</c:v>
                </c:pt>
                <c:pt idx="99">
                  <c:v>41973</c:v>
                </c:pt>
                <c:pt idx="100">
                  <c:v>41980</c:v>
                </c:pt>
                <c:pt idx="101">
                  <c:v>41987</c:v>
                </c:pt>
                <c:pt idx="102">
                  <c:v>41994</c:v>
                </c:pt>
              </c:numCache>
            </c:numRef>
          </c:xVal>
          <c:yVal>
            <c:numRef>
              <c:f>Cass_Can_Weekly!$C$160:$C$262</c:f>
              <c:numCache>
                <c:formatCode>_-* #,##0_-;\-* #,##0_-;_-* "-"_-;_-@_-</c:formatCode>
                <c:ptCount val="103"/>
                <c:pt idx="0">
                  <c:v>252048.82510009885</c:v>
                </c:pt>
                <c:pt idx="1">
                  <c:v>253667.410794033</c:v>
                </c:pt>
                <c:pt idx="2">
                  <c:v>255362.940605629</c:v>
                </c:pt>
                <c:pt idx="3">
                  <c:v>280584.39254806598</c:v>
                </c:pt>
                <c:pt idx="4">
                  <c:v>406945.61624129402</c:v>
                </c:pt>
                <c:pt idx="5">
                  <c:v>155503.08168111701</c:v>
                </c:pt>
                <c:pt idx="6">
                  <c:v>214227.21616478215</c:v>
                </c:pt>
                <c:pt idx="7">
                  <c:v>253037.18463750798</c:v>
                </c:pt>
                <c:pt idx="8">
                  <c:v>368156.69363480201</c:v>
                </c:pt>
                <c:pt idx="9">
                  <c:v>303162.78158205445</c:v>
                </c:pt>
                <c:pt idx="10">
                  <c:v>297505.50345332536</c:v>
                </c:pt>
                <c:pt idx="11">
                  <c:v>271295.24857169687</c:v>
                </c:pt>
                <c:pt idx="12">
                  <c:v>363018.99234563601</c:v>
                </c:pt>
                <c:pt idx="13">
                  <c:v>321705.00911313202</c:v>
                </c:pt>
                <c:pt idx="14">
                  <c:v>338888.30214498984</c:v>
                </c:pt>
                <c:pt idx="15">
                  <c:v>335313.29201378021</c:v>
                </c:pt>
                <c:pt idx="16">
                  <c:v>411474.87022747501</c:v>
                </c:pt>
                <c:pt idx="17">
                  <c:v>384666.61200494657</c:v>
                </c:pt>
                <c:pt idx="18">
                  <c:v>400362.86142577685</c:v>
                </c:pt>
                <c:pt idx="19">
                  <c:v>421148.55562874686</c:v>
                </c:pt>
                <c:pt idx="20">
                  <c:v>407244.6308098032</c:v>
                </c:pt>
                <c:pt idx="21">
                  <c:v>513523.38838327897</c:v>
                </c:pt>
                <c:pt idx="22">
                  <c:v>537138.44570943341</c:v>
                </c:pt>
                <c:pt idx="23">
                  <c:v>459079.45398530929</c:v>
                </c:pt>
                <c:pt idx="24">
                  <c:v>446485.29924388637</c:v>
                </c:pt>
                <c:pt idx="25">
                  <c:v>521580.24985638063</c:v>
                </c:pt>
                <c:pt idx="26">
                  <c:v>492184.95638359297</c:v>
                </c:pt>
                <c:pt idx="27">
                  <c:v>499782.8221838543</c:v>
                </c:pt>
                <c:pt idx="28">
                  <c:v>510185.97703265329</c:v>
                </c:pt>
                <c:pt idx="29">
                  <c:v>602383.63650045008</c:v>
                </c:pt>
                <c:pt idx="30">
                  <c:v>570210.21897118888</c:v>
                </c:pt>
                <c:pt idx="31">
                  <c:v>496303.10650062398</c:v>
                </c:pt>
                <c:pt idx="32">
                  <c:v>496524.03238116798</c:v>
                </c:pt>
                <c:pt idx="33">
                  <c:v>449411.25195801386</c:v>
                </c:pt>
                <c:pt idx="34">
                  <c:v>546034.50253427436</c:v>
                </c:pt>
                <c:pt idx="35">
                  <c:v>646327.83833209402</c:v>
                </c:pt>
                <c:pt idx="36">
                  <c:v>315280.83864684199</c:v>
                </c:pt>
                <c:pt idx="37">
                  <c:v>409143.70880096301</c:v>
                </c:pt>
                <c:pt idx="38">
                  <c:v>425905.09755126422</c:v>
                </c:pt>
                <c:pt idx="39">
                  <c:v>424344.8237529202</c:v>
                </c:pt>
                <c:pt idx="40">
                  <c:v>419687.18193471484</c:v>
                </c:pt>
                <c:pt idx="41">
                  <c:v>405927.40524825436</c:v>
                </c:pt>
                <c:pt idx="42">
                  <c:v>379602.49407108198</c:v>
                </c:pt>
                <c:pt idx="43">
                  <c:v>389013.75617752998</c:v>
                </c:pt>
                <c:pt idx="44">
                  <c:v>364385.94963646098</c:v>
                </c:pt>
                <c:pt idx="45">
                  <c:v>339984.16482800856</c:v>
                </c:pt>
                <c:pt idx="46">
                  <c:v>295809.70297978586</c:v>
                </c:pt>
                <c:pt idx="47">
                  <c:v>367968.78185557789</c:v>
                </c:pt>
                <c:pt idx="48">
                  <c:v>327069.86255134485</c:v>
                </c:pt>
                <c:pt idx="49">
                  <c:v>352627.43637632037</c:v>
                </c:pt>
                <c:pt idx="50">
                  <c:v>362210.44118568301</c:v>
                </c:pt>
                <c:pt idx="51">
                  <c:v>368277.29956888343</c:v>
                </c:pt>
                <c:pt idx="52">
                  <c:v>321773.042531677</c:v>
                </c:pt>
                <c:pt idx="53">
                  <c:v>351992.72033346636</c:v>
                </c:pt>
                <c:pt idx="54">
                  <c:v>443242.1461780587</c:v>
                </c:pt>
                <c:pt idx="55">
                  <c:v>279203.33206507086</c:v>
                </c:pt>
                <c:pt idx="56">
                  <c:v>284566.5261493263</c:v>
                </c:pt>
                <c:pt idx="57">
                  <c:v>284939.792127116</c:v>
                </c:pt>
                <c:pt idx="58">
                  <c:v>326536.06562227698</c:v>
                </c:pt>
                <c:pt idx="59">
                  <c:v>329799.23056755197</c:v>
                </c:pt>
                <c:pt idx="60">
                  <c:v>373393.06479655084</c:v>
                </c:pt>
                <c:pt idx="61">
                  <c:v>341868.38439808902</c:v>
                </c:pt>
                <c:pt idx="62">
                  <c:v>362395.31312197598</c:v>
                </c:pt>
                <c:pt idx="63">
                  <c:v>372075.576635896</c:v>
                </c:pt>
                <c:pt idx="64">
                  <c:v>403242.194879102</c:v>
                </c:pt>
                <c:pt idx="65">
                  <c:v>374046.10410479183</c:v>
                </c:pt>
                <c:pt idx="66">
                  <c:v>395956.39705481485</c:v>
                </c:pt>
                <c:pt idx="67">
                  <c:v>415493.86214786186</c:v>
                </c:pt>
                <c:pt idx="68">
                  <c:v>521999.10895467841</c:v>
                </c:pt>
                <c:pt idx="69">
                  <c:v>357787.192146816</c:v>
                </c:pt>
                <c:pt idx="70">
                  <c:v>471309.35598476784</c:v>
                </c:pt>
                <c:pt idx="71">
                  <c:v>484801.32284087699</c:v>
                </c:pt>
                <c:pt idx="72">
                  <c:v>464204.68683772685</c:v>
                </c:pt>
                <c:pt idx="73">
                  <c:v>614768.1454578269</c:v>
                </c:pt>
                <c:pt idx="74">
                  <c:v>549697.79267978901</c:v>
                </c:pt>
                <c:pt idx="75">
                  <c:v>508036.61627474503</c:v>
                </c:pt>
                <c:pt idx="76">
                  <c:v>563227.52003886737</c:v>
                </c:pt>
                <c:pt idx="77">
                  <c:v>581685.63657447393</c:v>
                </c:pt>
                <c:pt idx="78">
                  <c:v>501106.30415405863</c:v>
                </c:pt>
                <c:pt idx="79">
                  <c:v>562823.27493469545</c:v>
                </c:pt>
                <c:pt idx="80">
                  <c:v>571320.62055624172</c:v>
                </c:pt>
                <c:pt idx="81">
                  <c:v>659942.19388769672</c:v>
                </c:pt>
                <c:pt idx="82">
                  <c:v>555870.19987515337</c:v>
                </c:pt>
                <c:pt idx="83">
                  <c:v>453990.22277510684</c:v>
                </c:pt>
                <c:pt idx="84">
                  <c:v>433078.79485089402</c:v>
                </c:pt>
                <c:pt idx="85">
                  <c:v>500572.19765856699</c:v>
                </c:pt>
                <c:pt idx="86">
                  <c:v>748745.88047244702</c:v>
                </c:pt>
                <c:pt idx="87">
                  <c:v>170271.39675605085</c:v>
                </c:pt>
                <c:pt idx="88">
                  <c:v>367489.75688974699</c:v>
                </c:pt>
                <c:pt idx="89">
                  <c:v>365241.96211610199</c:v>
                </c:pt>
                <c:pt idx="90">
                  <c:v>374484.68134302937</c:v>
                </c:pt>
                <c:pt idx="91">
                  <c:v>383741.43660972145</c:v>
                </c:pt>
                <c:pt idx="92">
                  <c:v>356549.19452454703</c:v>
                </c:pt>
                <c:pt idx="93">
                  <c:v>358249.69043110602</c:v>
                </c:pt>
                <c:pt idx="94">
                  <c:v>331614.29324588802</c:v>
                </c:pt>
                <c:pt idx="95">
                  <c:v>360054.07551279629</c:v>
                </c:pt>
                <c:pt idx="96">
                  <c:v>321822.78751140297</c:v>
                </c:pt>
                <c:pt idx="97">
                  <c:v>317263.40302447701</c:v>
                </c:pt>
                <c:pt idx="98">
                  <c:v>304648.26227126701</c:v>
                </c:pt>
                <c:pt idx="99">
                  <c:v>324637.19366247137</c:v>
                </c:pt>
                <c:pt idx="100">
                  <c:v>292788.602993323</c:v>
                </c:pt>
                <c:pt idx="101">
                  <c:v>315855.4374759043</c:v>
                </c:pt>
                <c:pt idx="102">
                  <c:v>343857.45943062898</c:v>
                </c:pt>
              </c:numCache>
            </c:numRef>
          </c:yVal>
        </c:ser>
        <c:axId val="102797312"/>
        <c:axId val="102798848"/>
      </c:scatterChart>
      <c:valAx>
        <c:axId val="102797312"/>
        <c:scaling>
          <c:orientation val="minMax"/>
        </c:scaling>
        <c:axPos val="b"/>
        <c:numFmt formatCode="yyyy/mm/dd" sourceLinked="1"/>
        <c:tickLblPos val="nextTo"/>
        <c:crossAx val="102798848"/>
        <c:crosses val="autoZero"/>
        <c:crossBetween val="midCat"/>
      </c:valAx>
      <c:valAx>
        <c:axId val="102798848"/>
        <c:scaling>
          <c:orientation val="minMax"/>
        </c:scaling>
        <c:axPos val="l"/>
        <c:majorGridlines/>
        <c:numFmt formatCode="_-* #,##0_-;\-* #,##0_-;_-* &quot;-&quot;_-;_-@_-" sourceLinked="1"/>
        <c:tickLblPos val="nextTo"/>
        <c:crossAx val="102797312"/>
        <c:crosses val="autoZero"/>
        <c:crossBetween val="midCat"/>
      </c:valAx>
    </c:plotArea>
    <c:legend>
      <c:legendPos val="r"/>
      <c:layout>
        <c:manualLayout>
          <c:xMode val="edge"/>
          <c:yMode val="edge"/>
          <c:x val="0.92606702315294309"/>
          <c:y val="0.39056470352365158"/>
          <c:w val="5.2599792827346885E-2"/>
          <c:h val="0.20740113917866088"/>
        </c:manualLayout>
      </c:layout>
    </c:legend>
    <c:plotVisOnly val="1"/>
  </c:chart>
  <c:externalData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lrMapOvr bg1="lt1" tx1="dk1" bg2="lt2" tx2="dk2" accent1="accent1" accent2="accent2" accent3="accent3" accent4="accent4" accent5="accent5" accent6="accent6" hlink="hlink" folHlink="folHlink"/>
  <c:chart>
    <c:plotArea>
      <c:layout/>
      <c:scatterChart>
        <c:scatterStyle val="lineMarker"/>
        <c:ser>
          <c:idx val="0"/>
          <c:order val="0"/>
          <c:tx>
            <c:v>실적</c:v>
          </c:tx>
          <c:spPr>
            <a:ln w="28575">
              <a:noFill/>
            </a:ln>
          </c:spPr>
          <c:marker>
            <c:symbol val="diamond"/>
            <c:size val="6"/>
          </c:marker>
          <c:xVal>
            <c:numRef>
              <c:f>Cass_Can_Daily!$A$941:$A$1561</c:f>
              <c:numCache>
                <c:formatCode>yyyy/mm/dd</c:formatCode>
                <c:ptCount val="621"/>
                <c:pt idx="0">
                  <c:v>41275</c:v>
                </c:pt>
                <c:pt idx="1">
                  <c:v>41276</c:v>
                </c:pt>
                <c:pt idx="2">
                  <c:v>41277</c:v>
                </c:pt>
                <c:pt idx="3">
                  <c:v>41278</c:v>
                </c:pt>
                <c:pt idx="4">
                  <c:v>41279</c:v>
                </c:pt>
                <c:pt idx="5">
                  <c:v>41281</c:v>
                </c:pt>
                <c:pt idx="6">
                  <c:v>41282</c:v>
                </c:pt>
                <c:pt idx="7">
                  <c:v>41283</c:v>
                </c:pt>
                <c:pt idx="8">
                  <c:v>41284</c:v>
                </c:pt>
                <c:pt idx="9">
                  <c:v>41285</c:v>
                </c:pt>
                <c:pt idx="10">
                  <c:v>41286</c:v>
                </c:pt>
                <c:pt idx="11">
                  <c:v>41288</c:v>
                </c:pt>
                <c:pt idx="12">
                  <c:v>41289</c:v>
                </c:pt>
                <c:pt idx="13">
                  <c:v>41290</c:v>
                </c:pt>
                <c:pt idx="14">
                  <c:v>41291</c:v>
                </c:pt>
                <c:pt idx="15">
                  <c:v>41292</c:v>
                </c:pt>
                <c:pt idx="16">
                  <c:v>41293</c:v>
                </c:pt>
                <c:pt idx="17">
                  <c:v>41295</c:v>
                </c:pt>
                <c:pt idx="18">
                  <c:v>41296</c:v>
                </c:pt>
                <c:pt idx="19">
                  <c:v>41297</c:v>
                </c:pt>
                <c:pt idx="20">
                  <c:v>41298</c:v>
                </c:pt>
                <c:pt idx="21">
                  <c:v>41299</c:v>
                </c:pt>
                <c:pt idx="22">
                  <c:v>41300</c:v>
                </c:pt>
                <c:pt idx="23">
                  <c:v>41302</c:v>
                </c:pt>
                <c:pt idx="24">
                  <c:v>41303</c:v>
                </c:pt>
                <c:pt idx="25">
                  <c:v>41304</c:v>
                </c:pt>
                <c:pt idx="26">
                  <c:v>41305</c:v>
                </c:pt>
                <c:pt idx="27">
                  <c:v>41306</c:v>
                </c:pt>
                <c:pt idx="28">
                  <c:v>41307</c:v>
                </c:pt>
                <c:pt idx="29">
                  <c:v>41309</c:v>
                </c:pt>
                <c:pt idx="30">
                  <c:v>41310</c:v>
                </c:pt>
                <c:pt idx="31">
                  <c:v>41311</c:v>
                </c:pt>
                <c:pt idx="32">
                  <c:v>41312</c:v>
                </c:pt>
                <c:pt idx="33">
                  <c:v>41313</c:v>
                </c:pt>
                <c:pt idx="34">
                  <c:v>41314</c:v>
                </c:pt>
                <c:pt idx="35">
                  <c:v>41316</c:v>
                </c:pt>
                <c:pt idx="36">
                  <c:v>41317</c:v>
                </c:pt>
                <c:pt idx="37">
                  <c:v>41318</c:v>
                </c:pt>
                <c:pt idx="38">
                  <c:v>41319</c:v>
                </c:pt>
                <c:pt idx="39">
                  <c:v>41320</c:v>
                </c:pt>
                <c:pt idx="40">
                  <c:v>41321</c:v>
                </c:pt>
                <c:pt idx="41">
                  <c:v>41323</c:v>
                </c:pt>
                <c:pt idx="42">
                  <c:v>41324</c:v>
                </c:pt>
                <c:pt idx="43">
                  <c:v>41325</c:v>
                </c:pt>
                <c:pt idx="44">
                  <c:v>41326</c:v>
                </c:pt>
                <c:pt idx="45">
                  <c:v>41327</c:v>
                </c:pt>
                <c:pt idx="46">
                  <c:v>41328</c:v>
                </c:pt>
                <c:pt idx="47">
                  <c:v>41330</c:v>
                </c:pt>
                <c:pt idx="48">
                  <c:v>41331</c:v>
                </c:pt>
                <c:pt idx="49">
                  <c:v>41332</c:v>
                </c:pt>
                <c:pt idx="50">
                  <c:v>41333</c:v>
                </c:pt>
                <c:pt idx="51">
                  <c:v>41334</c:v>
                </c:pt>
                <c:pt idx="52">
                  <c:v>41335</c:v>
                </c:pt>
                <c:pt idx="53">
                  <c:v>41337</c:v>
                </c:pt>
                <c:pt idx="54">
                  <c:v>41338</c:v>
                </c:pt>
                <c:pt idx="55">
                  <c:v>41339</c:v>
                </c:pt>
                <c:pt idx="56">
                  <c:v>41340</c:v>
                </c:pt>
                <c:pt idx="57">
                  <c:v>41341</c:v>
                </c:pt>
                <c:pt idx="58">
                  <c:v>41342</c:v>
                </c:pt>
                <c:pt idx="59">
                  <c:v>41344</c:v>
                </c:pt>
                <c:pt idx="60">
                  <c:v>41345</c:v>
                </c:pt>
                <c:pt idx="61">
                  <c:v>41346</c:v>
                </c:pt>
                <c:pt idx="62">
                  <c:v>41347</c:v>
                </c:pt>
                <c:pt idx="63">
                  <c:v>41348</c:v>
                </c:pt>
                <c:pt idx="64">
                  <c:v>41349</c:v>
                </c:pt>
                <c:pt idx="65">
                  <c:v>41351</c:v>
                </c:pt>
                <c:pt idx="66">
                  <c:v>41352</c:v>
                </c:pt>
                <c:pt idx="67">
                  <c:v>41353</c:v>
                </c:pt>
                <c:pt idx="68">
                  <c:v>41354</c:v>
                </c:pt>
                <c:pt idx="69">
                  <c:v>41355</c:v>
                </c:pt>
                <c:pt idx="70">
                  <c:v>41356</c:v>
                </c:pt>
                <c:pt idx="71">
                  <c:v>41358</c:v>
                </c:pt>
                <c:pt idx="72">
                  <c:v>41359</c:v>
                </c:pt>
                <c:pt idx="73">
                  <c:v>41360</c:v>
                </c:pt>
                <c:pt idx="74">
                  <c:v>41361</c:v>
                </c:pt>
                <c:pt idx="75">
                  <c:v>41362</c:v>
                </c:pt>
                <c:pt idx="76">
                  <c:v>41363</c:v>
                </c:pt>
                <c:pt idx="77">
                  <c:v>41365</c:v>
                </c:pt>
                <c:pt idx="78">
                  <c:v>41366</c:v>
                </c:pt>
                <c:pt idx="79">
                  <c:v>41367</c:v>
                </c:pt>
                <c:pt idx="80">
                  <c:v>41368</c:v>
                </c:pt>
                <c:pt idx="81">
                  <c:v>41369</c:v>
                </c:pt>
                <c:pt idx="82">
                  <c:v>41370</c:v>
                </c:pt>
                <c:pt idx="83">
                  <c:v>41372</c:v>
                </c:pt>
                <c:pt idx="84">
                  <c:v>41373</c:v>
                </c:pt>
                <c:pt idx="85">
                  <c:v>41374</c:v>
                </c:pt>
                <c:pt idx="86">
                  <c:v>41375</c:v>
                </c:pt>
                <c:pt idx="87">
                  <c:v>41376</c:v>
                </c:pt>
                <c:pt idx="88">
                  <c:v>41377</c:v>
                </c:pt>
                <c:pt idx="89">
                  <c:v>41379</c:v>
                </c:pt>
                <c:pt idx="90">
                  <c:v>41380</c:v>
                </c:pt>
                <c:pt idx="91">
                  <c:v>41381</c:v>
                </c:pt>
                <c:pt idx="92">
                  <c:v>41382</c:v>
                </c:pt>
                <c:pt idx="93">
                  <c:v>41383</c:v>
                </c:pt>
                <c:pt idx="94">
                  <c:v>41384</c:v>
                </c:pt>
                <c:pt idx="95">
                  <c:v>41386</c:v>
                </c:pt>
                <c:pt idx="96">
                  <c:v>41387</c:v>
                </c:pt>
                <c:pt idx="97">
                  <c:v>41388</c:v>
                </c:pt>
                <c:pt idx="98">
                  <c:v>41389</c:v>
                </c:pt>
                <c:pt idx="99">
                  <c:v>41390</c:v>
                </c:pt>
                <c:pt idx="100">
                  <c:v>41391</c:v>
                </c:pt>
                <c:pt idx="101">
                  <c:v>41393</c:v>
                </c:pt>
                <c:pt idx="102">
                  <c:v>41394</c:v>
                </c:pt>
                <c:pt idx="103">
                  <c:v>41395</c:v>
                </c:pt>
                <c:pt idx="104">
                  <c:v>41396</c:v>
                </c:pt>
                <c:pt idx="105">
                  <c:v>41397</c:v>
                </c:pt>
                <c:pt idx="106">
                  <c:v>41398</c:v>
                </c:pt>
                <c:pt idx="107">
                  <c:v>41400</c:v>
                </c:pt>
                <c:pt idx="108">
                  <c:v>41401</c:v>
                </c:pt>
                <c:pt idx="109">
                  <c:v>41402</c:v>
                </c:pt>
                <c:pt idx="110">
                  <c:v>41403</c:v>
                </c:pt>
                <c:pt idx="111">
                  <c:v>41404</c:v>
                </c:pt>
                <c:pt idx="112">
                  <c:v>41405</c:v>
                </c:pt>
                <c:pt idx="113">
                  <c:v>41407</c:v>
                </c:pt>
                <c:pt idx="114">
                  <c:v>41408</c:v>
                </c:pt>
                <c:pt idx="115">
                  <c:v>41409</c:v>
                </c:pt>
                <c:pt idx="116">
                  <c:v>41410</c:v>
                </c:pt>
                <c:pt idx="117">
                  <c:v>41411</c:v>
                </c:pt>
                <c:pt idx="118">
                  <c:v>41412</c:v>
                </c:pt>
                <c:pt idx="119">
                  <c:v>41414</c:v>
                </c:pt>
                <c:pt idx="120">
                  <c:v>41415</c:v>
                </c:pt>
                <c:pt idx="121">
                  <c:v>41416</c:v>
                </c:pt>
                <c:pt idx="122">
                  <c:v>41417</c:v>
                </c:pt>
                <c:pt idx="123">
                  <c:v>41418</c:v>
                </c:pt>
                <c:pt idx="124">
                  <c:v>41419</c:v>
                </c:pt>
                <c:pt idx="125">
                  <c:v>41421</c:v>
                </c:pt>
                <c:pt idx="126">
                  <c:v>41422</c:v>
                </c:pt>
                <c:pt idx="127">
                  <c:v>41423</c:v>
                </c:pt>
                <c:pt idx="128">
                  <c:v>41424</c:v>
                </c:pt>
                <c:pt idx="129">
                  <c:v>41425</c:v>
                </c:pt>
                <c:pt idx="130">
                  <c:v>41426</c:v>
                </c:pt>
                <c:pt idx="131">
                  <c:v>41428</c:v>
                </c:pt>
                <c:pt idx="132">
                  <c:v>41429</c:v>
                </c:pt>
                <c:pt idx="133">
                  <c:v>41430</c:v>
                </c:pt>
                <c:pt idx="134">
                  <c:v>41431</c:v>
                </c:pt>
                <c:pt idx="135">
                  <c:v>41432</c:v>
                </c:pt>
                <c:pt idx="136">
                  <c:v>41433</c:v>
                </c:pt>
                <c:pt idx="137">
                  <c:v>41435</c:v>
                </c:pt>
                <c:pt idx="138">
                  <c:v>41436</c:v>
                </c:pt>
                <c:pt idx="139">
                  <c:v>41437</c:v>
                </c:pt>
                <c:pt idx="140">
                  <c:v>41438</c:v>
                </c:pt>
                <c:pt idx="141">
                  <c:v>41439</c:v>
                </c:pt>
                <c:pt idx="142">
                  <c:v>41440</c:v>
                </c:pt>
                <c:pt idx="143">
                  <c:v>41442</c:v>
                </c:pt>
                <c:pt idx="144">
                  <c:v>41443</c:v>
                </c:pt>
                <c:pt idx="145">
                  <c:v>41444</c:v>
                </c:pt>
                <c:pt idx="146">
                  <c:v>41445</c:v>
                </c:pt>
                <c:pt idx="147">
                  <c:v>41446</c:v>
                </c:pt>
                <c:pt idx="148">
                  <c:v>41447</c:v>
                </c:pt>
                <c:pt idx="149">
                  <c:v>41449</c:v>
                </c:pt>
                <c:pt idx="150">
                  <c:v>41450</c:v>
                </c:pt>
                <c:pt idx="151">
                  <c:v>41451</c:v>
                </c:pt>
                <c:pt idx="152">
                  <c:v>41452</c:v>
                </c:pt>
                <c:pt idx="153">
                  <c:v>41453</c:v>
                </c:pt>
                <c:pt idx="154">
                  <c:v>41454</c:v>
                </c:pt>
                <c:pt idx="155">
                  <c:v>41456</c:v>
                </c:pt>
                <c:pt idx="156">
                  <c:v>41457</c:v>
                </c:pt>
                <c:pt idx="157">
                  <c:v>41458</c:v>
                </c:pt>
                <c:pt idx="158">
                  <c:v>41459</c:v>
                </c:pt>
                <c:pt idx="159">
                  <c:v>41460</c:v>
                </c:pt>
                <c:pt idx="160">
                  <c:v>41461</c:v>
                </c:pt>
                <c:pt idx="161">
                  <c:v>41463</c:v>
                </c:pt>
                <c:pt idx="162">
                  <c:v>41464</c:v>
                </c:pt>
                <c:pt idx="163">
                  <c:v>41465</c:v>
                </c:pt>
                <c:pt idx="164">
                  <c:v>41466</c:v>
                </c:pt>
                <c:pt idx="165">
                  <c:v>41467</c:v>
                </c:pt>
                <c:pt idx="166">
                  <c:v>41468</c:v>
                </c:pt>
                <c:pt idx="167">
                  <c:v>41470</c:v>
                </c:pt>
                <c:pt idx="168">
                  <c:v>41471</c:v>
                </c:pt>
                <c:pt idx="169">
                  <c:v>41472</c:v>
                </c:pt>
                <c:pt idx="170">
                  <c:v>41473</c:v>
                </c:pt>
                <c:pt idx="171">
                  <c:v>41474</c:v>
                </c:pt>
                <c:pt idx="172">
                  <c:v>41475</c:v>
                </c:pt>
                <c:pt idx="173">
                  <c:v>41477</c:v>
                </c:pt>
                <c:pt idx="174">
                  <c:v>41478</c:v>
                </c:pt>
                <c:pt idx="175">
                  <c:v>41479</c:v>
                </c:pt>
                <c:pt idx="176">
                  <c:v>41480</c:v>
                </c:pt>
                <c:pt idx="177">
                  <c:v>41481</c:v>
                </c:pt>
                <c:pt idx="178">
                  <c:v>41482</c:v>
                </c:pt>
                <c:pt idx="179">
                  <c:v>41484</c:v>
                </c:pt>
                <c:pt idx="180">
                  <c:v>41485</c:v>
                </c:pt>
                <c:pt idx="181">
                  <c:v>41486</c:v>
                </c:pt>
                <c:pt idx="182">
                  <c:v>41487</c:v>
                </c:pt>
                <c:pt idx="183">
                  <c:v>41488</c:v>
                </c:pt>
                <c:pt idx="184">
                  <c:v>41489</c:v>
                </c:pt>
                <c:pt idx="185">
                  <c:v>41491</c:v>
                </c:pt>
                <c:pt idx="186">
                  <c:v>41492</c:v>
                </c:pt>
                <c:pt idx="187">
                  <c:v>41493</c:v>
                </c:pt>
                <c:pt idx="188">
                  <c:v>41494</c:v>
                </c:pt>
                <c:pt idx="189">
                  <c:v>41495</c:v>
                </c:pt>
                <c:pt idx="190">
                  <c:v>41496</c:v>
                </c:pt>
                <c:pt idx="191">
                  <c:v>41498</c:v>
                </c:pt>
                <c:pt idx="192">
                  <c:v>41499</c:v>
                </c:pt>
                <c:pt idx="193">
                  <c:v>41500</c:v>
                </c:pt>
                <c:pt idx="194">
                  <c:v>41501</c:v>
                </c:pt>
                <c:pt idx="195">
                  <c:v>41502</c:v>
                </c:pt>
                <c:pt idx="196">
                  <c:v>41503</c:v>
                </c:pt>
                <c:pt idx="197">
                  <c:v>41505</c:v>
                </c:pt>
                <c:pt idx="198">
                  <c:v>41506</c:v>
                </c:pt>
                <c:pt idx="199">
                  <c:v>41507</c:v>
                </c:pt>
                <c:pt idx="200">
                  <c:v>41508</c:v>
                </c:pt>
                <c:pt idx="201">
                  <c:v>41509</c:v>
                </c:pt>
                <c:pt idx="202">
                  <c:v>41510</c:v>
                </c:pt>
                <c:pt idx="203">
                  <c:v>41512</c:v>
                </c:pt>
                <c:pt idx="204">
                  <c:v>41513</c:v>
                </c:pt>
                <c:pt idx="205">
                  <c:v>41514</c:v>
                </c:pt>
                <c:pt idx="206">
                  <c:v>41515</c:v>
                </c:pt>
                <c:pt idx="207">
                  <c:v>41516</c:v>
                </c:pt>
                <c:pt idx="208">
                  <c:v>41517</c:v>
                </c:pt>
                <c:pt idx="209">
                  <c:v>41519</c:v>
                </c:pt>
                <c:pt idx="210">
                  <c:v>41520</c:v>
                </c:pt>
                <c:pt idx="211">
                  <c:v>41521</c:v>
                </c:pt>
                <c:pt idx="212">
                  <c:v>41522</c:v>
                </c:pt>
                <c:pt idx="213">
                  <c:v>41523</c:v>
                </c:pt>
                <c:pt idx="214">
                  <c:v>41524</c:v>
                </c:pt>
                <c:pt idx="215">
                  <c:v>41526</c:v>
                </c:pt>
                <c:pt idx="216">
                  <c:v>41527</c:v>
                </c:pt>
                <c:pt idx="217">
                  <c:v>41528</c:v>
                </c:pt>
                <c:pt idx="218">
                  <c:v>41529</c:v>
                </c:pt>
                <c:pt idx="219">
                  <c:v>41530</c:v>
                </c:pt>
                <c:pt idx="220">
                  <c:v>41531</c:v>
                </c:pt>
                <c:pt idx="221">
                  <c:v>41533</c:v>
                </c:pt>
                <c:pt idx="222">
                  <c:v>41534</c:v>
                </c:pt>
                <c:pt idx="223">
                  <c:v>41535</c:v>
                </c:pt>
                <c:pt idx="224">
                  <c:v>41536</c:v>
                </c:pt>
                <c:pt idx="225">
                  <c:v>41537</c:v>
                </c:pt>
                <c:pt idx="226">
                  <c:v>41538</c:v>
                </c:pt>
                <c:pt idx="227">
                  <c:v>41540</c:v>
                </c:pt>
                <c:pt idx="228">
                  <c:v>41541</c:v>
                </c:pt>
                <c:pt idx="229">
                  <c:v>41542</c:v>
                </c:pt>
                <c:pt idx="230">
                  <c:v>41543</c:v>
                </c:pt>
                <c:pt idx="231">
                  <c:v>41544</c:v>
                </c:pt>
                <c:pt idx="232">
                  <c:v>41545</c:v>
                </c:pt>
                <c:pt idx="233">
                  <c:v>41547</c:v>
                </c:pt>
                <c:pt idx="234">
                  <c:v>41548</c:v>
                </c:pt>
                <c:pt idx="235">
                  <c:v>41549</c:v>
                </c:pt>
                <c:pt idx="236">
                  <c:v>41550</c:v>
                </c:pt>
                <c:pt idx="237">
                  <c:v>41551</c:v>
                </c:pt>
                <c:pt idx="238">
                  <c:v>41552</c:v>
                </c:pt>
                <c:pt idx="239">
                  <c:v>41554</c:v>
                </c:pt>
                <c:pt idx="240">
                  <c:v>41555</c:v>
                </c:pt>
                <c:pt idx="241">
                  <c:v>41556</c:v>
                </c:pt>
                <c:pt idx="242">
                  <c:v>41557</c:v>
                </c:pt>
                <c:pt idx="243">
                  <c:v>41558</c:v>
                </c:pt>
                <c:pt idx="244">
                  <c:v>41559</c:v>
                </c:pt>
                <c:pt idx="245">
                  <c:v>41561</c:v>
                </c:pt>
                <c:pt idx="246">
                  <c:v>41562</c:v>
                </c:pt>
                <c:pt idx="247">
                  <c:v>41563</c:v>
                </c:pt>
                <c:pt idx="248">
                  <c:v>41564</c:v>
                </c:pt>
                <c:pt idx="249">
                  <c:v>41565</c:v>
                </c:pt>
                <c:pt idx="250">
                  <c:v>41566</c:v>
                </c:pt>
                <c:pt idx="251">
                  <c:v>41568</c:v>
                </c:pt>
                <c:pt idx="252">
                  <c:v>41569</c:v>
                </c:pt>
                <c:pt idx="253">
                  <c:v>41570</c:v>
                </c:pt>
                <c:pt idx="254">
                  <c:v>41571</c:v>
                </c:pt>
                <c:pt idx="255">
                  <c:v>41572</c:v>
                </c:pt>
                <c:pt idx="256">
                  <c:v>41573</c:v>
                </c:pt>
                <c:pt idx="257">
                  <c:v>41575</c:v>
                </c:pt>
                <c:pt idx="258">
                  <c:v>41576</c:v>
                </c:pt>
                <c:pt idx="259">
                  <c:v>41577</c:v>
                </c:pt>
                <c:pt idx="260">
                  <c:v>41578</c:v>
                </c:pt>
                <c:pt idx="261">
                  <c:v>41579</c:v>
                </c:pt>
                <c:pt idx="262">
                  <c:v>41580</c:v>
                </c:pt>
                <c:pt idx="263">
                  <c:v>41582</c:v>
                </c:pt>
                <c:pt idx="264">
                  <c:v>41583</c:v>
                </c:pt>
                <c:pt idx="265">
                  <c:v>41584</c:v>
                </c:pt>
                <c:pt idx="266">
                  <c:v>41585</c:v>
                </c:pt>
                <c:pt idx="267">
                  <c:v>41586</c:v>
                </c:pt>
                <c:pt idx="268">
                  <c:v>41587</c:v>
                </c:pt>
                <c:pt idx="269">
                  <c:v>41589</c:v>
                </c:pt>
                <c:pt idx="270">
                  <c:v>41590</c:v>
                </c:pt>
                <c:pt idx="271">
                  <c:v>41591</c:v>
                </c:pt>
                <c:pt idx="272">
                  <c:v>41592</c:v>
                </c:pt>
                <c:pt idx="273">
                  <c:v>41593</c:v>
                </c:pt>
                <c:pt idx="274">
                  <c:v>41594</c:v>
                </c:pt>
                <c:pt idx="275">
                  <c:v>41596</c:v>
                </c:pt>
                <c:pt idx="276">
                  <c:v>41597</c:v>
                </c:pt>
                <c:pt idx="277">
                  <c:v>41598</c:v>
                </c:pt>
                <c:pt idx="278">
                  <c:v>41599</c:v>
                </c:pt>
                <c:pt idx="279">
                  <c:v>41600</c:v>
                </c:pt>
                <c:pt idx="280">
                  <c:v>41601</c:v>
                </c:pt>
                <c:pt idx="281">
                  <c:v>41603</c:v>
                </c:pt>
                <c:pt idx="282">
                  <c:v>41604</c:v>
                </c:pt>
                <c:pt idx="283">
                  <c:v>41605</c:v>
                </c:pt>
                <c:pt idx="284">
                  <c:v>41606</c:v>
                </c:pt>
                <c:pt idx="285">
                  <c:v>41607</c:v>
                </c:pt>
                <c:pt idx="286">
                  <c:v>41608</c:v>
                </c:pt>
                <c:pt idx="287">
                  <c:v>41610</c:v>
                </c:pt>
                <c:pt idx="288">
                  <c:v>41611</c:v>
                </c:pt>
                <c:pt idx="289">
                  <c:v>41612</c:v>
                </c:pt>
                <c:pt idx="290">
                  <c:v>41613</c:v>
                </c:pt>
                <c:pt idx="291">
                  <c:v>41614</c:v>
                </c:pt>
                <c:pt idx="292">
                  <c:v>41615</c:v>
                </c:pt>
                <c:pt idx="293">
                  <c:v>41617</c:v>
                </c:pt>
                <c:pt idx="294">
                  <c:v>41618</c:v>
                </c:pt>
                <c:pt idx="295">
                  <c:v>41619</c:v>
                </c:pt>
                <c:pt idx="296">
                  <c:v>41620</c:v>
                </c:pt>
                <c:pt idx="297">
                  <c:v>41621</c:v>
                </c:pt>
                <c:pt idx="298">
                  <c:v>41622</c:v>
                </c:pt>
                <c:pt idx="299">
                  <c:v>41624</c:v>
                </c:pt>
                <c:pt idx="300">
                  <c:v>41625</c:v>
                </c:pt>
                <c:pt idx="301">
                  <c:v>41626</c:v>
                </c:pt>
                <c:pt idx="302">
                  <c:v>41627</c:v>
                </c:pt>
                <c:pt idx="303">
                  <c:v>41628</c:v>
                </c:pt>
                <c:pt idx="304">
                  <c:v>41629</c:v>
                </c:pt>
                <c:pt idx="305">
                  <c:v>41631</c:v>
                </c:pt>
                <c:pt idx="306">
                  <c:v>41632</c:v>
                </c:pt>
                <c:pt idx="307">
                  <c:v>41633</c:v>
                </c:pt>
                <c:pt idx="308">
                  <c:v>41634</c:v>
                </c:pt>
                <c:pt idx="309">
                  <c:v>41635</c:v>
                </c:pt>
                <c:pt idx="310">
                  <c:v>41636</c:v>
                </c:pt>
                <c:pt idx="311">
                  <c:v>41638</c:v>
                </c:pt>
                <c:pt idx="312">
                  <c:v>41639</c:v>
                </c:pt>
                <c:pt idx="313">
                  <c:v>41640</c:v>
                </c:pt>
                <c:pt idx="314">
                  <c:v>41641</c:v>
                </c:pt>
                <c:pt idx="315">
                  <c:v>41642</c:v>
                </c:pt>
                <c:pt idx="316">
                  <c:v>41643</c:v>
                </c:pt>
                <c:pt idx="317">
                  <c:v>41645</c:v>
                </c:pt>
                <c:pt idx="318">
                  <c:v>41646</c:v>
                </c:pt>
                <c:pt idx="319">
                  <c:v>41647</c:v>
                </c:pt>
                <c:pt idx="320">
                  <c:v>41648</c:v>
                </c:pt>
                <c:pt idx="321">
                  <c:v>41649</c:v>
                </c:pt>
                <c:pt idx="322">
                  <c:v>41650</c:v>
                </c:pt>
                <c:pt idx="323">
                  <c:v>41652</c:v>
                </c:pt>
                <c:pt idx="324">
                  <c:v>41653</c:v>
                </c:pt>
                <c:pt idx="325">
                  <c:v>41654</c:v>
                </c:pt>
                <c:pt idx="326">
                  <c:v>41655</c:v>
                </c:pt>
                <c:pt idx="327">
                  <c:v>41656</c:v>
                </c:pt>
                <c:pt idx="328">
                  <c:v>41657</c:v>
                </c:pt>
                <c:pt idx="329">
                  <c:v>41659</c:v>
                </c:pt>
                <c:pt idx="330">
                  <c:v>41660</c:v>
                </c:pt>
                <c:pt idx="331">
                  <c:v>41661</c:v>
                </c:pt>
                <c:pt idx="332">
                  <c:v>41662</c:v>
                </c:pt>
                <c:pt idx="333">
                  <c:v>41663</c:v>
                </c:pt>
                <c:pt idx="334">
                  <c:v>41664</c:v>
                </c:pt>
                <c:pt idx="335">
                  <c:v>41666</c:v>
                </c:pt>
                <c:pt idx="336">
                  <c:v>41667</c:v>
                </c:pt>
                <c:pt idx="337">
                  <c:v>41668</c:v>
                </c:pt>
                <c:pt idx="338">
                  <c:v>41669</c:v>
                </c:pt>
                <c:pt idx="339">
                  <c:v>41670</c:v>
                </c:pt>
                <c:pt idx="340">
                  <c:v>41671</c:v>
                </c:pt>
                <c:pt idx="341">
                  <c:v>41673</c:v>
                </c:pt>
                <c:pt idx="342">
                  <c:v>41674</c:v>
                </c:pt>
                <c:pt idx="343">
                  <c:v>41675</c:v>
                </c:pt>
                <c:pt idx="344">
                  <c:v>41676</c:v>
                </c:pt>
                <c:pt idx="345">
                  <c:v>41677</c:v>
                </c:pt>
                <c:pt idx="346">
                  <c:v>41678</c:v>
                </c:pt>
                <c:pt idx="347">
                  <c:v>41680</c:v>
                </c:pt>
                <c:pt idx="348">
                  <c:v>41681</c:v>
                </c:pt>
                <c:pt idx="349">
                  <c:v>41682</c:v>
                </c:pt>
                <c:pt idx="350">
                  <c:v>41683</c:v>
                </c:pt>
                <c:pt idx="351">
                  <c:v>41684</c:v>
                </c:pt>
                <c:pt idx="352">
                  <c:v>41685</c:v>
                </c:pt>
                <c:pt idx="353">
                  <c:v>41687</c:v>
                </c:pt>
                <c:pt idx="354">
                  <c:v>41688</c:v>
                </c:pt>
                <c:pt idx="355">
                  <c:v>41689</c:v>
                </c:pt>
                <c:pt idx="356">
                  <c:v>41690</c:v>
                </c:pt>
                <c:pt idx="357">
                  <c:v>41691</c:v>
                </c:pt>
                <c:pt idx="358">
                  <c:v>41692</c:v>
                </c:pt>
                <c:pt idx="359">
                  <c:v>41694</c:v>
                </c:pt>
                <c:pt idx="360">
                  <c:v>41695</c:v>
                </c:pt>
                <c:pt idx="361">
                  <c:v>41696</c:v>
                </c:pt>
                <c:pt idx="362">
                  <c:v>41697</c:v>
                </c:pt>
                <c:pt idx="363">
                  <c:v>41698</c:v>
                </c:pt>
                <c:pt idx="364">
                  <c:v>41699</c:v>
                </c:pt>
                <c:pt idx="365">
                  <c:v>41701</c:v>
                </c:pt>
                <c:pt idx="366">
                  <c:v>41702</c:v>
                </c:pt>
                <c:pt idx="367">
                  <c:v>41703</c:v>
                </c:pt>
                <c:pt idx="368">
                  <c:v>41704</c:v>
                </c:pt>
                <c:pt idx="369">
                  <c:v>41705</c:v>
                </c:pt>
                <c:pt idx="370">
                  <c:v>41706</c:v>
                </c:pt>
                <c:pt idx="371">
                  <c:v>41708</c:v>
                </c:pt>
                <c:pt idx="372">
                  <c:v>41709</c:v>
                </c:pt>
                <c:pt idx="373">
                  <c:v>41710</c:v>
                </c:pt>
                <c:pt idx="374">
                  <c:v>41711</c:v>
                </c:pt>
                <c:pt idx="375">
                  <c:v>41712</c:v>
                </c:pt>
                <c:pt idx="376">
                  <c:v>41713</c:v>
                </c:pt>
                <c:pt idx="377">
                  <c:v>41715</c:v>
                </c:pt>
                <c:pt idx="378">
                  <c:v>41716</c:v>
                </c:pt>
                <c:pt idx="379">
                  <c:v>41717</c:v>
                </c:pt>
                <c:pt idx="380">
                  <c:v>41718</c:v>
                </c:pt>
                <c:pt idx="381">
                  <c:v>41719</c:v>
                </c:pt>
                <c:pt idx="382">
                  <c:v>41720</c:v>
                </c:pt>
                <c:pt idx="383">
                  <c:v>41722</c:v>
                </c:pt>
                <c:pt idx="384">
                  <c:v>41723</c:v>
                </c:pt>
                <c:pt idx="385">
                  <c:v>41724</c:v>
                </c:pt>
                <c:pt idx="386">
                  <c:v>41725</c:v>
                </c:pt>
                <c:pt idx="387">
                  <c:v>41726</c:v>
                </c:pt>
                <c:pt idx="388">
                  <c:v>41727</c:v>
                </c:pt>
                <c:pt idx="389">
                  <c:v>41729</c:v>
                </c:pt>
                <c:pt idx="390">
                  <c:v>41730</c:v>
                </c:pt>
                <c:pt idx="391">
                  <c:v>41731</c:v>
                </c:pt>
                <c:pt idx="392">
                  <c:v>41732</c:v>
                </c:pt>
                <c:pt idx="393">
                  <c:v>41733</c:v>
                </c:pt>
                <c:pt idx="394">
                  <c:v>41734</c:v>
                </c:pt>
                <c:pt idx="395">
                  <c:v>41736</c:v>
                </c:pt>
                <c:pt idx="396">
                  <c:v>41737</c:v>
                </c:pt>
                <c:pt idx="397">
                  <c:v>41738</c:v>
                </c:pt>
                <c:pt idx="398">
                  <c:v>41739</c:v>
                </c:pt>
                <c:pt idx="399">
                  <c:v>41740</c:v>
                </c:pt>
                <c:pt idx="400">
                  <c:v>41741</c:v>
                </c:pt>
                <c:pt idx="401">
                  <c:v>41743</c:v>
                </c:pt>
                <c:pt idx="402">
                  <c:v>41744</c:v>
                </c:pt>
                <c:pt idx="403">
                  <c:v>41745</c:v>
                </c:pt>
                <c:pt idx="404">
                  <c:v>41746</c:v>
                </c:pt>
                <c:pt idx="405">
                  <c:v>41747</c:v>
                </c:pt>
                <c:pt idx="406">
                  <c:v>41748</c:v>
                </c:pt>
                <c:pt idx="407">
                  <c:v>41750</c:v>
                </c:pt>
                <c:pt idx="408">
                  <c:v>41751</c:v>
                </c:pt>
                <c:pt idx="409">
                  <c:v>41752</c:v>
                </c:pt>
                <c:pt idx="410">
                  <c:v>41753</c:v>
                </c:pt>
                <c:pt idx="411">
                  <c:v>41754</c:v>
                </c:pt>
                <c:pt idx="412">
                  <c:v>41755</c:v>
                </c:pt>
                <c:pt idx="413">
                  <c:v>41757</c:v>
                </c:pt>
                <c:pt idx="414">
                  <c:v>41758</c:v>
                </c:pt>
                <c:pt idx="415">
                  <c:v>41759</c:v>
                </c:pt>
                <c:pt idx="416">
                  <c:v>41760</c:v>
                </c:pt>
                <c:pt idx="417">
                  <c:v>41761</c:v>
                </c:pt>
                <c:pt idx="418">
                  <c:v>41762</c:v>
                </c:pt>
                <c:pt idx="419">
                  <c:v>41764</c:v>
                </c:pt>
                <c:pt idx="420">
                  <c:v>41765</c:v>
                </c:pt>
                <c:pt idx="421">
                  <c:v>41766</c:v>
                </c:pt>
                <c:pt idx="422">
                  <c:v>41767</c:v>
                </c:pt>
                <c:pt idx="423">
                  <c:v>41768</c:v>
                </c:pt>
                <c:pt idx="424">
                  <c:v>41769</c:v>
                </c:pt>
                <c:pt idx="425">
                  <c:v>41771</c:v>
                </c:pt>
                <c:pt idx="426">
                  <c:v>41772</c:v>
                </c:pt>
                <c:pt idx="427">
                  <c:v>41773</c:v>
                </c:pt>
                <c:pt idx="428">
                  <c:v>41774</c:v>
                </c:pt>
                <c:pt idx="429">
                  <c:v>41775</c:v>
                </c:pt>
                <c:pt idx="430">
                  <c:v>41776</c:v>
                </c:pt>
                <c:pt idx="431">
                  <c:v>41778</c:v>
                </c:pt>
                <c:pt idx="432">
                  <c:v>41779</c:v>
                </c:pt>
                <c:pt idx="433">
                  <c:v>41780</c:v>
                </c:pt>
                <c:pt idx="434">
                  <c:v>41781</c:v>
                </c:pt>
                <c:pt idx="435">
                  <c:v>41782</c:v>
                </c:pt>
                <c:pt idx="436">
                  <c:v>41783</c:v>
                </c:pt>
                <c:pt idx="437">
                  <c:v>41785</c:v>
                </c:pt>
                <c:pt idx="438">
                  <c:v>41786</c:v>
                </c:pt>
                <c:pt idx="439">
                  <c:v>41787</c:v>
                </c:pt>
                <c:pt idx="440">
                  <c:v>41788</c:v>
                </c:pt>
                <c:pt idx="441">
                  <c:v>41789</c:v>
                </c:pt>
                <c:pt idx="442">
                  <c:v>41790</c:v>
                </c:pt>
                <c:pt idx="443">
                  <c:v>41792</c:v>
                </c:pt>
                <c:pt idx="444">
                  <c:v>41793</c:v>
                </c:pt>
                <c:pt idx="445">
                  <c:v>41794</c:v>
                </c:pt>
                <c:pt idx="446">
                  <c:v>41795</c:v>
                </c:pt>
                <c:pt idx="447">
                  <c:v>41796</c:v>
                </c:pt>
                <c:pt idx="448">
                  <c:v>41797</c:v>
                </c:pt>
                <c:pt idx="449">
                  <c:v>41799</c:v>
                </c:pt>
                <c:pt idx="450">
                  <c:v>41800</c:v>
                </c:pt>
                <c:pt idx="451">
                  <c:v>41801</c:v>
                </c:pt>
                <c:pt idx="452">
                  <c:v>41802</c:v>
                </c:pt>
                <c:pt idx="453">
                  <c:v>41803</c:v>
                </c:pt>
                <c:pt idx="454">
                  <c:v>41804</c:v>
                </c:pt>
                <c:pt idx="455">
                  <c:v>41806</c:v>
                </c:pt>
                <c:pt idx="456">
                  <c:v>41807</c:v>
                </c:pt>
                <c:pt idx="457">
                  <c:v>41808</c:v>
                </c:pt>
                <c:pt idx="458">
                  <c:v>41809</c:v>
                </c:pt>
                <c:pt idx="459">
                  <c:v>41810</c:v>
                </c:pt>
                <c:pt idx="460">
                  <c:v>41811</c:v>
                </c:pt>
                <c:pt idx="461">
                  <c:v>41813</c:v>
                </c:pt>
                <c:pt idx="462">
                  <c:v>41814</c:v>
                </c:pt>
                <c:pt idx="463">
                  <c:v>41815</c:v>
                </c:pt>
                <c:pt idx="464">
                  <c:v>41816</c:v>
                </c:pt>
                <c:pt idx="465">
                  <c:v>41817</c:v>
                </c:pt>
                <c:pt idx="466">
                  <c:v>41818</c:v>
                </c:pt>
                <c:pt idx="467">
                  <c:v>41820</c:v>
                </c:pt>
                <c:pt idx="468">
                  <c:v>41821</c:v>
                </c:pt>
                <c:pt idx="469">
                  <c:v>41822</c:v>
                </c:pt>
                <c:pt idx="470">
                  <c:v>41823</c:v>
                </c:pt>
                <c:pt idx="471">
                  <c:v>41824</c:v>
                </c:pt>
                <c:pt idx="472">
                  <c:v>41825</c:v>
                </c:pt>
                <c:pt idx="473">
                  <c:v>41827</c:v>
                </c:pt>
                <c:pt idx="474">
                  <c:v>41828</c:v>
                </c:pt>
                <c:pt idx="475">
                  <c:v>41829</c:v>
                </c:pt>
                <c:pt idx="476">
                  <c:v>41830</c:v>
                </c:pt>
                <c:pt idx="477">
                  <c:v>41831</c:v>
                </c:pt>
                <c:pt idx="478">
                  <c:v>41832</c:v>
                </c:pt>
                <c:pt idx="479">
                  <c:v>41834</c:v>
                </c:pt>
                <c:pt idx="480">
                  <c:v>41835</c:v>
                </c:pt>
                <c:pt idx="481">
                  <c:v>41836</c:v>
                </c:pt>
                <c:pt idx="482">
                  <c:v>41837</c:v>
                </c:pt>
                <c:pt idx="483">
                  <c:v>41838</c:v>
                </c:pt>
                <c:pt idx="484">
                  <c:v>41839</c:v>
                </c:pt>
                <c:pt idx="485">
                  <c:v>41841</c:v>
                </c:pt>
                <c:pt idx="486">
                  <c:v>41842</c:v>
                </c:pt>
                <c:pt idx="487">
                  <c:v>41843</c:v>
                </c:pt>
                <c:pt idx="488">
                  <c:v>41844</c:v>
                </c:pt>
                <c:pt idx="489">
                  <c:v>41845</c:v>
                </c:pt>
                <c:pt idx="490">
                  <c:v>41846</c:v>
                </c:pt>
                <c:pt idx="491">
                  <c:v>41848</c:v>
                </c:pt>
                <c:pt idx="492">
                  <c:v>41849</c:v>
                </c:pt>
                <c:pt idx="493">
                  <c:v>41850</c:v>
                </c:pt>
                <c:pt idx="494">
                  <c:v>41851</c:v>
                </c:pt>
                <c:pt idx="495">
                  <c:v>41852</c:v>
                </c:pt>
                <c:pt idx="496">
                  <c:v>41853</c:v>
                </c:pt>
                <c:pt idx="497">
                  <c:v>41855</c:v>
                </c:pt>
                <c:pt idx="498">
                  <c:v>41856</c:v>
                </c:pt>
                <c:pt idx="499">
                  <c:v>41857</c:v>
                </c:pt>
                <c:pt idx="500">
                  <c:v>41858</c:v>
                </c:pt>
                <c:pt idx="501">
                  <c:v>41859</c:v>
                </c:pt>
                <c:pt idx="502">
                  <c:v>41860</c:v>
                </c:pt>
                <c:pt idx="503">
                  <c:v>41862</c:v>
                </c:pt>
                <c:pt idx="504">
                  <c:v>41863</c:v>
                </c:pt>
                <c:pt idx="505">
                  <c:v>41864</c:v>
                </c:pt>
                <c:pt idx="506">
                  <c:v>41865</c:v>
                </c:pt>
                <c:pt idx="507">
                  <c:v>41866</c:v>
                </c:pt>
                <c:pt idx="508">
                  <c:v>41867</c:v>
                </c:pt>
                <c:pt idx="509">
                  <c:v>41869</c:v>
                </c:pt>
                <c:pt idx="510">
                  <c:v>41870</c:v>
                </c:pt>
                <c:pt idx="511">
                  <c:v>41871</c:v>
                </c:pt>
                <c:pt idx="512">
                  <c:v>41872</c:v>
                </c:pt>
                <c:pt idx="513">
                  <c:v>41873</c:v>
                </c:pt>
                <c:pt idx="514">
                  <c:v>41874</c:v>
                </c:pt>
                <c:pt idx="515">
                  <c:v>41876</c:v>
                </c:pt>
                <c:pt idx="516">
                  <c:v>41877</c:v>
                </c:pt>
                <c:pt idx="517">
                  <c:v>41878</c:v>
                </c:pt>
                <c:pt idx="518">
                  <c:v>41879</c:v>
                </c:pt>
                <c:pt idx="519">
                  <c:v>41880</c:v>
                </c:pt>
                <c:pt idx="520">
                  <c:v>41881</c:v>
                </c:pt>
                <c:pt idx="521">
                  <c:v>41883</c:v>
                </c:pt>
                <c:pt idx="522">
                  <c:v>41884</c:v>
                </c:pt>
                <c:pt idx="523">
                  <c:v>41885</c:v>
                </c:pt>
                <c:pt idx="524">
                  <c:v>41886</c:v>
                </c:pt>
                <c:pt idx="525">
                  <c:v>41887</c:v>
                </c:pt>
                <c:pt idx="526">
                  <c:v>41888</c:v>
                </c:pt>
                <c:pt idx="527">
                  <c:v>41890</c:v>
                </c:pt>
                <c:pt idx="528">
                  <c:v>41891</c:v>
                </c:pt>
                <c:pt idx="529">
                  <c:v>41892</c:v>
                </c:pt>
                <c:pt idx="530">
                  <c:v>41893</c:v>
                </c:pt>
                <c:pt idx="531">
                  <c:v>41894</c:v>
                </c:pt>
                <c:pt idx="532">
                  <c:v>41895</c:v>
                </c:pt>
                <c:pt idx="533">
                  <c:v>41897</c:v>
                </c:pt>
                <c:pt idx="534">
                  <c:v>41898</c:v>
                </c:pt>
                <c:pt idx="535">
                  <c:v>41899</c:v>
                </c:pt>
                <c:pt idx="536">
                  <c:v>41900</c:v>
                </c:pt>
                <c:pt idx="537">
                  <c:v>41901</c:v>
                </c:pt>
                <c:pt idx="538">
                  <c:v>41902</c:v>
                </c:pt>
                <c:pt idx="539">
                  <c:v>41904</c:v>
                </c:pt>
                <c:pt idx="540">
                  <c:v>41905</c:v>
                </c:pt>
                <c:pt idx="541">
                  <c:v>41906</c:v>
                </c:pt>
                <c:pt idx="542">
                  <c:v>41907</c:v>
                </c:pt>
                <c:pt idx="543">
                  <c:v>41908</c:v>
                </c:pt>
                <c:pt idx="544">
                  <c:v>41909</c:v>
                </c:pt>
                <c:pt idx="545">
                  <c:v>41911</c:v>
                </c:pt>
                <c:pt idx="546">
                  <c:v>41912</c:v>
                </c:pt>
                <c:pt idx="547">
                  <c:v>41913</c:v>
                </c:pt>
                <c:pt idx="548">
                  <c:v>41914</c:v>
                </c:pt>
                <c:pt idx="549">
                  <c:v>41915</c:v>
                </c:pt>
                <c:pt idx="550">
                  <c:v>41916</c:v>
                </c:pt>
                <c:pt idx="551">
                  <c:v>41918</c:v>
                </c:pt>
                <c:pt idx="552">
                  <c:v>41919</c:v>
                </c:pt>
                <c:pt idx="553">
                  <c:v>41920</c:v>
                </c:pt>
                <c:pt idx="554">
                  <c:v>41921</c:v>
                </c:pt>
                <c:pt idx="555">
                  <c:v>41922</c:v>
                </c:pt>
                <c:pt idx="556">
                  <c:v>41923</c:v>
                </c:pt>
                <c:pt idx="557">
                  <c:v>41925</c:v>
                </c:pt>
                <c:pt idx="558">
                  <c:v>41926</c:v>
                </c:pt>
                <c:pt idx="559">
                  <c:v>41927</c:v>
                </c:pt>
                <c:pt idx="560">
                  <c:v>41928</c:v>
                </c:pt>
                <c:pt idx="561">
                  <c:v>41929</c:v>
                </c:pt>
                <c:pt idx="562">
                  <c:v>41930</c:v>
                </c:pt>
                <c:pt idx="563">
                  <c:v>41932</c:v>
                </c:pt>
                <c:pt idx="564">
                  <c:v>41933</c:v>
                </c:pt>
                <c:pt idx="565">
                  <c:v>41934</c:v>
                </c:pt>
                <c:pt idx="566">
                  <c:v>41935</c:v>
                </c:pt>
                <c:pt idx="567">
                  <c:v>41936</c:v>
                </c:pt>
                <c:pt idx="568">
                  <c:v>41937</c:v>
                </c:pt>
                <c:pt idx="569">
                  <c:v>41939</c:v>
                </c:pt>
                <c:pt idx="570">
                  <c:v>41940</c:v>
                </c:pt>
                <c:pt idx="571">
                  <c:v>41941</c:v>
                </c:pt>
                <c:pt idx="572">
                  <c:v>41942</c:v>
                </c:pt>
                <c:pt idx="573">
                  <c:v>41943</c:v>
                </c:pt>
                <c:pt idx="574">
                  <c:v>41944</c:v>
                </c:pt>
                <c:pt idx="575">
                  <c:v>41946</c:v>
                </c:pt>
                <c:pt idx="576">
                  <c:v>41947</c:v>
                </c:pt>
                <c:pt idx="577">
                  <c:v>41948</c:v>
                </c:pt>
                <c:pt idx="578">
                  <c:v>41949</c:v>
                </c:pt>
                <c:pt idx="579">
                  <c:v>41950</c:v>
                </c:pt>
                <c:pt idx="580">
                  <c:v>41951</c:v>
                </c:pt>
                <c:pt idx="581">
                  <c:v>41953</c:v>
                </c:pt>
                <c:pt idx="582">
                  <c:v>41954</c:v>
                </c:pt>
                <c:pt idx="583">
                  <c:v>41955</c:v>
                </c:pt>
                <c:pt idx="584">
                  <c:v>41956</c:v>
                </c:pt>
                <c:pt idx="585">
                  <c:v>41957</c:v>
                </c:pt>
                <c:pt idx="586">
                  <c:v>41958</c:v>
                </c:pt>
                <c:pt idx="587">
                  <c:v>41960</c:v>
                </c:pt>
                <c:pt idx="588">
                  <c:v>41961</c:v>
                </c:pt>
                <c:pt idx="589">
                  <c:v>41962</c:v>
                </c:pt>
                <c:pt idx="590">
                  <c:v>41963</c:v>
                </c:pt>
                <c:pt idx="591">
                  <c:v>41964</c:v>
                </c:pt>
                <c:pt idx="592">
                  <c:v>41965</c:v>
                </c:pt>
                <c:pt idx="593">
                  <c:v>41967</c:v>
                </c:pt>
                <c:pt idx="594">
                  <c:v>41968</c:v>
                </c:pt>
                <c:pt idx="595">
                  <c:v>41969</c:v>
                </c:pt>
                <c:pt idx="596">
                  <c:v>41970</c:v>
                </c:pt>
                <c:pt idx="597">
                  <c:v>41971</c:v>
                </c:pt>
                <c:pt idx="598">
                  <c:v>41972</c:v>
                </c:pt>
                <c:pt idx="599">
                  <c:v>41974</c:v>
                </c:pt>
                <c:pt idx="600">
                  <c:v>41975</c:v>
                </c:pt>
                <c:pt idx="601">
                  <c:v>41976</c:v>
                </c:pt>
                <c:pt idx="602">
                  <c:v>41977</c:v>
                </c:pt>
                <c:pt idx="603">
                  <c:v>41978</c:v>
                </c:pt>
                <c:pt idx="604">
                  <c:v>41979</c:v>
                </c:pt>
                <c:pt idx="605">
                  <c:v>41981</c:v>
                </c:pt>
                <c:pt idx="606">
                  <c:v>41982</c:v>
                </c:pt>
                <c:pt idx="607">
                  <c:v>41983</c:v>
                </c:pt>
                <c:pt idx="608">
                  <c:v>41984</c:v>
                </c:pt>
                <c:pt idx="609">
                  <c:v>41985</c:v>
                </c:pt>
                <c:pt idx="610">
                  <c:v>41986</c:v>
                </c:pt>
                <c:pt idx="611">
                  <c:v>41988</c:v>
                </c:pt>
                <c:pt idx="612">
                  <c:v>41989</c:v>
                </c:pt>
                <c:pt idx="613">
                  <c:v>41990</c:v>
                </c:pt>
                <c:pt idx="614">
                  <c:v>41991</c:v>
                </c:pt>
                <c:pt idx="615">
                  <c:v>41992</c:v>
                </c:pt>
                <c:pt idx="616">
                  <c:v>41993</c:v>
                </c:pt>
                <c:pt idx="617">
                  <c:v>41995</c:v>
                </c:pt>
                <c:pt idx="618">
                  <c:v>41996</c:v>
                </c:pt>
                <c:pt idx="619">
                  <c:v>41997</c:v>
                </c:pt>
                <c:pt idx="620">
                  <c:v>41998</c:v>
                </c:pt>
              </c:numCache>
            </c:numRef>
          </c:xVal>
          <c:yVal>
            <c:numRef>
              <c:f>Cass_Can_Daily!$B$941:$B$1561</c:f>
              <c:numCache>
                <c:formatCode>_-* #,##0_-;\-* #,##0_-;_-* "-"_-;_-@_-</c:formatCode>
                <c:ptCount val="621"/>
                <c:pt idx="0">
                  <c:v>27061.68</c:v>
                </c:pt>
                <c:pt idx="1">
                  <c:v>85335.672000000006</c:v>
                </c:pt>
                <c:pt idx="2">
                  <c:v>68390.868000000002</c:v>
                </c:pt>
                <c:pt idx="3">
                  <c:v>61822.344000000012</c:v>
                </c:pt>
                <c:pt idx="4">
                  <c:v>14131.704000000009</c:v>
                </c:pt>
                <c:pt idx="5">
                  <c:v>51362.1</c:v>
                </c:pt>
                <c:pt idx="6">
                  <c:v>46361.196000000004</c:v>
                </c:pt>
                <c:pt idx="7">
                  <c:v>36783.023999999998</c:v>
                </c:pt>
                <c:pt idx="8">
                  <c:v>36000.54</c:v>
                </c:pt>
                <c:pt idx="9">
                  <c:v>57950.976000000002</c:v>
                </c:pt>
                <c:pt idx="10">
                  <c:v>12417.168</c:v>
                </c:pt>
                <c:pt idx="11">
                  <c:v>48276.671999999999</c:v>
                </c:pt>
                <c:pt idx="12">
                  <c:v>49094.58</c:v>
                </c:pt>
                <c:pt idx="13">
                  <c:v>37485.719999999994</c:v>
                </c:pt>
                <c:pt idx="14">
                  <c:v>44908.619999999995</c:v>
                </c:pt>
                <c:pt idx="15">
                  <c:v>47247.384000000013</c:v>
                </c:pt>
                <c:pt idx="16">
                  <c:v>13381.896000000001</c:v>
                </c:pt>
                <c:pt idx="17">
                  <c:v>48280.175999999999</c:v>
                </c:pt>
                <c:pt idx="18">
                  <c:v>44544.588000000003</c:v>
                </c:pt>
                <c:pt idx="19">
                  <c:v>41403.191999999995</c:v>
                </c:pt>
                <c:pt idx="20">
                  <c:v>48724.788</c:v>
                </c:pt>
                <c:pt idx="21">
                  <c:v>50773.68</c:v>
                </c:pt>
                <c:pt idx="22">
                  <c:v>11032.512000000002</c:v>
                </c:pt>
                <c:pt idx="23">
                  <c:v>47533.86</c:v>
                </c:pt>
                <c:pt idx="24">
                  <c:v>42678.671999999999</c:v>
                </c:pt>
                <c:pt idx="25">
                  <c:v>34105.152000000002</c:v>
                </c:pt>
                <c:pt idx="26">
                  <c:v>23513.448000000019</c:v>
                </c:pt>
                <c:pt idx="27">
                  <c:v>102286.848</c:v>
                </c:pt>
                <c:pt idx="28">
                  <c:v>35943.725999999995</c:v>
                </c:pt>
                <c:pt idx="29">
                  <c:v>71333.045999999988</c:v>
                </c:pt>
                <c:pt idx="30">
                  <c:v>80997.467999999979</c:v>
                </c:pt>
                <c:pt idx="31">
                  <c:v>88650.431999999972</c:v>
                </c:pt>
                <c:pt idx="32">
                  <c:v>93156.467999999979</c:v>
                </c:pt>
                <c:pt idx="33">
                  <c:v>57348.678</c:v>
                </c:pt>
                <c:pt idx="34">
                  <c:v>7900.26</c:v>
                </c:pt>
                <c:pt idx="36">
                  <c:v>38049.852000000035</c:v>
                </c:pt>
                <c:pt idx="37">
                  <c:v>40009.32</c:v>
                </c:pt>
                <c:pt idx="38">
                  <c:v>34660.788</c:v>
                </c:pt>
                <c:pt idx="39">
                  <c:v>37264.289999999994</c:v>
                </c:pt>
                <c:pt idx="40">
                  <c:v>10542.534000000009</c:v>
                </c:pt>
                <c:pt idx="41">
                  <c:v>40653.804000000011</c:v>
                </c:pt>
                <c:pt idx="42">
                  <c:v>38003.958000000013</c:v>
                </c:pt>
                <c:pt idx="43">
                  <c:v>30663.780000000017</c:v>
                </c:pt>
                <c:pt idx="44">
                  <c:v>48889.464</c:v>
                </c:pt>
                <c:pt idx="45">
                  <c:v>44731.182000000001</c:v>
                </c:pt>
                <c:pt idx="46">
                  <c:v>11911.464</c:v>
                </c:pt>
                <c:pt idx="47">
                  <c:v>48769.944000000003</c:v>
                </c:pt>
                <c:pt idx="48">
                  <c:v>47842.595999999998</c:v>
                </c:pt>
                <c:pt idx="49">
                  <c:v>33516.372000000003</c:v>
                </c:pt>
                <c:pt idx="50">
                  <c:v>22365.552</c:v>
                </c:pt>
                <c:pt idx="51">
                  <c:v>78903.263999999923</c:v>
                </c:pt>
                <c:pt idx="52">
                  <c:v>18353.83199999998</c:v>
                </c:pt>
                <c:pt idx="53">
                  <c:v>74785.919999999998</c:v>
                </c:pt>
                <c:pt idx="54">
                  <c:v>71403.120000000024</c:v>
                </c:pt>
                <c:pt idx="55">
                  <c:v>52064.316000000013</c:v>
                </c:pt>
                <c:pt idx="56">
                  <c:v>46216.619999999995</c:v>
                </c:pt>
                <c:pt idx="57">
                  <c:v>48407.484000000011</c:v>
                </c:pt>
                <c:pt idx="58">
                  <c:v>16128.59399999999</c:v>
                </c:pt>
                <c:pt idx="59">
                  <c:v>58453.523999999998</c:v>
                </c:pt>
                <c:pt idx="60">
                  <c:v>55053.101999999999</c:v>
                </c:pt>
                <c:pt idx="61">
                  <c:v>43030.133999999998</c:v>
                </c:pt>
                <c:pt idx="62">
                  <c:v>60806.088000000003</c:v>
                </c:pt>
                <c:pt idx="63">
                  <c:v>67105.620000000024</c:v>
                </c:pt>
                <c:pt idx="64">
                  <c:v>15992.634000000009</c:v>
                </c:pt>
                <c:pt idx="65">
                  <c:v>63427.836000000003</c:v>
                </c:pt>
                <c:pt idx="66">
                  <c:v>64040.898000000001</c:v>
                </c:pt>
                <c:pt idx="67">
                  <c:v>48266.544000000002</c:v>
                </c:pt>
                <c:pt idx="68">
                  <c:v>70582.649999999994</c:v>
                </c:pt>
                <c:pt idx="69">
                  <c:v>62712.743999999999</c:v>
                </c:pt>
                <c:pt idx="70">
                  <c:v>17722.2</c:v>
                </c:pt>
                <c:pt idx="71">
                  <c:v>63218.135999999999</c:v>
                </c:pt>
                <c:pt idx="72">
                  <c:v>55396.152000000002</c:v>
                </c:pt>
                <c:pt idx="73">
                  <c:v>47926.925999999999</c:v>
                </c:pt>
                <c:pt idx="74">
                  <c:v>47905.745999999999</c:v>
                </c:pt>
                <c:pt idx="75">
                  <c:v>35785.259999999995</c:v>
                </c:pt>
                <c:pt idx="76">
                  <c:v>9181.2900000000009</c:v>
                </c:pt>
                <c:pt idx="77">
                  <c:v>88957.05</c:v>
                </c:pt>
                <c:pt idx="78">
                  <c:v>74285.357999999993</c:v>
                </c:pt>
                <c:pt idx="79">
                  <c:v>66327.672000000006</c:v>
                </c:pt>
                <c:pt idx="80">
                  <c:v>65059.793999999994</c:v>
                </c:pt>
                <c:pt idx="81">
                  <c:v>61754.802000000003</c:v>
                </c:pt>
                <c:pt idx="82">
                  <c:v>12126.19199999999</c:v>
                </c:pt>
                <c:pt idx="83">
                  <c:v>50031.167999999998</c:v>
                </c:pt>
                <c:pt idx="84">
                  <c:v>48178.404000000002</c:v>
                </c:pt>
                <c:pt idx="85">
                  <c:v>38841.023999999998</c:v>
                </c:pt>
                <c:pt idx="86">
                  <c:v>68617.152000000002</c:v>
                </c:pt>
                <c:pt idx="87">
                  <c:v>76433.694000000003</c:v>
                </c:pt>
                <c:pt idx="88">
                  <c:v>13400.867999999984</c:v>
                </c:pt>
                <c:pt idx="89">
                  <c:v>65010.810000000012</c:v>
                </c:pt>
                <c:pt idx="90">
                  <c:v>60616.11</c:v>
                </c:pt>
                <c:pt idx="91">
                  <c:v>47532.384000000013</c:v>
                </c:pt>
                <c:pt idx="92">
                  <c:v>69295.656000000003</c:v>
                </c:pt>
                <c:pt idx="93">
                  <c:v>66548.694000000003</c:v>
                </c:pt>
                <c:pt idx="94">
                  <c:v>16304.016</c:v>
                </c:pt>
                <c:pt idx="95">
                  <c:v>75754.931999999972</c:v>
                </c:pt>
                <c:pt idx="96">
                  <c:v>60084.93</c:v>
                </c:pt>
                <c:pt idx="97">
                  <c:v>51826.560000000005</c:v>
                </c:pt>
                <c:pt idx="98">
                  <c:v>51828.18</c:v>
                </c:pt>
                <c:pt idx="99">
                  <c:v>63897.984000000011</c:v>
                </c:pt>
                <c:pt idx="100">
                  <c:v>15492.462</c:v>
                </c:pt>
                <c:pt idx="101">
                  <c:v>52807.248</c:v>
                </c:pt>
                <c:pt idx="102">
                  <c:v>25630.788000000019</c:v>
                </c:pt>
                <c:pt idx="103">
                  <c:v>106214.60400000002</c:v>
                </c:pt>
                <c:pt idx="104">
                  <c:v>92599.721999999994</c:v>
                </c:pt>
                <c:pt idx="105">
                  <c:v>87226.872000000003</c:v>
                </c:pt>
                <c:pt idx="106">
                  <c:v>23948.675999999996</c:v>
                </c:pt>
                <c:pt idx="107">
                  <c:v>66705.947999999931</c:v>
                </c:pt>
                <c:pt idx="108">
                  <c:v>74075.97</c:v>
                </c:pt>
                <c:pt idx="109">
                  <c:v>62207.07</c:v>
                </c:pt>
                <c:pt idx="110">
                  <c:v>79754.652000000002</c:v>
                </c:pt>
                <c:pt idx="111">
                  <c:v>69703.644</c:v>
                </c:pt>
                <c:pt idx="112">
                  <c:v>14795.07</c:v>
                </c:pt>
                <c:pt idx="113">
                  <c:v>100062.32399999999</c:v>
                </c:pt>
                <c:pt idx="114">
                  <c:v>88200.81</c:v>
                </c:pt>
                <c:pt idx="115">
                  <c:v>83803.391999999993</c:v>
                </c:pt>
                <c:pt idx="116">
                  <c:v>97578.114000000001</c:v>
                </c:pt>
                <c:pt idx="117">
                  <c:v>44109.912000000011</c:v>
                </c:pt>
                <c:pt idx="118">
                  <c:v>18585.57</c:v>
                </c:pt>
                <c:pt idx="119">
                  <c:v>90012.288</c:v>
                </c:pt>
                <c:pt idx="120">
                  <c:v>105236.64599999999</c:v>
                </c:pt>
                <c:pt idx="121">
                  <c:v>70409.831999999995</c:v>
                </c:pt>
                <c:pt idx="122">
                  <c:v>70864.638000000006</c:v>
                </c:pt>
                <c:pt idx="123">
                  <c:v>80475.34199999999</c:v>
                </c:pt>
                <c:pt idx="124">
                  <c:v>16938.137999999992</c:v>
                </c:pt>
                <c:pt idx="125">
                  <c:v>75084.641999999993</c:v>
                </c:pt>
                <c:pt idx="126">
                  <c:v>65529.54</c:v>
                </c:pt>
                <c:pt idx="127">
                  <c:v>58543.446000000011</c:v>
                </c:pt>
                <c:pt idx="128">
                  <c:v>64603.314000000013</c:v>
                </c:pt>
                <c:pt idx="129">
                  <c:v>44860.974000000002</c:v>
                </c:pt>
                <c:pt idx="130">
                  <c:v>59672.91</c:v>
                </c:pt>
                <c:pt idx="131">
                  <c:v>123277.49400000001</c:v>
                </c:pt>
                <c:pt idx="132">
                  <c:v>115769.334</c:v>
                </c:pt>
                <c:pt idx="133">
                  <c:v>110608.85400000002</c:v>
                </c:pt>
                <c:pt idx="134">
                  <c:v>46625.862000000001</c:v>
                </c:pt>
                <c:pt idx="135">
                  <c:v>97367.25</c:v>
                </c:pt>
                <c:pt idx="136">
                  <c:v>34905.425999999999</c:v>
                </c:pt>
                <c:pt idx="137">
                  <c:v>100798.57799999999</c:v>
                </c:pt>
                <c:pt idx="138">
                  <c:v>123406.14</c:v>
                </c:pt>
                <c:pt idx="139">
                  <c:v>89356.925999999992</c:v>
                </c:pt>
                <c:pt idx="140">
                  <c:v>103302.94199999997</c:v>
                </c:pt>
                <c:pt idx="141">
                  <c:v>101929.8</c:v>
                </c:pt>
                <c:pt idx="142">
                  <c:v>30747.941999999999</c:v>
                </c:pt>
                <c:pt idx="143">
                  <c:v>97081.937999999922</c:v>
                </c:pt>
                <c:pt idx="144">
                  <c:v>75799.931999999972</c:v>
                </c:pt>
                <c:pt idx="145">
                  <c:v>80429.076000000001</c:v>
                </c:pt>
                <c:pt idx="146">
                  <c:v>81634.205999999991</c:v>
                </c:pt>
                <c:pt idx="147">
                  <c:v>105859.93799999997</c:v>
                </c:pt>
                <c:pt idx="148">
                  <c:v>24147.504000000001</c:v>
                </c:pt>
                <c:pt idx="149">
                  <c:v>99945.44399999993</c:v>
                </c:pt>
                <c:pt idx="150">
                  <c:v>82536.857999999993</c:v>
                </c:pt>
                <c:pt idx="151">
                  <c:v>68031.180000000022</c:v>
                </c:pt>
                <c:pt idx="152">
                  <c:v>73976.747999999978</c:v>
                </c:pt>
                <c:pt idx="153">
                  <c:v>71169.102000000014</c:v>
                </c:pt>
                <c:pt idx="154">
                  <c:v>18553.452000000001</c:v>
                </c:pt>
                <c:pt idx="155">
                  <c:v>136658.12399999998</c:v>
                </c:pt>
                <c:pt idx="156">
                  <c:v>103561.584</c:v>
                </c:pt>
                <c:pt idx="157">
                  <c:v>82676.327999999994</c:v>
                </c:pt>
                <c:pt idx="158">
                  <c:v>95082.431999999972</c:v>
                </c:pt>
                <c:pt idx="159">
                  <c:v>94689.323999999993</c:v>
                </c:pt>
                <c:pt idx="160">
                  <c:v>26855.309999999983</c:v>
                </c:pt>
                <c:pt idx="161">
                  <c:v>81669.551999999996</c:v>
                </c:pt>
                <c:pt idx="162">
                  <c:v>84400.38</c:v>
                </c:pt>
                <c:pt idx="163">
                  <c:v>65612.483999999968</c:v>
                </c:pt>
                <c:pt idx="164">
                  <c:v>103210.29</c:v>
                </c:pt>
                <c:pt idx="165">
                  <c:v>100676.12400000005</c:v>
                </c:pt>
                <c:pt idx="166">
                  <c:v>28188.63599999998</c:v>
                </c:pt>
                <c:pt idx="167">
                  <c:v>101587.95600000001</c:v>
                </c:pt>
                <c:pt idx="168">
                  <c:v>98944.92</c:v>
                </c:pt>
                <c:pt idx="169">
                  <c:v>87823.217999999979</c:v>
                </c:pt>
                <c:pt idx="170">
                  <c:v>94361.861999999994</c:v>
                </c:pt>
                <c:pt idx="171">
                  <c:v>99810.672000000006</c:v>
                </c:pt>
                <c:pt idx="172">
                  <c:v>30588.054</c:v>
                </c:pt>
                <c:pt idx="173">
                  <c:v>110236.71599999999</c:v>
                </c:pt>
                <c:pt idx="174">
                  <c:v>90354.636000000013</c:v>
                </c:pt>
                <c:pt idx="175">
                  <c:v>95708.82</c:v>
                </c:pt>
                <c:pt idx="176">
                  <c:v>102973.93199999999</c:v>
                </c:pt>
                <c:pt idx="177">
                  <c:v>113121.03599999999</c:v>
                </c:pt>
                <c:pt idx="178">
                  <c:v>28598.412</c:v>
                </c:pt>
                <c:pt idx="179">
                  <c:v>101527.5</c:v>
                </c:pt>
                <c:pt idx="180">
                  <c:v>116542.83</c:v>
                </c:pt>
                <c:pt idx="181">
                  <c:v>70135.055999999997</c:v>
                </c:pt>
                <c:pt idx="182">
                  <c:v>176969.75399999999</c:v>
                </c:pt>
                <c:pt idx="183">
                  <c:v>140757.39599999998</c:v>
                </c:pt>
                <c:pt idx="184">
                  <c:v>41071.368000000002</c:v>
                </c:pt>
                <c:pt idx="185">
                  <c:v>132294.522</c:v>
                </c:pt>
                <c:pt idx="186">
                  <c:v>115890.09</c:v>
                </c:pt>
                <c:pt idx="187">
                  <c:v>136189.11600000001</c:v>
                </c:pt>
                <c:pt idx="188">
                  <c:v>116730.74400000001</c:v>
                </c:pt>
                <c:pt idx="189">
                  <c:v>102275.7</c:v>
                </c:pt>
                <c:pt idx="190">
                  <c:v>31889.64</c:v>
                </c:pt>
                <c:pt idx="191">
                  <c:v>115535.076</c:v>
                </c:pt>
                <c:pt idx="192">
                  <c:v>123280.93199999999</c:v>
                </c:pt>
                <c:pt idx="193">
                  <c:v>110565.51599999999</c:v>
                </c:pt>
                <c:pt idx="194">
                  <c:v>56803.644</c:v>
                </c:pt>
                <c:pt idx="195">
                  <c:v>110081.58</c:v>
                </c:pt>
                <c:pt idx="196">
                  <c:v>38396.291999999994</c:v>
                </c:pt>
                <c:pt idx="197">
                  <c:v>109552.88400000002</c:v>
                </c:pt>
                <c:pt idx="198">
                  <c:v>104812.10400000002</c:v>
                </c:pt>
                <c:pt idx="199">
                  <c:v>97273.14</c:v>
                </c:pt>
                <c:pt idx="200">
                  <c:v>97957.187999999995</c:v>
                </c:pt>
                <c:pt idx="201">
                  <c:v>102443.568</c:v>
                </c:pt>
                <c:pt idx="202">
                  <c:v>29600.094000000001</c:v>
                </c:pt>
                <c:pt idx="203">
                  <c:v>96207.959999999992</c:v>
                </c:pt>
                <c:pt idx="204">
                  <c:v>93195.528000000006</c:v>
                </c:pt>
                <c:pt idx="205">
                  <c:v>82934.327999999994</c:v>
                </c:pt>
                <c:pt idx="206">
                  <c:v>73518.431999999972</c:v>
                </c:pt>
                <c:pt idx="207">
                  <c:v>66533.034</c:v>
                </c:pt>
                <c:pt idx="208">
                  <c:v>16924.596000000001</c:v>
                </c:pt>
                <c:pt idx="209">
                  <c:v>133177.674</c:v>
                </c:pt>
                <c:pt idx="210">
                  <c:v>110119.18799999999</c:v>
                </c:pt>
                <c:pt idx="211">
                  <c:v>96251.111999999994</c:v>
                </c:pt>
                <c:pt idx="212">
                  <c:v>92341.361999999994</c:v>
                </c:pt>
                <c:pt idx="213">
                  <c:v>96672.947999999931</c:v>
                </c:pt>
                <c:pt idx="214">
                  <c:v>26840.885999999999</c:v>
                </c:pt>
                <c:pt idx="215">
                  <c:v>95972.267999999938</c:v>
                </c:pt>
                <c:pt idx="216">
                  <c:v>102183.63</c:v>
                </c:pt>
                <c:pt idx="217">
                  <c:v>121106.868</c:v>
                </c:pt>
                <c:pt idx="218">
                  <c:v>138735.114</c:v>
                </c:pt>
                <c:pt idx="219">
                  <c:v>124425.70199999999</c:v>
                </c:pt>
                <c:pt idx="220">
                  <c:v>63194.574000000001</c:v>
                </c:pt>
                <c:pt idx="221">
                  <c:v>153915.258</c:v>
                </c:pt>
                <c:pt idx="222">
                  <c:v>130122.606</c:v>
                </c:pt>
                <c:pt idx="223">
                  <c:v>24404.454000000005</c:v>
                </c:pt>
                <c:pt idx="226">
                  <c:v>18419.364000000001</c:v>
                </c:pt>
                <c:pt idx="227">
                  <c:v>93177.311999999991</c:v>
                </c:pt>
                <c:pt idx="228">
                  <c:v>95201.267999999938</c:v>
                </c:pt>
                <c:pt idx="229">
                  <c:v>68957.561999999991</c:v>
                </c:pt>
                <c:pt idx="230">
                  <c:v>58541.621999999996</c:v>
                </c:pt>
                <c:pt idx="231">
                  <c:v>63170.729999999996</c:v>
                </c:pt>
                <c:pt idx="232">
                  <c:v>15769.602000000004</c:v>
                </c:pt>
                <c:pt idx="233">
                  <c:v>39211.686000000002</c:v>
                </c:pt>
                <c:pt idx="234">
                  <c:v>135576.91800000001</c:v>
                </c:pt>
                <c:pt idx="235">
                  <c:v>96446.963999999978</c:v>
                </c:pt>
                <c:pt idx="236">
                  <c:v>41081.034</c:v>
                </c:pt>
                <c:pt idx="237">
                  <c:v>99434.843999999968</c:v>
                </c:pt>
                <c:pt idx="238">
                  <c:v>25017.27</c:v>
                </c:pt>
                <c:pt idx="239">
                  <c:v>106150.92600000001</c:v>
                </c:pt>
                <c:pt idx="240">
                  <c:v>82217.285999999993</c:v>
                </c:pt>
                <c:pt idx="241">
                  <c:v>32609.928000000018</c:v>
                </c:pt>
                <c:pt idx="242">
                  <c:v>80539.247999999978</c:v>
                </c:pt>
                <c:pt idx="243">
                  <c:v>108273.162</c:v>
                </c:pt>
                <c:pt idx="244">
                  <c:v>20178.804</c:v>
                </c:pt>
                <c:pt idx="245">
                  <c:v>93226.907999999938</c:v>
                </c:pt>
                <c:pt idx="246">
                  <c:v>89007.251999999993</c:v>
                </c:pt>
                <c:pt idx="247">
                  <c:v>66078.144</c:v>
                </c:pt>
                <c:pt idx="248">
                  <c:v>77324.327999999994</c:v>
                </c:pt>
                <c:pt idx="249">
                  <c:v>70200</c:v>
                </c:pt>
                <c:pt idx="250">
                  <c:v>15103.248000000009</c:v>
                </c:pt>
                <c:pt idx="251">
                  <c:v>91461.636000000013</c:v>
                </c:pt>
                <c:pt idx="252">
                  <c:v>80997.126000000004</c:v>
                </c:pt>
                <c:pt idx="253">
                  <c:v>58467.396000000001</c:v>
                </c:pt>
                <c:pt idx="254">
                  <c:v>68610.515999999989</c:v>
                </c:pt>
                <c:pt idx="255">
                  <c:v>69157.308000000005</c:v>
                </c:pt>
                <c:pt idx="256">
                  <c:v>18725.081999999999</c:v>
                </c:pt>
                <c:pt idx="257">
                  <c:v>68589.70199999999</c:v>
                </c:pt>
                <c:pt idx="258">
                  <c:v>59651.508000000002</c:v>
                </c:pt>
                <c:pt idx="259">
                  <c:v>41454.923999999999</c:v>
                </c:pt>
                <c:pt idx="260">
                  <c:v>38807.364000000001</c:v>
                </c:pt>
                <c:pt idx="261">
                  <c:v>134128.30799999999</c:v>
                </c:pt>
                <c:pt idx="262">
                  <c:v>25596.486000000023</c:v>
                </c:pt>
                <c:pt idx="263">
                  <c:v>89311.278000000006</c:v>
                </c:pt>
                <c:pt idx="264">
                  <c:v>85487.315999999992</c:v>
                </c:pt>
                <c:pt idx="265">
                  <c:v>60838.92</c:v>
                </c:pt>
                <c:pt idx="266">
                  <c:v>63855.918000000012</c:v>
                </c:pt>
                <c:pt idx="267">
                  <c:v>72037.84199999999</c:v>
                </c:pt>
                <c:pt idx="268">
                  <c:v>16919.178</c:v>
                </c:pt>
                <c:pt idx="269">
                  <c:v>76246.457999999999</c:v>
                </c:pt>
                <c:pt idx="270">
                  <c:v>67633.728000000003</c:v>
                </c:pt>
                <c:pt idx="271">
                  <c:v>52156.5</c:v>
                </c:pt>
                <c:pt idx="272">
                  <c:v>56772.756000000001</c:v>
                </c:pt>
                <c:pt idx="273">
                  <c:v>69563.045999999988</c:v>
                </c:pt>
                <c:pt idx="274">
                  <c:v>19796.382000000001</c:v>
                </c:pt>
                <c:pt idx="275">
                  <c:v>76935.761999999988</c:v>
                </c:pt>
                <c:pt idx="276">
                  <c:v>66071.73599999999</c:v>
                </c:pt>
                <c:pt idx="277">
                  <c:v>51159.756000000001</c:v>
                </c:pt>
                <c:pt idx="278">
                  <c:v>59536.884000000013</c:v>
                </c:pt>
                <c:pt idx="279">
                  <c:v>65998.391999999993</c:v>
                </c:pt>
                <c:pt idx="280">
                  <c:v>16753.302</c:v>
                </c:pt>
                <c:pt idx="281">
                  <c:v>62190.75</c:v>
                </c:pt>
                <c:pt idx="282">
                  <c:v>61736.723999999995</c:v>
                </c:pt>
                <c:pt idx="283">
                  <c:v>47654.297999999995</c:v>
                </c:pt>
                <c:pt idx="284">
                  <c:v>52265.159999999996</c:v>
                </c:pt>
                <c:pt idx="285">
                  <c:v>41527.14</c:v>
                </c:pt>
                <c:pt idx="286">
                  <c:v>12353.93399999999</c:v>
                </c:pt>
                <c:pt idx="287">
                  <c:v>104303.772</c:v>
                </c:pt>
                <c:pt idx="288">
                  <c:v>81057.539999999994</c:v>
                </c:pt>
                <c:pt idx="289">
                  <c:v>59403.203999999998</c:v>
                </c:pt>
                <c:pt idx="290">
                  <c:v>65584.254000000001</c:v>
                </c:pt>
                <c:pt idx="291">
                  <c:v>63871.542000000001</c:v>
                </c:pt>
                <c:pt idx="292">
                  <c:v>11948.172</c:v>
                </c:pt>
                <c:pt idx="293">
                  <c:v>54361.14</c:v>
                </c:pt>
                <c:pt idx="294">
                  <c:v>64807.074000000001</c:v>
                </c:pt>
                <c:pt idx="295">
                  <c:v>68723.73</c:v>
                </c:pt>
                <c:pt idx="296">
                  <c:v>61984.548000000003</c:v>
                </c:pt>
                <c:pt idx="297">
                  <c:v>59826.462</c:v>
                </c:pt>
                <c:pt idx="298">
                  <c:v>19517.592000000001</c:v>
                </c:pt>
                <c:pt idx="299">
                  <c:v>65393.544000000002</c:v>
                </c:pt>
                <c:pt idx="300">
                  <c:v>65454.642</c:v>
                </c:pt>
                <c:pt idx="301">
                  <c:v>56136.425999999999</c:v>
                </c:pt>
                <c:pt idx="302">
                  <c:v>68274.065999999992</c:v>
                </c:pt>
                <c:pt idx="303">
                  <c:v>63335.034</c:v>
                </c:pt>
                <c:pt idx="304">
                  <c:v>21498.61799999998</c:v>
                </c:pt>
                <c:pt idx="305">
                  <c:v>93115.326000000001</c:v>
                </c:pt>
                <c:pt idx="306">
                  <c:v>95072.784</c:v>
                </c:pt>
                <c:pt idx="307">
                  <c:v>28085.982000000018</c:v>
                </c:pt>
                <c:pt idx="308">
                  <c:v>61779.227999999996</c:v>
                </c:pt>
                <c:pt idx="309">
                  <c:v>72384.047999999922</c:v>
                </c:pt>
                <c:pt idx="310">
                  <c:v>24704.1</c:v>
                </c:pt>
                <c:pt idx="311">
                  <c:v>64446.876000000011</c:v>
                </c:pt>
                <c:pt idx="312">
                  <c:v>39926.784</c:v>
                </c:pt>
                <c:pt idx="313">
                  <c:v>35422.356000000036</c:v>
                </c:pt>
                <c:pt idx="314">
                  <c:v>116761.17600000002</c:v>
                </c:pt>
                <c:pt idx="315">
                  <c:v>93149.34</c:v>
                </c:pt>
                <c:pt idx="316">
                  <c:v>18491.687999999998</c:v>
                </c:pt>
                <c:pt idx="317">
                  <c:v>78889.217999999979</c:v>
                </c:pt>
                <c:pt idx="318">
                  <c:v>72987.126000000004</c:v>
                </c:pt>
                <c:pt idx="319">
                  <c:v>53597.340000000011</c:v>
                </c:pt>
                <c:pt idx="320">
                  <c:v>54557.388000000035</c:v>
                </c:pt>
                <c:pt idx="321">
                  <c:v>51953.021999999997</c:v>
                </c:pt>
                <c:pt idx="322">
                  <c:v>17410.277999999998</c:v>
                </c:pt>
                <c:pt idx="323">
                  <c:v>70388.423999999999</c:v>
                </c:pt>
                <c:pt idx="324">
                  <c:v>63725.436000000002</c:v>
                </c:pt>
                <c:pt idx="325">
                  <c:v>52472.382000000012</c:v>
                </c:pt>
                <c:pt idx="326">
                  <c:v>62074.884000000013</c:v>
                </c:pt>
                <c:pt idx="327">
                  <c:v>66556.59599999999</c:v>
                </c:pt>
                <c:pt idx="328">
                  <c:v>18004.428000000018</c:v>
                </c:pt>
                <c:pt idx="329">
                  <c:v>65941.95</c:v>
                </c:pt>
                <c:pt idx="330">
                  <c:v>80999.357999999993</c:v>
                </c:pt>
                <c:pt idx="331">
                  <c:v>72992.7</c:v>
                </c:pt>
                <c:pt idx="332">
                  <c:v>84239.435999999972</c:v>
                </c:pt>
                <c:pt idx="333">
                  <c:v>91621.781999999992</c:v>
                </c:pt>
                <c:pt idx="334">
                  <c:v>37061.382000000012</c:v>
                </c:pt>
                <c:pt idx="335">
                  <c:v>91128.623999999996</c:v>
                </c:pt>
                <c:pt idx="336">
                  <c:v>105605.44199999997</c:v>
                </c:pt>
                <c:pt idx="337">
                  <c:v>72294.528000000006</c:v>
                </c:pt>
                <c:pt idx="338">
                  <c:v>10091.58</c:v>
                </c:pt>
                <c:pt idx="340">
                  <c:v>68.16</c:v>
                </c:pt>
                <c:pt idx="341">
                  <c:v>101286.234</c:v>
                </c:pt>
                <c:pt idx="342">
                  <c:v>53074.8</c:v>
                </c:pt>
                <c:pt idx="343">
                  <c:v>36745.11</c:v>
                </c:pt>
                <c:pt idx="344">
                  <c:v>39453.300000000003</c:v>
                </c:pt>
                <c:pt idx="345">
                  <c:v>42875.034</c:v>
                </c:pt>
                <c:pt idx="346">
                  <c:v>9773.9940000000006</c:v>
                </c:pt>
                <c:pt idx="347">
                  <c:v>38318.616000000002</c:v>
                </c:pt>
                <c:pt idx="348">
                  <c:v>57760.02</c:v>
                </c:pt>
                <c:pt idx="349">
                  <c:v>43077.3</c:v>
                </c:pt>
                <c:pt idx="350">
                  <c:v>49229.826000000001</c:v>
                </c:pt>
                <c:pt idx="351">
                  <c:v>68504.945999999938</c:v>
                </c:pt>
                <c:pt idx="352">
                  <c:v>10427.448</c:v>
                </c:pt>
                <c:pt idx="353">
                  <c:v>55709.646000000001</c:v>
                </c:pt>
                <c:pt idx="354">
                  <c:v>61824.966</c:v>
                </c:pt>
                <c:pt idx="355">
                  <c:v>49705.308000000012</c:v>
                </c:pt>
                <c:pt idx="356">
                  <c:v>57859.008000000002</c:v>
                </c:pt>
                <c:pt idx="357">
                  <c:v>70914.755999999994</c:v>
                </c:pt>
                <c:pt idx="358">
                  <c:v>12830.748000000009</c:v>
                </c:pt>
                <c:pt idx="359">
                  <c:v>62760.648000000001</c:v>
                </c:pt>
                <c:pt idx="360">
                  <c:v>65521.152000000002</c:v>
                </c:pt>
                <c:pt idx="361">
                  <c:v>59116.752</c:v>
                </c:pt>
                <c:pt idx="362">
                  <c:v>61229.148000000001</c:v>
                </c:pt>
                <c:pt idx="363">
                  <c:v>55766.016000000003</c:v>
                </c:pt>
                <c:pt idx="364">
                  <c:v>26080.920000000009</c:v>
                </c:pt>
                <c:pt idx="365">
                  <c:v>71204.652000000002</c:v>
                </c:pt>
                <c:pt idx="366">
                  <c:v>73973.664000000004</c:v>
                </c:pt>
                <c:pt idx="367">
                  <c:v>63663.468000000001</c:v>
                </c:pt>
                <c:pt idx="368">
                  <c:v>60834.263999999996</c:v>
                </c:pt>
                <c:pt idx="369">
                  <c:v>63631.248</c:v>
                </c:pt>
                <c:pt idx="370">
                  <c:v>19049.292000000001</c:v>
                </c:pt>
                <c:pt idx="371">
                  <c:v>54867.732000000004</c:v>
                </c:pt>
                <c:pt idx="372">
                  <c:v>70110.672000000006</c:v>
                </c:pt>
                <c:pt idx="373">
                  <c:v>55492.061999999998</c:v>
                </c:pt>
                <c:pt idx="374">
                  <c:v>64915.644</c:v>
                </c:pt>
                <c:pt idx="375">
                  <c:v>73875.311999999991</c:v>
                </c:pt>
                <c:pt idx="376">
                  <c:v>15722.29199999999</c:v>
                </c:pt>
                <c:pt idx="377">
                  <c:v>61198.103999999999</c:v>
                </c:pt>
                <c:pt idx="378">
                  <c:v>60493.344000000012</c:v>
                </c:pt>
                <c:pt idx="379">
                  <c:v>63819.462</c:v>
                </c:pt>
                <c:pt idx="380">
                  <c:v>68651.021999999997</c:v>
                </c:pt>
                <c:pt idx="381">
                  <c:v>85283.555999999997</c:v>
                </c:pt>
                <c:pt idx="382">
                  <c:v>12748.404</c:v>
                </c:pt>
                <c:pt idx="383">
                  <c:v>84351.276000000013</c:v>
                </c:pt>
                <c:pt idx="384">
                  <c:v>74931.876000000004</c:v>
                </c:pt>
                <c:pt idx="385">
                  <c:v>68370.899999999994</c:v>
                </c:pt>
                <c:pt idx="386">
                  <c:v>71680.92</c:v>
                </c:pt>
                <c:pt idx="387">
                  <c:v>71105.724000000002</c:v>
                </c:pt>
                <c:pt idx="388">
                  <c:v>15129.672</c:v>
                </c:pt>
                <c:pt idx="389">
                  <c:v>60194.567999999999</c:v>
                </c:pt>
                <c:pt idx="390">
                  <c:v>117950.66800000002</c:v>
                </c:pt>
                <c:pt idx="391">
                  <c:v>65532.205999999998</c:v>
                </c:pt>
                <c:pt idx="392">
                  <c:v>72728.294999999998</c:v>
                </c:pt>
                <c:pt idx="393">
                  <c:v>74188.409</c:v>
                </c:pt>
                <c:pt idx="394">
                  <c:v>20659.213</c:v>
                </c:pt>
                <c:pt idx="395">
                  <c:v>70158.289999999994</c:v>
                </c:pt>
                <c:pt idx="396">
                  <c:v>67131.5</c:v>
                </c:pt>
                <c:pt idx="397">
                  <c:v>64050.349000000002</c:v>
                </c:pt>
                <c:pt idx="398">
                  <c:v>49226.503000000004</c:v>
                </c:pt>
                <c:pt idx="399">
                  <c:v>84694.409</c:v>
                </c:pt>
                <c:pt idx="400">
                  <c:v>15779.357999999982</c:v>
                </c:pt>
                <c:pt idx="401">
                  <c:v>76794.251000000004</c:v>
                </c:pt>
                <c:pt idx="402">
                  <c:v>80239.430999999968</c:v>
                </c:pt>
                <c:pt idx="403">
                  <c:v>72427.076000000001</c:v>
                </c:pt>
                <c:pt idx="404">
                  <c:v>75695.102000000014</c:v>
                </c:pt>
                <c:pt idx="405">
                  <c:v>76658.786999999968</c:v>
                </c:pt>
                <c:pt idx="406">
                  <c:v>19082.063999999998</c:v>
                </c:pt>
                <c:pt idx="407">
                  <c:v>83215.678000000073</c:v>
                </c:pt>
                <c:pt idx="408">
                  <c:v>84310.207999999999</c:v>
                </c:pt>
                <c:pt idx="409">
                  <c:v>62389.526999999995</c:v>
                </c:pt>
                <c:pt idx="410">
                  <c:v>69783.282999999938</c:v>
                </c:pt>
                <c:pt idx="411">
                  <c:v>77420.23599999999</c:v>
                </c:pt>
                <c:pt idx="412">
                  <c:v>19797.3</c:v>
                </c:pt>
                <c:pt idx="413">
                  <c:v>78058.565999999992</c:v>
                </c:pt>
                <c:pt idx="414">
                  <c:v>80063.939999999988</c:v>
                </c:pt>
                <c:pt idx="415">
                  <c:v>41221.356000000036</c:v>
                </c:pt>
                <c:pt idx="416">
                  <c:v>138683.60800000001</c:v>
                </c:pt>
                <c:pt idx="417">
                  <c:v>152534.516</c:v>
                </c:pt>
                <c:pt idx="418">
                  <c:v>56128.057000000001</c:v>
                </c:pt>
                <c:pt idx="419">
                  <c:v>36430.813000000002</c:v>
                </c:pt>
                <c:pt idx="420">
                  <c:v>43600.200999999994</c:v>
                </c:pt>
                <c:pt idx="421">
                  <c:v>85404.031999999992</c:v>
                </c:pt>
                <c:pt idx="422">
                  <c:v>87928.024000000005</c:v>
                </c:pt>
                <c:pt idx="423">
                  <c:v>85165.66</c:v>
                </c:pt>
                <c:pt idx="424">
                  <c:v>24034.237000000001</c:v>
                </c:pt>
                <c:pt idx="425">
                  <c:v>95914.47</c:v>
                </c:pt>
                <c:pt idx="426">
                  <c:v>82015.876000000004</c:v>
                </c:pt>
                <c:pt idx="427">
                  <c:v>80397.702999999921</c:v>
                </c:pt>
                <c:pt idx="428">
                  <c:v>85891.899000000005</c:v>
                </c:pt>
                <c:pt idx="429">
                  <c:v>86887.261999999988</c:v>
                </c:pt>
                <c:pt idx="430">
                  <c:v>21187.525000000001</c:v>
                </c:pt>
                <c:pt idx="431">
                  <c:v>97073.259000000005</c:v>
                </c:pt>
                <c:pt idx="432">
                  <c:v>89264.788</c:v>
                </c:pt>
                <c:pt idx="433">
                  <c:v>102124.66</c:v>
                </c:pt>
                <c:pt idx="434">
                  <c:v>92142.304000000004</c:v>
                </c:pt>
                <c:pt idx="435">
                  <c:v>91177.1</c:v>
                </c:pt>
                <c:pt idx="436">
                  <c:v>24944.004000000001</c:v>
                </c:pt>
                <c:pt idx="437">
                  <c:v>102625.66099999999</c:v>
                </c:pt>
                <c:pt idx="438">
                  <c:v>97716.856</c:v>
                </c:pt>
                <c:pt idx="439">
                  <c:v>87679.25</c:v>
                </c:pt>
                <c:pt idx="440">
                  <c:v>98414.95199999999</c:v>
                </c:pt>
                <c:pt idx="441">
                  <c:v>87472.686000000002</c:v>
                </c:pt>
                <c:pt idx="442">
                  <c:v>19708.056</c:v>
                </c:pt>
                <c:pt idx="443">
                  <c:v>158692.60200000001</c:v>
                </c:pt>
                <c:pt idx="444">
                  <c:v>136420.008</c:v>
                </c:pt>
                <c:pt idx="445">
                  <c:v>93990.228000000003</c:v>
                </c:pt>
                <c:pt idx="446">
                  <c:v>128766.156</c:v>
                </c:pt>
                <c:pt idx="447">
                  <c:v>61738.763999999996</c:v>
                </c:pt>
                <c:pt idx="448">
                  <c:v>31239.768000000018</c:v>
                </c:pt>
                <c:pt idx="449">
                  <c:v>102409.04399999997</c:v>
                </c:pt>
                <c:pt idx="450">
                  <c:v>99710.975999999995</c:v>
                </c:pt>
                <c:pt idx="451">
                  <c:v>108031.908</c:v>
                </c:pt>
                <c:pt idx="452">
                  <c:v>95598.852000000014</c:v>
                </c:pt>
                <c:pt idx="453">
                  <c:v>109931.052</c:v>
                </c:pt>
                <c:pt idx="454">
                  <c:v>30446.903999999999</c:v>
                </c:pt>
                <c:pt idx="455">
                  <c:v>105842.16</c:v>
                </c:pt>
                <c:pt idx="456">
                  <c:v>108318.03599999999</c:v>
                </c:pt>
                <c:pt idx="457">
                  <c:v>95211.995999999999</c:v>
                </c:pt>
                <c:pt idx="458">
                  <c:v>95446.691999999995</c:v>
                </c:pt>
                <c:pt idx="459">
                  <c:v>92023.656000000003</c:v>
                </c:pt>
                <c:pt idx="460">
                  <c:v>25186.896000000001</c:v>
                </c:pt>
                <c:pt idx="461">
                  <c:v>96424.493999999948</c:v>
                </c:pt>
                <c:pt idx="462">
                  <c:v>108791.724</c:v>
                </c:pt>
                <c:pt idx="463">
                  <c:v>98952.528000000006</c:v>
                </c:pt>
                <c:pt idx="464">
                  <c:v>97523.95199999999</c:v>
                </c:pt>
                <c:pt idx="465">
                  <c:v>128297.71199999997</c:v>
                </c:pt>
                <c:pt idx="466">
                  <c:v>29702.13599999998</c:v>
                </c:pt>
                <c:pt idx="467">
                  <c:v>92224.308000000005</c:v>
                </c:pt>
                <c:pt idx="468">
                  <c:v>125380.83900000002</c:v>
                </c:pt>
                <c:pt idx="469">
                  <c:v>124245.76199999999</c:v>
                </c:pt>
                <c:pt idx="470">
                  <c:v>94496.331000000006</c:v>
                </c:pt>
                <c:pt idx="471">
                  <c:v>120853.622</c:v>
                </c:pt>
                <c:pt idx="472">
                  <c:v>16709.808000000001</c:v>
                </c:pt>
                <c:pt idx="473">
                  <c:v>85097.32</c:v>
                </c:pt>
                <c:pt idx="474">
                  <c:v>94272.819000000003</c:v>
                </c:pt>
                <c:pt idx="475">
                  <c:v>73641.997999999978</c:v>
                </c:pt>
                <c:pt idx="476">
                  <c:v>83002.072</c:v>
                </c:pt>
                <c:pt idx="477">
                  <c:v>123506.856</c:v>
                </c:pt>
                <c:pt idx="478">
                  <c:v>25989.804</c:v>
                </c:pt>
                <c:pt idx="479">
                  <c:v>115979.652</c:v>
                </c:pt>
                <c:pt idx="480">
                  <c:v>121454.784</c:v>
                </c:pt>
                <c:pt idx="481">
                  <c:v>99202.391999999993</c:v>
                </c:pt>
                <c:pt idx="482">
                  <c:v>99474.923999999999</c:v>
                </c:pt>
                <c:pt idx="483">
                  <c:v>108232.788</c:v>
                </c:pt>
                <c:pt idx="484">
                  <c:v>34369.103999999999</c:v>
                </c:pt>
                <c:pt idx="485">
                  <c:v>127401.46799999994</c:v>
                </c:pt>
                <c:pt idx="486">
                  <c:v>123198.91199999997</c:v>
                </c:pt>
                <c:pt idx="487">
                  <c:v>89651.891999999993</c:v>
                </c:pt>
                <c:pt idx="488">
                  <c:v>100061.988</c:v>
                </c:pt>
                <c:pt idx="489">
                  <c:v>111303.49199999997</c:v>
                </c:pt>
                <c:pt idx="490">
                  <c:v>30856.272000000001</c:v>
                </c:pt>
                <c:pt idx="491">
                  <c:v>104907.3</c:v>
                </c:pt>
                <c:pt idx="492">
                  <c:v>107507.868</c:v>
                </c:pt>
                <c:pt idx="493">
                  <c:v>113932.164</c:v>
                </c:pt>
                <c:pt idx="494">
                  <c:v>85805.868000000002</c:v>
                </c:pt>
                <c:pt idx="495">
                  <c:v>198618.45899999992</c:v>
                </c:pt>
                <c:pt idx="496">
                  <c:v>46974.229999999996</c:v>
                </c:pt>
                <c:pt idx="497">
                  <c:v>122963.548</c:v>
                </c:pt>
                <c:pt idx="498">
                  <c:v>111386.91899999997</c:v>
                </c:pt>
                <c:pt idx="499">
                  <c:v>91163.975999999995</c:v>
                </c:pt>
                <c:pt idx="500">
                  <c:v>102641.95600000001</c:v>
                </c:pt>
                <c:pt idx="501">
                  <c:v>97760.016999999978</c:v>
                </c:pt>
                <c:pt idx="502">
                  <c:v>19191.936000000005</c:v>
                </c:pt>
                <c:pt idx="503">
                  <c:v>100772.584</c:v>
                </c:pt>
                <c:pt idx="504">
                  <c:v>86884.156000000003</c:v>
                </c:pt>
                <c:pt idx="505">
                  <c:v>93527.689000000057</c:v>
                </c:pt>
                <c:pt idx="506">
                  <c:v>99513.481999999989</c:v>
                </c:pt>
                <c:pt idx="507">
                  <c:v>37833.648000000001</c:v>
                </c:pt>
                <c:pt idx="508">
                  <c:v>22618.524000000001</c:v>
                </c:pt>
                <c:pt idx="509">
                  <c:v>77476.803</c:v>
                </c:pt>
                <c:pt idx="510">
                  <c:v>88144.239000000001</c:v>
                </c:pt>
                <c:pt idx="511">
                  <c:v>65229.408000000003</c:v>
                </c:pt>
                <c:pt idx="512">
                  <c:v>79195.623999999996</c:v>
                </c:pt>
                <c:pt idx="513">
                  <c:v>92538.278999999995</c:v>
                </c:pt>
                <c:pt idx="514">
                  <c:v>16526.22</c:v>
                </c:pt>
                <c:pt idx="515">
                  <c:v>90499.225999999995</c:v>
                </c:pt>
                <c:pt idx="516">
                  <c:v>90943.70199999999</c:v>
                </c:pt>
                <c:pt idx="517">
                  <c:v>91624.928</c:v>
                </c:pt>
                <c:pt idx="518">
                  <c:v>97108.260999999999</c:v>
                </c:pt>
                <c:pt idx="519">
                  <c:v>90687.745999999999</c:v>
                </c:pt>
                <c:pt idx="520">
                  <c:v>24061.633000000002</c:v>
                </c:pt>
                <c:pt idx="521">
                  <c:v>137978.46</c:v>
                </c:pt>
                <c:pt idx="522">
                  <c:v>133625.67600000001</c:v>
                </c:pt>
                <c:pt idx="523">
                  <c:v>119058.768</c:v>
                </c:pt>
                <c:pt idx="524">
                  <c:v>143008.55399999995</c:v>
                </c:pt>
                <c:pt idx="525">
                  <c:v>132650.26800000001</c:v>
                </c:pt>
                <c:pt idx="526">
                  <c:v>66452.465999999971</c:v>
                </c:pt>
                <c:pt idx="529">
                  <c:v>34773.936000000002</c:v>
                </c:pt>
                <c:pt idx="530">
                  <c:v>57147.6</c:v>
                </c:pt>
                <c:pt idx="531">
                  <c:v>68321.831999999995</c:v>
                </c:pt>
                <c:pt idx="532">
                  <c:v>10812.126</c:v>
                </c:pt>
                <c:pt idx="533">
                  <c:v>64679.256000000001</c:v>
                </c:pt>
                <c:pt idx="534">
                  <c:v>74746.560000000012</c:v>
                </c:pt>
                <c:pt idx="535">
                  <c:v>69852.672000000006</c:v>
                </c:pt>
                <c:pt idx="536">
                  <c:v>61082.514000000003</c:v>
                </c:pt>
                <c:pt idx="537">
                  <c:v>67284.035999999993</c:v>
                </c:pt>
                <c:pt idx="538">
                  <c:v>16778.82</c:v>
                </c:pt>
                <c:pt idx="539">
                  <c:v>77080.38</c:v>
                </c:pt>
                <c:pt idx="540">
                  <c:v>88922.435999999972</c:v>
                </c:pt>
                <c:pt idx="541">
                  <c:v>54828.023999999998</c:v>
                </c:pt>
                <c:pt idx="542">
                  <c:v>66587.88</c:v>
                </c:pt>
                <c:pt idx="543">
                  <c:v>96349.224000000002</c:v>
                </c:pt>
                <c:pt idx="544">
                  <c:v>19308.168000000001</c:v>
                </c:pt>
                <c:pt idx="545">
                  <c:v>73170.743999999948</c:v>
                </c:pt>
                <c:pt idx="546">
                  <c:v>58012.404000000002</c:v>
                </c:pt>
                <c:pt idx="547">
                  <c:v>94592.3</c:v>
                </c:pt>
                <c:pt idx="548">
                  <c:v>81220.995999999999</c:v>
                </c:pt>
                <c:pt idx="549">
                  <c:v>44991.516000000003</c:v>
                </c:pt>
                <c:pt idx="550">
                  <c:v>20892.66</c:v>
                </c:pt>
                <c:pt idx="551">
                  <c:v>79249.396999999968</c:v>
                </c:pt>
                <c:pt idx="552">
                  <c:v>84668.869000000006</c:v>
                </c:pt>
                <c:pt idx="553">
                  <c:v>80546.222999999998</c:v>
                </c:pt>
                <c:pt idx="554">
                  <c:v>28231.716</c:v>
                </c:pt>
                <c:pt idx="555">
                  <c:v>75504.604999999996</c:v>
                </c:pt>
                <c:pt idx="556">
                  <c:v>17002.248000000018</c:v>
                </c:pt>
                <c:pt idx="557">
                  <c:v>74489.798999999999</c:v>
                </c:pt>
                <c:pt idx="558">
                  <c:v>85253.702999999921</c:v>
                </c:pt>
                <c:pt idx="559">
                  <c:v>69595.752999999968</c:v>
                </c:pt>
                <c:pt idx="560">
                  <c:v>66394.813999999998</c:v>
                </c:pt>
                <c:pt idx="561">
                  <c:v>77995.429000000004</c:v>
                </c:pt>
                <c:pt idx="562">
                  <c:v>19272.263999999999</c:v>
                </c:pt>
                <c:pt idx="563">
                  <c:v>65858.845000000001</c:v>
                </c:pt>
                <c:pt idx="564">
                  <c:v>82518</c:v>
                </c:pt>
                <c:pt idx="565">
                  <c:v>64786.456000000013</c:v>
                </c:pt>
                <c:pt idx="566">
                  <c:v>77621.091</c:v>
                </c:pt>
                <c:pt idx="567">
                  <c:v>81271.308999999994</c:v>
                </c:pt>
                <c:pt idx="568">
                  <c:v>16170.852000000001</c:v>
                </c:pt>
                <c:pt idx="569">
                  <c:v>73114.369000000006</c:v>
                </c:pt>
                <c:pt idx="570">
                  <c:v>73687.827999999994</c:v>
                </c:pt>
                <c:pt idx="571">
                  <c:v>68801.137000000002</c:v>
                </c:pt>
                <c:pt idx="572">
                  <c:v>72242.412999999899</c:v>
                </c:pt>
                <c:pt idx="573">
                  <c:v>57566.763999999996</c:v>
                </c:pt>
                <c:pt idx="574">
                  <c:v>24081.468000000023</c:v>
                </c:pt>
                <c:pt idx="575">
                  <c:v>86887.324999999997</c:v>
                </c:pt>
                <c:pt idx="576">
                  <c:v>68245.614000000001</c:v>
                </c:pt>
                <c:pt idx="577">
                  <c:v>57856.091999999997</c:v>
                </c:pt>
                <c:pt idx="578">
                  <c:v>53788.56</c:v>
                </c:pt>
                <c:pt idx="579">
                  <c:v>63168.876000000011</c:v>
                </c:pt>
                <c:pt idx="580">
                  <c:v>12447.755999999983</c:v>
                </c:pt>
                <c:pt idx="581">
                  <c:v>53385.119999999995</c:v>
                </c:pt>
                <c:pt idx="582">
                  <c:v>63201.023999999998</c:v>
                </c:pt>
                <c:pt idx="583">
                  <c:v>52620.504000000001</c:v>
                </c:pt>
                <c:pt idx="584">
                  <c:v>60096.960000000006</c:v>
                </c:pt>
                <c:pt idx="585">
                  <c:v>64486.392</c:v>
                </c:pt>
                <c:pt idx="586">
                  <c:v>10188.204000000009</c:v>
                </c:pt>
                <c:pt idx="587">
                  <c:v>53625.719999999994</c:v>
                </c:pt>
                <c:pt idx="588">
                  <c:v>65365.008000000002</c:v>
                </c:pt>
                <c:pt idx="589">
                  <c:v>54965.663999999997</c:v>
                </c:pt>
                <c:pt idx="590">
                  <c:v>61405.175999999999</c:v>
                </c:pt>
                <c:pt idx="591">
                  <c:v>70457.148000000001</c:v>
                </c:pt>
                <c:pt idx="592">
                  <c:v>11487.312</c:v>
                </c:pt>
                <c:pt idx="593">
                  <c:v>62298.084000000003</c:v>
                </c:pt>
                <c:pt idx="594">
                  <c:v>63819.491999999998</c:v>
                </c:pt>
                <c:pt idx="595">
                  <c:v>57465.876000000011</c:v>
                </c:pt>
                <c:pt idx="596">
                  <c:v>53328.312000000013</c:v>
                </c:pt>
                <c:pt idx="597">
                  <c:v>46923.288</c:v>
                </c:pt>
                <c:pt idx="598">
                  <c:v>10460.508</c:v>
                </c:pt>
                <c:pt idx="599">
                  <c:v>94208.761999999988</c:v>
                </c:pt>
                <c:pt idx="600">
                  <c:v>64509.856000000036</c:v>
                </c:pt>
                <c:pt idx="601">
                  <c:v>48740.691999999995</c:v>
                </c:pt>
                <c:pt idx="602">
                  <c:v>47859.744999999995</c:v>
                </c:pt>
                <c:pt idx="603">
                  <c:v>63132.495999999999</c:v>
                </c:pt>
                <c:pt idx="604">
                  <c:v>10202.84399999999</c:v>
                </c:pt>
                <c:pt idx="605">
                  <c:v>53823.528999999995</c:v>
                </c:pt>
                <c:pt idx="606">
                  <c:v>52962.329000000005</c:v>
                </c:pt>
                <c:pt idx="607">
                  <c:v>46615.526999999995</c:v>
                </c:pt>
                <c:pt idx="608">
                  <c:v>62867.501000000004</c:v>
                </c:pt>
                <c:pt idx="609">
                  <c:v>65471.874000000003</c:v>
                </c:pt>
                <c:pt idx="610">
                  <c:v>12630.359999999984</c:v>
                </c:pt>
                <c:pt idx="611">
                  <c:v>69010.921999999991</c:v>
                </c:pt>
                <c:pt idx="612">
                  <c:v>61116.662999999993</c:v>
                </c:pt>
                <c:pt idx="613">
                  <c:v>48678.865000000005</c:v>
                </c:pt>
                <c:pt idx="614">
                  <c:v>48899.760999999999</c:v>
                </c:pt>
                <c:pt idx="615">
                  <c:v>71681.872000000003</c:v>
                </c:pt>
                <c:pt idx="616">
                  <c:v>16151.725</c:v>
                </c:pt>
                <c:pt idx="617">
                  <c:v>71966.151000000027</c:v>
                </c:pt>
                <c:pt idx="618">
                  <c:v>71929.739999999991</c:v>
                </c:pt>
                <c:pt idx="619">
                  <c:v>75271.781000000003</c:v>
                </c:pt>
                <c:pt idx="620">
                  <c:v>24340.944000000018</c:v>
                </c:pt>
              </c:numCache>
            </c:numRef>
          </c:yVal>
        </c:ser>
        <c:ser>
          <c:idx val="1"/>
          <c:order val="1"/>
          <c:tx>
            <c:v>예측</c:v>
          </c:tx>
          <c:spPr>
            <a:ln w="28575">
              <a:noFill/>
            </a:ln>
          </c:spPr>
          <c:marker>
            <c:symbol val="square"/>
            <c:size val="4"/>
          </c:marker>
          <c:xVal>
            <c:numRef>
              <c:f>Cass_Can_Daily!$A$941:$A$1561</c:f>
              <c:numCache>
                <c:formatCode>yyyy/mm/dd</c:formatCode>
                <c:ptCount val="621"/>
                <c:pt idx="0">
                  <c:v>41275</c:v>
                </c:pt>
                <c:pt idx="1">
                  <c:v>41276</c:v>
                </c:pt>
                <c:pt idx="2">
                  <c:v>41277</c:v>
                </c:pt>
                <c:pt idx="3">
                  <c:v>41278</c:v>
                </c:pt>
                <c:pt idx="4">
                  <c:v>41279</c:v>
                </c:pt>
                <c:pt idx="5">
                  <c:v>41281</c:v>
                </c:pt>
                <c:pt idx="6">
                  <c:v>41282</c:v>
                </c:pt>
                <c:pt idx="7">
                  <c:v>41283</c:v>
                </c:pt>
                <c:pt idx="8">
                  <c:v>41284</c:v>
                </c:pt>
                <c:pt idx="9">
                  <c:v>41285</c:v>
                </c:pt>
                <c:pt idx="10">
                  <c:v>41286</c:v>
                </c:pt>
                <c:pt idx="11">
                  <c:v>41288</c:v>
                </c:pt>
                <c:pt idx="12">
                  <c:v>41289</c:v>
                </c:pt>
                <c:pt idx="13">
                  <c:v>41290</c:v>
                </c:pt>
                <c:pt idx="14">
                  <c:v>41291</c:v>
                </c:pt>
                <c:pt idx="15">
                  <c:v>41292</c:v>
                </c:pt>
                <c:pt idx="16">
                  <c:v>41293</c:v>
                </c:pt>
                <c:pt idx="17">
                  <c:v>41295</c:v>
                </c:pt>
                <c:pt idx="18">
                  <c:v>41296</c:v>
                </c:pt>
                <c:pt idx="19">
                  <c:v>41297</c:v>
                </c:pt>
                <c:pt idx="20">
                  <c:v>41298</c:v>
                </c:pt>
                <c:pt idx="21">
                  <c:v>41299</c:v>
                </c:pt>
                <c:pt idx="22">
                  <c:v>41300</c:v>
                </c:pt>
                <c:pt idx="23">
                  <c:v>41302</c:v>
                </c:pt>
                <c:pt idx="24">
                  <c:v>41303</c:v>
                </c:pt>
                <c:pt idx="25">
                  <c:v>41304</c:v>
                </c:pt>
                <c:pt idx="26">
                  <c:v>41305</c:v>
                </c:pt>
                <c:pt idx="27">
                  <c:v>41306</c:v>
                </c:pt>
                <c:pt idx="28">
                  <c:v>41307</c:v>
                </c:pt>
                <c:pt idx="29">
                  <c:v>41309</c:v>
                </c:pt>
                <c:pt idx="30">
                  <c:v>41310</c:v>
                </c:pt>
                <c:pt idx="31">
                  <c:v>41311</c:v>
                </c:pt>
                <c:pt idx="32">
                  <c:v>41312</c:v>
                </c:pt>
                <c:pt idx="33">
                  <c:v>41313</c:v>
                </c:pt>
                <c:pt idx="34">
                  <c:v>41314</c:v>
                </c:pt>
                <c:pt idx="35">
                  <c:v>41316</c:v>
                </c:pt>
                <c:pt idx="36">
                  <c:v>41317</c:v>
                </c:pt>
                <c:pt idx="37">
                  <c:v>41318</c:v>
                </c:pt>
                <c:pt idx="38">
                  <c:v>41319</c:v>
                </c:pt>
                <c:pt idx="39">
                  <c:v>41320</c:v>
                </c:pt>
                <c:pt idx="40">
                  <c:v>41321</c:v>
                </c:pt>
                <c:pt idx="41">
                  <c:v>41323</c:v>
                </c:pt>
                <c:pt idx="42">
                  <c:v>41324</c:v>
                </c:pt>
                <c:pt idx="43">
                  <c:v>41325</c:v>
                </c:pt>
                <c:pt idx="44">
                  <c:v>41326</c:v>
                </c:pt>
                <c:pt idx="45">
                  <c:v>41327</c:v>
                </c:pt>
                <c:pt idx="46">
                  <c:v>41328</c:v>
                </c:pt>
                <c:pt idx="47">
                  <c:v>41330</c:v>
                </c:pt>
                <c:pt idx="48">
                  <c:v>41331</c:v>
                </c:pt>
                <c:pt idx="49">
                  <c:v>41332</c:v>
                </c:pt>
                <c:pt idx="50">
                  <c:v>41333</c:v>
                </c:pt>
                <c:pt idx="51">
                  <c:v>41334</c:v>
                </c:pt>
                <c:pt idx="52">
                  <c:v>41335</c:v>
                </c:pt>
                <c:pt idx="53">
                  <c:v>41337</c:v>
                </c:pt>
                <c:pt idx="54">
                  <c:v>41338</c:v>
                </c:pt>
                <c:pt idx="55">
                  <c:v>41339</c:v>
                </c:pt>
                <c:pt idx="56">
                  <c:v>41340</c:v>
                </c:pt>
                <c:pt idx="57">
                  <c:v>41341</c:v>
                </c:pt>
                <c:pt idx="58">
                  <c:v>41342</c:v>
                </c:pt>
                <c:pt idx="59">
                  <c:v>41344</c:v>
                </c:pt>
                <c:pt idx="60">
                  <c:v>41345</c:v>
                </c:pt>
                <c:pt idx="61">
                  <c:v>41346</c:v>
                </c:pt>
                <c:pt idx="62">
                  <c:v>41347</c:v>
                </c:pt>
                <c:pt idx="63">
                  <c:v>41348</c:v>
                </c:pt>
                <c:pt idx="64">
                  <c:v>41349</c:v>
                </c:pt>
                <c:pt idx="65">
                  <c:v>41351</c:v>
                </c:pt>
                <c:pt idx="66">
                  <c:v>41352</c:v>
                </c:pt>
                <c:pt idx="67">
                  <c:v>41353</c:v>
                </c:pt>
                <c:pt idx="68">
                  <c:v>41354</c:v>
                </c:pt>
                <c:pt idx="69">
                  <c:v>41355</c:v>
                </c:pt>
                <c:pt idx="70">
                  <c:v>41356</c:v>
                </c:pt>
                <c:pt idx="71">
                  <c:v>41358</c:v>
                </c:pt>
                <c:pt idx="72">
                  <c:v>41359</c:v>
                </c:pt>
                <c:pt idx="73">
                  <c:v>41360</c:v>
                </c:pt>
                <c:pt idx="74">
                  <c:v>41361</c:v>
                </c:pt>
                <c:pt idx="75">
                  <c:v>41362</c:v>
                </c:pt>
                <c:pt idx="76">
                  <c:v>41363</c:v>
                </c:pt>
                <c:pt idx="77">
                  <c:v>41365</c:v>
                </c:pt>
                <c:pt idx="78">
                  <c:v>41366</c:v>
                </c:pt>
                <c:pt idx="79">
                  <c:v>41367</c:v>
                </c:pt>
                <c:pt idx="80">
                  <c:v>41368</c:v>
                </c:pt>
                <c:pt idx="81">
                  <c:v>41369</c:v>
                </c:pt>
                <c:pt idx="82">
                  <c:v>41370</c:v>
                </c:pt>
                <c:pt idx="83">
                  <c:v>41372</c:v>
                </c:pt>
                <c:pt idx="84">
                  <c:v>41373</c:v>
                </c:pt>
                <c:pt idx="85">
                  <c:v>41374</c:v>
                </c:pt>
                <c:pt idx="86">
                  <c:v>41375</c:v>
                </c:pt>
                <c:pt idx="87">
                  <c:v>41376</c:v>
                </c:pt>
                <c:pt idx="88">
                  <c:v>41377</c:v>
                </c:pt>
                <c:pt idx="89">
                  <c:v>41379</c:v>
                </c:pt>
                <c:pt idx="90">
                  <c:v>41380</c:v>
                </c:pt>
                <c:pt idx="91">
                  <c:v>41381</c:v>
                </c:pt>
                <c:pt idx="92">
                  <c:v>41382</c:v>
                </c:pt>
                <c:pt idx="93">
                  <c:v>41383</c:v>
                </c:pt>
                <c:pt idx="94">
                  <c:v>41384</c:v>
                </c:pt>
                <c:pt idx="95">
                  <c:v>41386</c:v>
                </c:pt>
                <c:pt idx="96">
                  <c:v>41387</c:v>
                </c:pt>
                <c:pt idx="97">
                  <c:v>41388</c:v>
                </c:pt>
                <c:pt idx="98">
                  <c:v>41389</c:v>
                </c:pt>
                <c:pt idx="99">
                  <c:v>41390</c:v>
                </c:pt>
                <c:pt idx="100">
                  <c:v>41391</c:v>
                </c:pt>
                <c:pt idx="101">
                  <c:v>41393</c:v>
                </c:pt>
                <c:pt idx="102">
                  <c:v>41394</c:v>
                </c:pt>
                <c:pt idx="103">
                  <c:v>41395</c:v>
                </c:pt>
                <c:pt idx="104">
                  <c:v>41396</c:v>
                </c:pt>
                <c:pt idx="105">
                  <c:v>41397</c:v>
                </c:pt>
                <c:pt idx="106">
                  <c:v>41398</c:v>
                </c:pt>
                <c:pt idx="107">
                  <c:v>41400</c:v>
                </c:pt>
                <c:pt idx="108">
                  <c:v>41401</c:v>
                </c:pt>
                <c:pt idx="109">
                  <c:v>41402</c:v>
                </c:pt>
                <c:pt idx="110">
                  <c:v>41403</c:v>
                </c:pt>
                <c:pt idx="111">
                  <c:v>41404</c:v>
                </c:pt>
                <c:pt idx="112">
                  <c:v>41405</c:v>
                </c:pt>
                <c:pt idx="113">
                  <c:v>41407</c:v>
                </c:pt>
                <c:pt idx="114">
                  <c:v>41408</c:v>
                </c:pt>
                <c:pt idx="115">
                  <c:v>41409</c:v>
                </c:pt>
                <c:pt idx="116">
                  <c:v>41410</c:v>
                </c:pt>
                <c:pt idx="117">
                  <c:v>41411</c:v>
                </c:pt>
                <c:pt idx="118">
                  <c:v>41412</c:v>
                </c:pt>
                <c:pt idx="119">
                  <c:v>41414</c:v>
                </c:pt>
                <c:pt idx="120">
                  <c:v>41415</c:v>
                </c:pt>
                <c:pt idx="121">
                  <c:v>41416</c:v>
                </c:pt>
                <c:pt idx="122">
                  <c:v>41417</c:v>
                </c:pt>
                <c:pt idx="123">
                  <c:v>41418</c:v>
                </c:pt>
                <c:pt idx="124">
                  <c:v>41419</c:v>
                </c:pt>
                <c:pt idx="125">
                  <c:v>41421</c:v>
                </c:pt>
                <c:pt idx="126">
                  <c:v>41422</c:v>
                </c:pt>
                <c:pt idx="127">
                  <c:v>41423</c:v>
                </c:pt>
                <c:pt idx="128">
                  <c:v>41424</c:v>
                </c:pt>
                <c:pt idx="129">
                  <c:v>41425</c:v>
                </c:pt>
                <c:pt idx="130">
                  <c:v>41426</c:v>
                </c:pt>
                <c:pt idx="131">
                  <c:v>41428</c:v>
                </c:pt>
                <c:pt idx="132">
                  <c:v>41429</c:v>
                </c:pt>
                <c:pt idx="133">
                  <c:v>41430</c:v>
                </c:pt>
                <c:pt idx="134">
                  <c:v>41431</c:v>
                </c:pt>
                <c:pt idx="135">
                  <c:v>41432</c:v>
                </c:pt>
                <c:pt idx="136">
                  <c:v>41433</c:v>
                </c:pt>
                <c:pt idx="137">
                  <c:v>41435</c:v>
                </c:pt>
                <c:pt idx="138">
                  <c:v>41436</c:v>
                </c:pt>
                <c:pt idx="139">
                  <c:v>41437</c:v>
                </c:pt>
                <c:pt idx="140">
                  <c:v>41438</c:v>
                </c:pt>
                <c:pt idx="141">
                  <c:v>41439</c:v>
                </c:pt>
                <c:pt idx="142">
                  <c:v>41440</c:v>
                </c:pt>
                <c:pt idx="143">
                  <c:v>41442</c:v>
                </c:pt>
                <c:pt idx="144">
                  <c:v>41443</c:v>
                </c:pt>
                <c:pt idx="145">
                  <c:v>41444</c:v>
                </c:pt>
                <c:pt idx="146">
                  <c:v>41445</c:v>
                </c:pt>
                <c:pt idx="147">
                  <c:v>41446</c:v>
                </c:pt>
                <c:pt idx="148">
                  <c:v>41447</c:v>
                </c:pt>
                <c:pt idx="149">
                  <c:v>41449</c:v>
                </c:pt>
                <c:pt idx="150">
                  <c:v>41450</c:v>
                </c:pt>
                <c:pt idx="151">
                  <c:v>41451</c:v>
                </c:pt>
                <c:pt idx="152">
                  <c:v>41452</c:v>
                </c:pt>
                <c:pt idx="153">
                  <c:v>41453</c:v>
                </c:pt>
                <c:pt idx="154">
                  <c:v>41454</c:v>
                </c:pt>
                <c:pt idx="155">
                  <c:v>41456</c:v>
                </c:pt>
                <c:pt idx="156">
                  <c:v>41457</c:v>
                </c:pt>
                <c:pt idx="157">
                  <c:v>41458</c:v>
                </c:pt>
                <c:pt idx="158">
                  <c:v>41459</c:v>
                </c:pt>
                <c:pt idx="159">
                  <c:v>41460</c:v>
                </c:pt>
                <c:pt idx="160">
                  <c:v>41461</c:v>
                </c:pt>
                <c:pt idx="161">
                  <c:v>41463</c:v>
                </c:pt>
                <c:pt idx="162">
                  <c:v>41464</c:v>
                </c:pt>
                <c:pt idx="163">
                  <c:v>41465</c:v>
                </c:pt>
                <c:pt idx="164">
                  <c:v>41466</c:v>
                </c:pt>
                <c:pt idx="165">
                  <c:v>41467</c:v>
                </c:pt>
                <c:pt idx="166">
                  <c:v>41468</c:v>
                </c:pt>
                <c:pt idx="167">
                  <c:v>41470</c:v>
                </c:pt>
                <c:pt idx="168">
                  <c:v>41471</c:v>
                </c:pt>
                <c:pt idx="169">
                  <c:v>41472</c:v>
                </c:pt>
                <c:pt idx="170">
                  <c:v>41473</c:v>
                </c:pt>
                <c:pt idx="171">
                  <c:v>41474</c:v>
                </c:pt>
                <c:pt idx="172">
                  <c:v>41475</c:v>
                </c:pt>
                <c:pt idx="173">
                  <c:v>41477</c:v>
                </c:pt>
                <c:pt idx="174">
                  <c:v>41478</c:v>
                </c:pt>
                <c:pt idx="175">
                  <c:v>41479</c:v>
                </c:pt>
                <c:pt idx="176">
                  <c:v>41480</c:v>
                </c:pt>
                <c:pt idx="177">
                  <c:v>41481</c:v>
                </c:pt>
                <c:pt idx="178">
                  <c:v>41482</c:v>
                </c:pt>
                <c:pt idx="179">
                  <c:v>41484</c:v>
                </c:pt>
                <c:pt idx="180">
                  <c:v>41485</c:v>
                </c:pt>
                <c:pt idx="181">
                  <c:v>41486</c:v>
                </c:pt>
                <c:pt idx="182">
                  <c:v>41487</c:v>
                </c:pt>
                <c:pt idx="183">
                  <c:v>41488</c:v>
                </c:pt>
                <c:pt idx="184">
                  <c:v>41489</c:v>
                </c:pt>
                <c:pt idx="185">
                  <c:v>41491</c:v>
                </c:pt>
                <c:pt idx="186">
                  <c:v>41492</c:v>
                </c:pt>
                <c:pt idx="187">
                  <c:v>41493</c:v>
                </c:pt>
                <c:pt idx="188">
                  <c:v>41494</c:v>
                </c:pt>
                <c:pt idx="189">
                  <c:v>41495</c:v>
                </c:pt>
                <c:pt idx="190">
                  <c:v>41496</c:v>
                </c:pt>
                <c:pt idx="191">
                  <c:v>41498</c:v>
                </c:pt>
                <c:pt idx="192">
                  <c:v>41499</c:v>
                </c:pt>
                <c:pt idx="193">
                  <c:v>41500</c:v>
                </c:pt>
                <c:pt idx="194">
                  <c:v>41501</c:v>
                </c:pt>
                <c:pt idx="195">
                  <c:v>41502</c:v>
                </c:pt>
                <c:pt idx="196">
                  <c:v>41503</c:v>
                </c:pt>
                <c:pt idx="197">
                  <c:v>41505</c:v>
                </c:pt>
                <c:pt idx="198">
                  <c:v>41506</c:v>
                </c:pt>
                <c:pt idx="199">
                  <c:v>41507</c:v>
                </c:pt>
                <c:pt idx="200">
                  <c:v>41508</c:v>
                </c:pt>
                <c:pt idx="201">
                  <c:v>41509</c:v>
                </c:pt>
                <c:pt idx="202">
                  <c:v>41510</c:v>
                </c:pt>
                <c:pt idx="203">
                  <c:v>41512</c:v>
                </c:pt>
                <c:pt idx="204">
                  <c:v>41513</c:v>
                </c:pt>
                <c:pt idx="205">
                  <c:v>41514</c:v>
                </c:pt>
                <c:pt idx="206">
                  <c:v>41515</c:v>
                </c:pt>
                <c:pt idx="207">
                  <c:v>41516</c:v>
                </c:pt>
                <c:pt idx="208">
                  <c:v>41517</c:v>
                </c:pt>
                <c:pt idx="209">
                  <c:v>41519</c:v>
                </c:pt>
                <c:pt idx="210">
                  <c:v>41520</c:v>
                </c:pt>
                <c:pt idx="211">
                  <c:v>41521</c:v>
                </c:pt>
                <c:pt idx="212">
                  <c:v>41522</c:v>
                </c:pt>
                <c:pt idx="213">
                  <c:v>41523</c:v>
                </c:pt>
                <c:pt idx="214">
                  <c:v>41524</c:v>
                </c:pt>
                <c:pt idx="215">
                  <c:v>41526</c:v>
                </c:pt>
                <c:pt idx="216">
                  <c:v>41527</c:v>
                </c:pt>
                <c:pt idx="217">
                  <c:v>41528</c:v>
                </c:pt>
                <c:pt idx="218">
                  <c:v>41529</c:v>
                </c:pt>
                <c:pt idx="219">
                  <c:v>41530</c:v>
                </c:pt>
                <c:pt idx="220">
                  <c:v>41531</c:v>
                </c:pt>
                <c:pt idx="221">
                  <c:v>41533</c:v>
                </c:pt>
                <c:pt idx="222">
                  <c:v>41534</c:v>
                </c:pt>
                <c:pt idx="223">
                  <c:v>41535</c:v>
                </c:pt>
                <c:pt idx="224">
                  <c:v>41536</c:v>
                </c:pt>
                <c:pt idx="225">
                  <c:v>41537</c:v>
                </c:pt>
                <c:pt idx="226">
                  <c:v>41538</c:v>
                </c:pt>
                <c:pt idx="227">
                  <c:v>41540</c:v>
                </c:pt>
                <c:pt idx="228">
                  <c:v>41541</c:v>
                </c:pt>
                <c:pt idx="229">
                  <c:v>41542</c:v>
                </c:pt>
                <c:pt idx="230">
                  <c:v>41543</c:v>
                </c:pt>
                <c:pt idx="231">
                  <c:v>41544</c:v>
                </c:pt>
                <c:pt idx="232">
                  <c:v>41545</c:v>
                </c:pt>
                <c:pt idx="233">
                  <c:v>41547</c:v>
                </c:pt>
                <c:pt idx="234">
                  <c:v>41548</c:v>
                </c:pt>
                <c:pt idx="235">
                  <c:v>41549</c:v>
                </c:pt>
                <c:pt idx="236">
                  <c:v>41550</c:v>
                </c:pt>
                <c:pt idx="237">
                  <c:v>41551</c:v>
                </c:pt>
                <c:pt idx="238">
                  <c:v>41552</c:v>
                </c:pt>
                <c:pt idx="239">
                  <c:v>41554</c:v>
                </c:pt>
                <c:pt idx="240">
                  <c:v>41555</c:v>
                </c:pt>
                <c:pt idx="241">
                  <c:v>41556</c:v>
                </c:pt>
                <c:pt idx="242">
                  <c:v>41557</c:v>
                </c:pt>
                <c:pt idx="243">
                  <c:v>41558</c:v>
                </c:pt>
                <c:pt idx="244">
                  <c:v>41559</c:v>
                </c:pt>
                <c:pt idx="245">
                  <c:v>41561</c:v>
                </c:pt>
                <c:pt idx="246">
                  <c:v>41562</c:v>
                </c:pt>
                <c:pt idx="247">
                  <c:v>41563</c:v>
                </c:pt>
                <c:pt idx="248">
                  <c:v>41564</c:v>
                </c:pt>
                <c:pt idx="249">
                  <c:v>41565</c:v>
                </c:pt>
                <c:pt idx="250">
                  <c:v>41566</c:v>
                </c:pt>
                <c:pt idx="251">
                  <c:v>41568</c:v>
                </c:pt>
                <c:pt idx="252">
                  <c:v>41569</c:v>
                </c:pt>
                <c:pt idx="253">
                  <c:v>41570</c:v>
                </c:pt>
                <c:pt idx="254">
                  <c:v>41571</c:v>
                </c:pt>
                <c:pt idx="255">
                  <c:v>41572</c:v>
                </c:pt>
                <c:pt idx="256">
                  <c:v>41573</c:v>
                </c:pt>
                <c:pt idx="257">
                  <c:v>41575</c:v>
                </c:pt>
                <c:pt idx="258">
                  <c:v>41576</c:v>
                </c:pt>
                <c:pt idx="259">
                  <c:v>41577</c:v>
                </c:pt>
                <c:pt idx="260">
                  <c:v>41578</c:v>
                </c:pt>
                <c:pt idx="261">
                  <c:v>41579</c:v>
                </c:pt>
                <c:pt idx="262">
                  <c:v>41580</c:v>
                </c:pt>
                <c:pt idx="263">
                  <c:v>41582</c:v>
                </c:pt>
                <c:pt idx="264">
                  <c:v>41583</c:v>
                </c:pt>
                <c:pt idx="265">
                  <c:v>41584</c:v>
                </c:pt>
                <c:pt idx="266">
                  <c:v>41585</c:v>
                </c:pt>
                <c:pt idx="267">
                  <c:v>41586</c:v>
                </c:pt>
                <c:pt idx="268">
                  <c:v>41587</c:v>
                </c:pt>
                <c:pt idx="269">
                  <c:v>41589</c:v>
                </c:pt>
                <c:pt idx="270">
                  <c:v>41590</c:v>
                </c:pt>
                <c:pt idx="271">
                  <c:v>41591</c:v>
                </c:pt>
                <c:pt idx="272">
                  <c:v>41592</c:v>
                </c:pt>
                <c:pt idx="273">
                  <c:v>41593</c:v>
                </c:pt>
                <c:pt idx="274">
                  <c:v>41594</c:v>
                </c:pt>
                <c:pt idx="275">
                  <c:v>41596</c:v>
                </c:pt>
                <c:pt idx="276">
                  <c:v>41597</c:v>
                </c:pt>
                <c:pt idx="277">
                  <c:v>41598</c:v>
                </c:pt>
                <c:pt idx="278">
                  <c:v>41599</c:v>
                </c:pt>
                <c:pt idx="279">
                  <c:v>41600</c:v>
                </c:pt>
                <c:pt idx="280">
                  <c:v>41601</c:v>
                </c:pt>
                <c:pt idx="281">
                  <c:v>41603</c:v>
                </c:pt>
                <c:pt idx="282">
                  <c:v>41604</c:v>
                </c:pt>
                <c:pt idx="283">
                  <c:v>41605</c:v>
                </c:pt>
                <c:pt idx="284">
                  <c:v>41606</c:v>
                </c:pt>
                <c:pt idx="285">
                  <c:v>41607</c:v>
                </c:pt>
                <c:pt idx="286">
                  <c:v>41608</c:v>
                </c:pt>
                <c:pt idx="287">
                  <c:v>41610</c:v>
                </c:pt>
                <c:pt idx="288">
                  <c:v>41611</c:v>
                </c:pt>
                <c:pt idx="289">
                  <c:v>41612</c:v>
                </c:pt>
                <c:pt idx="290">
                  <c:v>41613</c:v>
                </c:pt>
                <c:pt idx="291">
                  <c:v>41614</c:v>
                </c:pt>
                <c:pt idx="292">
                  <c:v>41615</c:v>
                </c:pt>
                <c:pt idx="293">
                  <c:v>41617</c:v>
                </c:pt>
                <c:pt idx="294">
                  <c:v>41618</c:v>
                </c:pt>
                <c:pt idx="295">
                  <c:v>41619</c:v>
                </c:pt>
                <c:pt idx="296">
                  <c:v>41620</c:v>
                </c:pt>
                <c:pt idx="297">
                  <c:v>41621</c:v>
                </c:pt>
                <c:pt idx="298">
                  <c:v>41622</c:v>
                </c:pt>
                <c:pt idx="299">
                  <c:v>41624</c:v>
                </c:pt>
                <c:pt idx="300">
                  <c:v>41625</c:v>
                </c:pt>
                <c:pt idx="301">
                  <c:v>41626</c:v>
                </c:pt>
                <c:pt idx="302">
                  <c:v>41627</c:v>
                </c:pt>
                <c:pt idx="303">
                  <c:v>41628</c:v>
                </c:pt>
                <c:pt idx="304">
                  <c:v>41629</c:v>
                </c:pt>
                <c:pt idx="305">
                  <c:v>41631</c:v>
                </c:pt>
                <c:pt idx="306">
                  <c:v>41632</c:v>
                </c:pt>
                <c:pt idx="307">
                  <c:v>41633</c:v>
                </c:pt>
                <c:pt idx="308">
                  <c:v>41634</c:v>
                </c:pt>
                <c:pt idx="309">
                  <c:v>41635</c:v>
                </c:pt>
                <c:pt idx="310">
                  <c:v>41636</c:v>
                </c:pt>
                <c:pt idx="311">
                  <c:v>41638</c:v>
                </c:pt>
                <c:pt idx="312">
                  <c:v>41639</c:v>
                </c:pt>
                <c:pt idx="313">
                  <c:v>41640</c:v>
                </c:pt>
                <c:pt idx="314">
                  <c:v>41641</c:v>
                </c:pt>
                <c:pt idx="315">
                  <c:v>41642</c:v>
                </c:pt>
                <c:pt idx="316">
                  <c:v>41643</c:v>
                </c:pt>
                <c:pt idx="317">
                  <c:v>41645</c:v>
                </c:pt>
                <c:pt idx="318">
                  <c:v>41646</c:v>
                </c:pt>
                <c:pt idx="319">
                  <c:v>41647</c:v>
                </c:pt>
                <c:pt idx="320">
                  <c:v>41648</c:v>
                </c:pt>
                <c:pt idx="321">
                  <c:v>41649</c:v>
                </c:pt>
                <c:pt idx="322">
                  <c:v>41650</c:v>
                </c:pt>
                <c:pt idx="323">
                  <c:v>41652</c:v>
                </c:pt>
                <c:pt idx="324">
                  <c:v>41653</c:v>
                </c:pt>
                <c:pt idx="325">
                  <c:v>41654</c:v>
                </c:pt>
                <c:pt idx="326">
                  <c:v>41655</c:v>
                </c:pt>
                <c:pt idx="327">
                  <c:v>41656</c:v>
                </c:pt>
                <c:pt idx="328">
                  <c:v>41657</c:v>
                </c:pt>
                <c:pt idx="329">
                  <c:v>41659</c:v>
                </c:pt>
                <c:pt idx="330">
                  <c:v>41660</c:v>
                </c:pt>
                <c:pt idx="331">
                  <c:v>41661</c:v>
                </c:pt>
                <c:pt idx="332">
                  <c:v>41662</c:v>
                </c:pt>
                <c:pt idx="333">
                  <c:v>41663</c:v>
                </c:pt>
                <c:pt idx="334">
                  <c:v>41664</c:v>
                </c:pt>
                <c:pt idx="335">
                  <c:v>41666</c:v>
                </c:pt>
                <c:pt idx="336">
                  <c:v>41667</c:v>
                </c:pt>
                <c:pt idx="337">
                  <c:v>41668</c:v>
                </c:pt>
                <c:pt idx="338">
                  <c:v>41669</c:v>
                </c:pt>
                <c:pt idx="339">
                  <c:v>41670</c:v>
                </c:pt>
                <c:pt idx="340">
                  <c:v>41671</c:v>
                </c:pt>
                <c:pt idx="341">
                  <c:v>41673</c:v>
                </c:pt>
                <c:pt idx="342">
                  <c:v>41674</c:v>
                </c:pt>
                <c:pt idx="343">
                  <c:v>41675</c:v>
                </c:pt>
                <c:pt idx="344">
                  <c:v>41676</c:v>
                </c:pt>
                <c:pt idx="345">
                  <c:v>41677</c:v>
                </c:pt>
                <c:pt idx="346">
                  <c:v>41678</c:v>
                </c:pt>
                <c:pt idx="347">
                  <c:v>41680</c:v>
                </c:pt>
                <c:pt idx="348">
                  <c:v>41681</c:v>
                </c:pt>
                <c:pt idx="349">
                  <c:v>41682</c:v>
                </c:pt>
                <c:pt idx="350">
                  <c:v>41683</c:v>
                </c:pt>
                <c:pt idx="351">
                  <c:v>41684</c:v>
                </c:pt>
                <c:pt idx="352">
                  <c:v>41685</c:v>
                </c:pt>
                <c:pt idx="353">
                  <c:v>41687</c:v>
                </c:pt>
                <c:pt idx="354">
                  <c:v>41688</c:v>
                </c:pt>
                <c:pt idx="355">
                  <c:v>41689</c:v>
                </c:pt>
                <c:pt idx="356">
                  <c:v>41690</c:v>
                </c:pt>
                <c:pt idx="357">
                  <c:v>41691</c:v>
                </c:pt>
                <c:pt idx="358">
                  <c:v>41692</c:v>
                </c:pt>
                <c:pt idx="359">
                  <c:v>41694</c:v>
                </c:pt>
                <c:pt idx="360">
                  <c:v>41695</c:v>
                </c:pt>
                <c:pt idx="361">
                  <c:v>41696</c:v>
                </c:pt>
                <c:pt idx="362">
                  <c:v>41697</c:v>
                </c:pt>
                <c:pt idx="363">
                  <c:v>41698</c:v>
                </c:pt>
                <c:pt idx="364">
                  <c:v>41699</c:v>
                </c:pt>
                <c:pt idx="365">
                  <c:v>41701</c:v>
                </c:pt>
                <c:pt idx="366">
                  <c:v>41702</c:v>
                </c:pt>
                <c:pt idx="367">
                  <c:v>41703</c:v>
                </c:pt>
                <c:pt idx="368">
                  <c:v>41704</c:v>
                </c:pt>
                <c:pt idx="369">
                  <c:v>41705</c:v>
                </c:pt>
                <c:pt idx="370">
                  <c:v>41706</c:v>
                </c:pt>
                <c:pt idx="371">
                  <c:v>41708</c:v>
                </c:pt>
                <c:pt idx="372">
                  <c:v>41709</c:v>
                </c:pt>
                <c:pt idx="373">
                  <c:v>41710</c:v>
                </c:pt>
                <c:pt idx="374">
                  <c:v>41711</c:v>
                </c:pt>
                <c:pt idx="375">
                  <c:v>41712</c:v>
                </c:pt>
                <c:pt idx="376">
                  <c:v>41713</c:v>
                </c:pt>
                <c:pt idx="377">
                  <c:v>41715</c:v>
                </c:pt>
                <c:pt idx="378">
                  <c:v>41716</c:v>
                </c:pt>
                <c:pt idx="379">
                  <c:v>41717</c:v>
                </c:pt>
                <c:pt idx="380">
                  <c:v>41718</c:v>
                </c:pt>
                <c:pt idx="381">
                  <c:v>41719</c:v>
                </c:pt>
                <c:pt idx="382">
                  <c:v>41720</c:v>
                </c:pt>
                <c:pt idx="383">
                  <c:v>41722</c:v>
                </c:pt>
                <c:pt idx="384">
                  <c:v>41723</c:v>
                </c:pt>
                <c:pt idx="385">
                  <c:v>41724</c:v>
                </c:pt>
                <c:pt idx="386">
                  <c:v>41725</c:v>
                </c:pt>
                <c:pt idx="387">
                  <c:v>41726</c:v>
                </c:pt>
                <c:pt idx="388">
                  <c:v>41727</c:v>
                </c:pt>
                <c:pt idx="389">
                  <c:v>41729</c:v>
                </c:pt>
                <c:pt idx="390">
                  <c:v>41730</c:v>
                </c:pt>
                <c:pt idx="391">
                  <c:v>41731</c:v>
                </c:pt>
                <c:pt idx="392">
                  <c:v>41732</c:v>
                </c:pt>
                <c:pt idx="393">
                  <c:v>41733</c:v>
                </c:pt>
                <c:pt idx="394">
                  <c:v>41734</c:v>
                </c:pt>
                <c:pt idx="395">
                  <c:v>41736</c:v>
                </c:pt>
                <c:pt idx="396">
                  <c:v>41737</c:v>
                </c:pt>
                <c:pt idx="397">
                  <c:v>41738</c:v>
                </c:pt>
                <c:pt idx="398">
                  <c:v>41739</c:v>
                </c:pt>
                <c:pt idx="399">
                  <c:v>41740</c:v>
                </c:pt>
                <c:pt idx="400">
                  <c:v>41741</c:v>
                </c:pt>
                <c:pt idx="401">
                  <c:v>41743</c:v>
                </c:pt>
                <c:pt idx="402">
                  <c:v>41744</c:v>
                </c:pt>
                <c:pt idx="403">
                  <c:v>41745</c:v>
                </c:pt>
                <c:pt idx="404">
                  <c:v>41746</c:v>
                </c:pt>
                <c:pt idx="405">
                  <c:v>41747</c:v>
                </c:pt>
                <c:pt idx="406">
                  <c:v>41748</c:v>
                </c:pt>
                <c:pt idx="407">
                  <c:v>41750</c:v>
                </c:pt>
                <c:pt idx="408">
                  <c:v>41751</c:v>
                </c:pt>
                <c:pt idx="409">
                  <c:v>41752</c:v>
                </c:pt>
                <c:pt idx="410">
                  <c:v>41753</c:v>
                </c:pt>
                <c:pt idx="411">
                  <c:v>41754</c:v>
                </c:pt>
                <c:pt idx="412">
                  <c:v>41755</c:v>
                </c:pt>
                <c:pt idx="413">
                  <c:v>41757</c:v>
                </c:pt>
                <c:pt idx="414">
                  <c:v>41758</c:v>
                </c:pt>
                <c:pt idx="415">
                  <c:v>41759</c:v>
                </c:pt>
                <c:pt idx="416">
                  <c:v>41760</c:v>
                </c:pt>
                <c:pt idx="417">
                  <c:v>41761</c:v>
                </c:pt>
                <c:pt idx="418">
                  <c:v>41762</c:v>
                </c:pt>
                <c:pt idx="419">
                  <c:v>41764</c:v>
                </c:pt>
                <c:pt idx="420">
                  <c:v>41765</c:v>
                </c:pt>
                <c:pt idx="421">
                  <c:v>41766</c:v>
                </c:pt>
                <c:pt idx="422">
                  <c:v>41767</c:v>
                </c:pt>
                <c:pt idx="423">
                  <c:v>41768</c:v>
                </c:pt>
                <c:pt idx="424">
                  <c:v>41769</c:v>
                </c:pt>
                <c:pt idx="425">
                  <c:v>41771</c:v>
                </c:pt>
                <c:pt idx="426">
                  <c:v>41772</c:v>
                </c:pt>
                <c:pt idx="427">
                  <c:v>41773</c:v>
                </c:pt>
                <c:pt idx="428">
                  <c:v>41774</c:v>
                </c:pt>
                <c:pt idx="429">
                  <c:v>41775</c:v>
                </c:pt>
                <c:pt idx="430">
                  <c:v>41776</c:v>
                </c:pt>
                <c:pt idx="431">
                  <c:v>41778</c:v>
                </c:pt>
                <c:pt idx="432">
                  <c:v>41779</c:v>
                </c:pt>
                <c:pt idx="433">
                  <c:v>41780</c:v>
                </c:pt>
                <c:pt idx="434">
                  <c:v>41781</c:v>
                </c:pt>
                <c:pt idx="435">
                  <c:v>41782</c:v>
                </c:pt>
                <c:pt idx="436">
                  <c:v>41783</c:v>
                </c:pt>
                <c:pt idx="437">
                  <c:v>41785</c:v>
                </c:pt>
                <c:pt idx="438">
                  <c:v>41786</c:v>
                </c:pt>
                <c:pt idx="439">
                  <c:v>41787</c:v>
                </c:pt>
                <c:pt idx="440">
                  <c:v>41788</c:v>
                </c:pt>
                <c:pt idx="441">
                  <c:v>41789</c:v>
                </c:pt>
                <c:pt idx="442">
                  <c:v>41790</c:v>
                </c:pt>
                <c:pt idx="443">
                  <c:v>41792</c:v>
                </c:pt>
                <c:pt idx="444">
                  <c:v>41793</c:v>
                </c:pt>
                <c:pt idx="445">
                  <c:v>41794</c:v>
                </c:pt>
                <c:pt idx="446">
                  <c:v>41795</c:v>
                </c:pt>
                <c:pt idx="447">
                  <c:v>41796</c:v>
                </c:pt>
                <c:pt idx="448">
                  <c:v>41797</c:v>
                </c:pt>
                <c:pt idx="449">
                  <c:v>41799</c:v>
                </c:pt>
                <c:pt idx="450">
                  <c:v>41800</c:v>
                </c:pt>
                <c:pt idx="451">
                  <c:v>41801</c:v>
                </c:pt>
                <c:pt idx="452">
                  <c:v>41802</c:v>
                </c:pt>
                <c:pt idx="453">
                  <c:v>41803</c:v>
                </c:pt>
                <c:pt idx="454">
                  <c:v>41804</c:v>
                </c:pt>
                <c:pt idx="455">
                  <c:v>41806</c:v>
                </c:pt>
                <c:pt idx="456">
                  <c:v>41807</c:v>
                </c:pt>
                <c:pt idx="457">
                  <c:v>41808</c:v>
                </c:pt>
                <c:pt idx="458">
                  <c:v>41809</c:v>
                </c:pt>
                <c:pt idx="459">
                  <c:v>41810</c:v>
                </c:pt>
                <c:pt idx="460">
                  <c:v>41811</c:v>
                </c:pt>
                <c:pt idx="461">
                  <c:v>41813</c:v>
                </c:pt>
                <c:pt idx="462">
                  <c:v>41814</c:v>
                </c:pt>
                <c:pt idx="463">
                  <c:v>41815</c:v>
                </c:pt>
                <c:pt idx="464">
                  <c:v>41816</c:v>
                </c:pt>
                <c:pt idx="465">
                  <c:v>41817</c:v>
                </c:pt>
                <c:pt idx="466">
                  <c:v>41818</c:v>
                </c:pt>
                <c:pt idx="467">
                  <c:v>41820</c:v>
                </c:pt>
                <c:pt idx="468">
                  <c:v>41821</c:v>
                </c:pt>
                <c:pt idx="469">
                  <c:v>41822</c:v>
                </c:pt>
                <c:pt idx="470">
                  <c:v>41823</c:v>
                </c:pt>
                <c:pt idx="471">
                  <c:v>41824</c:v>
                </c:pt>
                <c:pt idx="472">
                  <c:v>41825</c:v>
                </c:pt>
                <c:pt idx="473">
                  <c:v>41827</c:v>
                </c:pt>
                <c:pt idx="474">
                  <c:v>41828</c:v>
                </c:pt>
                <c:pt idx="475">
                  <c:v>41829</c:v>
                </c:pt>
                <c:pt idx="476">
                  <c:v>41830</c:v>
                </c:pt>
                <c:pt idx="477">
                  <c:v>41831</c:v>
                </c:pt>
                <c:pt idx="478">
                  <c:v>41832</c:v>
                </c:pt>
                <c:pt idx="479">
                  <c:v>41834</c:v>
                </c:pt>
                <c:pt idx="480">
                  <c:v>41835</c:v>
                </c:pt>
                <c:pt idx="481">
                  <c:v>41836</c:v>
                </c:pt>
                <c:pt idx="482">
                  <c:v>41837</c:v>
                </c:pt>
                <c:pt idx="483">
                  <c:v>41838</c:v>
                </c:pt>
                <c:pt idx="484">
                  <c:v>41839</c:v>
                </c:pt>
                <c:pt idx="485">
                  <c:v>41841</c:v>
                </c:pt>
                <c:pt idx="486">
                  <c:v>41842</c:v>
                </c:pt>
                <c:pt idx="487">
                  <c:v>41843</c:v>
                </c:pt>
                <c:pt idx="488">
                  <c:v>41844</c:v>
                </c:pt>
                <c:pt idx="489">
                  <c:v>41845</c:v>
                </c:pt>
                <c:pt idx="490">
                  <c:v>41846</c:v>
                </c:pt>
                <c:pt idx="491">
                  <c:v>41848</c:v>
                </c:pt>
                <c:pt idx="492">
                  <c:v>41849</c:v>
                </c:pt>
                <c:pt idx="493">
                  <c:v>41850</c:v>
                </c:pt>
                <c:pt idx="494">
                  <c:v>41851</c:v>
                </c:pt>
                <c:pt idx="495">
                  <c:v>41852</c:v>
                </c:pt>
                <c:pt idx="496">
                  <c:v>41853</c:v>
                </c:pt>
                <c:pt idx="497">
                  <c:v>41855</c:v>
                </c:pt>
                <c:pt idx="498">
                  <c:v>41856</c:v>
                </c:pt>
                <c:pt idx="499">
                  <c:v>41857</c:v>
                </c:pt>
                <c:pt idx="500">
                  <c:v>41858</c:v>
                </c:pt>
                <c:pt idx="501">
                  <c:v>41859</c:v>
                </c:pt>
                <c:pt idx="502">
                  <c:v>41860</c:v>
                </c:pt>
                <c:pt idx="503">
                  <c:v>41862</c:v>
                </c:pt>
                <c:pt idx="504">
                  <c:v>41863</c:v>
                </c:pt>
                <c:pt idx="505">
                  <c:v>41864</c:v>
                </c:pt>
                <c:pt idx="506">
                  <c:v>41865</c:v>
                </c:pt>
                <c:pt idx="507">
                  <c:v>41866</c:v>
                </c:pt>
                <c:pt idx="508">
                  <c:v>41867</c:v>
                </c:pt>
                <c:pt idx="509">
                  <c:v>41869</c:v>
                </c:pt>
                <c:pt idx="510">
                  <c:v>41870</c:v>
                </c:pt>
                <c:pt idx="511">
                  <c:v>41871</c:v>
                </c:pt>
                <c:pt idx="512">
                  <c:v>41872</c:v>
                </c:pt>
                <c:pt idx="513">
                  <c:v>41873</c:v>
                </c:pt>
                <c:pt idx="514">
                  <c:v>41874</c:v>
                </c:pt>
                <c:pt idx="515">
                  <c:v>41876</c:v>
                </c:pt>
                <c:pt idx="516">
                  <c:v>41877</c:v>
                </c:pt>
                <c:pt idx="517">
                  <c:v>41878</c:v>
                </c:pt>
                <c:pt idx="518">
                  <c:v>41879</c:v>
                </c:pt>
                <c:pt idx="519">
                  <c:v>41880</c:v>
                </c:pt>
                <c:pt idx="520">
                  <c:v>41881</c:v>
                </c:pt>
                <c:pt idx="521">
                  <c:v>41883</c:v>
                </c:pt>
                <c:pt idx="522">
                  <c:v>41884</c:v>
                </c:pt>
                <c:pt idx="523">
                  <c:v>41885</c:v>
                </c:pt>
                <c:pt idx="524">
                  <c:v>41886</c:v>
                </c:pt>
                <c:pt idx="525">
                  <c:v>41887</c:v>
                </c:pt>
                <c:pt idx="526">
                  <c:v>41888</c:v>
                </c:pt>
                <c:pt idx="527">
                  <c:v>41890</c:v>
                </c:pt>
                <c:pt idx="528">
                  <c:v>41891</c:v>
                </c:pt>
                <c:pt idx="529">
                  <c:v>41892</c:v>
                </c:pt>
                <c:pt idx="530">
                  <c:v>41893</c:v>
                </c:pt>
                <c:pt idx="531">
                  <c:v>41894</c:v>
                </c:pt>
                <c:pt idx="532">
                  <c:v>41895</c:v>
                </c:pt>
                <c:pt idx="533">
                  <c:v>41897</c:v>
                </c:pt>
                <c:pt idx="534">
                  <c:v>41898</c:v>
                </c:pt>
                <c:pt idx="535">
                  <c:v>41899</c:v>
                </c:pt>
                <c:pt idx="536">
                  <c:v>41900</c:v>
                </c:pt>
                <c:pt idx="537">
                  <c:v>41901</c:v>
                </c:pt>
                <c:pt idx="538">
                  <c:v>41902</c:v>
                </c:pt>
                <c:pt idx="539">
                  <c:v>41904</c:v>
                </c:pt>
                <c:pt idx="540">
                  <c:v>41905</c:v>
                </c:pt>
                <c:pt idx="541">
                  <c:v>41906</c:v>
                </c:pt>
                <c:pt idx="542">
                  <c:v>41907</c:v>
                </c:pt>
                <c:pt idx="543">
                  <c:v>41908</c:v>
                </c:pt>
                <c:pt idx="544">
                  <c:v>41909</c:v>
                </c:pt>
                <c:pt idx="545">
                  <c:v>41911</c:v>
                </c:pt>
                <c:pt idx="546">
                  <c:v>41912</c:v>
                </c:pt>
                <c:pt idx="547">
                  <c:v>41913</c:v>
                </c:pt>
                <c:pt idx="548">
                  <c:v>41914</c:v>
                </c:pt>
                <c:pt idx="549">
                  <c:v>41915</c:v>
                </c:pt>
                <c:pt idx="550">
                  <c:v>41916</c:v>
                </c:pt>
                <c:pt idx="551">
                  <c:v>41918</c:v>
                </c:pt>
                <c:pt idx="552">
                  <c:v>41919</c:v>
                </c:pt>
                <c:pt idx="553">
                  <c:v>41920</c:v>
                </c:pt>
                <c:pt idx="554">
                  <c:v>41921</c:v>
                </c:pt>
                <c:pt idx="555">
                  <c:v>41922</c:v>
                </c:pt>
                <c:pt idx="556">
                  <c:v>41923</c:v>
                </c:pt>
                <c:pt idx="557">
                  <c:v>41925</c:v>
                </c:pt>
                <c:pt idx="558">
                  <c:v>41926</c:v>
                </c:pt>
                <c:pt idx="559">
                  <c:v>41927</c:v>
                </c:pt>
                <c:pt idx="560">
                  <c:v>41928</c:v>
                </c:pt>
                <c:pt idx="561">
                  <c:v>41929</c:v>
                </c:pt>
                <c:pt idx="562">
                  <c:v>41930</c:v>
                </c:pt>
                <c:pt idx="563">
                  <c:v>41932</c:v>
                </c:pt>
                <c:pt idx="564">
                  <c:v>41933</c:v>
                </c:pt>
                <c:pt idx="565">
                  <c:v>41934</c:v>
                </c:pt>
                <c:pt idx="566">
                  <c:v>41935</c:v>
                </c:pt>
                <c:pt idx="567">
                  <c:v>41936</c:v>
                </c:pt>
                <c:pt idx="568">
                  <c:v>41937</c:v>
                </c:pt>
                <c:pt idx="569">
                  <c:v>41939</c:v>
                </c:pt>
                <c:pt idx="570">
                  <c:v>41940</c:v>
                </c:pt>
                <c:pt idx="571">
                  <c:v>41941</c:v>
                </c:pt>
                <c:pt idx="572">
                  <c:v>41942</c:v>
                </c:pt>
                <c:pt idx="573">
                  <c:v>41943</c:v>
                </c:pt>
                <c:pt idx="574">
                  <c:v>41944</c:v>
                </c:pt>
                <c:pt idx="575">
                  <c:v>41946</c:v>
                </c:pt>
                <c:pt idx="576">
                  <c:v>41947</c:v>
                </c:pt>
                <c:pt idx="577">
                  <c:v>41948</c:v>
                </c:pt>
                <c:pt idx="578">
                  <c:v>41949</c:v>
                </c:pt>
                <c:pt idx="579">
                  <c:v>41950</c:v>
                </c:pt>
                <c:pt idx="580">
                  <c:v>41951</c:v>
                </c:pt>
                <c:pt idx="581">
                  <c:v>41953</c:v>
                </c:pt>
                <c:pt idx="582">
                  <c:v>41954</c:v>
                </c:pt>
                <c:pt idx="583">
                  <c:v>41955</c:v>
                </c:pt>
                <c:pt idx="584">
                  <c:v>41956</c:v>
                </c:pt>
                <c:pt idx="585">
                  <c:v>41957</c:v>
                </c:pt>
                <c:pt idx="586">
                  <c:v>41958</c:v>
                </c:pt>
                <c:pt idx="587">
                  <c:v>41960</c:v>
                </c:pt>
                <c:pt idx="588">
                  <c:v>41961</c:v>
                </c:pt>
                <c:pt idx="589">
                  <c:v>41962</c:v>
                </c:pt>
                <c:pt idx="590">
                  <c:v>41963</c:v>
                </c:pt>
                <c:pt idx="591">
                  <c:v>41964</c:v>
                </c:pt>
                <c:pt idx="592">
                  <c:v>41965</c:v>
                </c:pt>
                <c:pt idx="593">
                  <c:v>41967</c:v>
                </c:pt>
                <c:pt idx="594">
                  <c:v>41968</c:v>
                </c:pt>
                <c:pt idx="595">
                  <c:v>41969</c:v>
                </c:pt>
                <c:pt idx="596">
                  <c:v>41970</c:v>
                </c:pt>
                <c:pt idx="597">
                  <c:v>41971</c:v>
                </c:pt>
                <c:pt idx="598">
                  <c:v>41972</c:v>
                </c:pt>
                <c:pt idx="599">
                  <c:v>41974</c:v>
                </c:pt>
                <c:pt idx="600">
                  <c:v>41975</c:v>
                </c:pt>
                <c:pt idx="601">
                  <c:v>41976</c:v>
                </c:pt>
                <c:pt idx="602">
                  <c:v>41977</c:v>
                </c:pt>
                <c:pt idx="603">
                  <c:v>41978</c:v>
                </c:pt>
                <c:pt idx="604">
                  <c:v>41979</c:v>
                </c:pt>
                <c:pt idx="605">
                  <c:v>41981</c:v>
                </c:pt>
                <c:pt idx="606">
                  <c:v>41982</c:v>
                </c:pt>
                <c:pt idx="607">
                  <c:v>41983</c:v>
                </c:pt>
                <c:pt idx="608">
                  <c:v>41984</c:v>
                </c:pt>
                <c:pt idx="609">
                  <c:v>41985</c:v>
                </c:pt>
                <c:pt idx="610">
                  <c:v>41986</c:v>
                </c:pt>
                <c:pt idx="611">
                  <c:v>41988</c:v>
                </c:pt>
                <c:pt idx="612">
                  <c:v>41989</c:v>
                </c:pt>
                <c:pt idx="613">
                  <c:v>41990</c:v>
                </c:pt>
                <c:pt idx="614">
                  <c:v>41991</c:v>
                </c:pt>
                <c:pt idx="615">
                  <c:v>41992</c:v>
                </c:pt>
                <c:pt idx="616">
                  <c:v>41993</c:v>
                </c:pt>
                <c:pt idx="617">
                  <c:v>41995</c:v>
                </c:pt>
                <c:pt idx="618">
                  <c:v>41996</c:v>
                </c:pt>
                <c:pt idx="619">
                  <c:v>41997</c:v>
                </c:pt>
                <c:pt idx="620">
                  <c:v>41998</c:v>
                </c:pt>
              </c:numCache>
            </c:numRef>
          </c:xVal>
          <c:yVal>
            <c:numRef>
              <c:f>Cass_Can_Daily!$C$941:$C$1561</c:f>
              <c:numCache>
                <c:formatCode>_-* #,##0_-;\-* #,##0_-;_-* "-"_-;_-@_-</c:formatCode>
                <c:ptCount val="621"/>
                <c:pt idx="0">
                  <c:v>24380.153724275697</c:v>
                </c:pt>
                <c:pt idx="1">
                  <c:v>87691.727785103838</c:v>
                </c:pt>
                <c:pt idx="2">
                  <c:v>69773.720970837501</c:v>
                </c:pt>
                <c:pt idx="3">
                  <c:v>56369.890943509774</c:v>
                </c:pt>
                <c:pt idx="4">
                  <c:v>9382.2518733718407</c:v>
                </c:pt>
                <c:pt idx="5">
                  <c:v>42177.628981730224</c:v>
                </c:pt>
                <c:pt idx="6">
                  <c:v>53759.415964692402</c:v>
                </c:pt>
                <c:pt idx="7">
                  <c:v>44469.045926728402</c:v>
                </c:pt>
                <c:pt idx="8">
                  <c:v>45149.929126209994</c:v>
                </c:pt>
                <c:pt idx="9">
                  <c:v>57524.175171002265</c:v>
                </c:pt>
                <c:pt idx="10">
                  <c:v>8968.6299297352707</c:v>
                </c:pt>
                <c:pt idx="11">
                  <c:v>49351.780055154937</c:v>
                </c:pt>
                <c:pt idx="12">
                  <c:v>53271.915186676284</c:v>
                </c:pt>
                <c:pt idx="13">
                  <c:v>44577.586443206499</c:v>
                </c:pt>
                <c:pt idx="14">
                  <c:v>46831.549880467195</c:v>
                </c:pt>
                <c:pt idx="15">
                  <c:v>53867.393723203066</c:v>
                </c:pt>
                <c:pt idx="16">
                  <c:v>5767.1855053248801</c:v>
                </c:pt>
                <c:pt idx="17">
                  <c:v>55016.674689361484</c:v>
                </c:pt>
                <c:pt idx="18">
                  <c:v>52676.377735745198</c:v>
                </c:pt>
                <c:pt idx="19">
                  <c:v>46311.373573563884</c:v>
                </c:pt>
                <c:pt idx="20">
                  <c:v>51409.982926843302</c:v>
                </c:pt>
                <c:pt idx="21">
                  <c:v>45745.527619875596</c:v>
                </c:pt>
                <c:pt idx="22">
                  <c:v>4203.00406023913</c:v>
                </c:pt>
                <c:pt idx="23">
                  <c:v>54378.715534117997</c:v>
                </c:pt>
                <c:pt idx="24">
                  <c:v>51025.278648711159</c:v>
                </c:pt>
                <c:pt idx="25">
                  <c:v>40985.815635062798</c:v>
                </c:pt>
                <c:pt idx="26">
                  <c:v>25944.03912880088</c:v>
                </c:pt>
                <c:pt idx="27">
                  <c:v>93194.638789492601</c:v>
                </c:pt>
                <c:pt idx="28">
                  <c:v>15055.9048118805</c:v>
                </c:pt>
                <c:pt idx="29">
                  <c:v>84073.933751634104</c:v>
                </c:pt>
                <c:pt idx="30">
                  <c:v>73345.739423747291</c:v>
                </c:pt>
                <c:pt idx="31">
                  <c:v>68531.032971234599</c:v>
                </c:pt>
                <c:pt idx="32">
                  <c:v>76703.586985163463</c:v>
                </c:pt>
                <c:pt idx="33">
                  <c:v>74939.592141495988</c:v>
                </c:pt>
                <c:pt idx="34">
                  <c:v>29351.730968018692</c:v>
                </c:pt>
                <c:pt idx="35">
                  <c:v>0</c:v>
                </c:pt>
                <c:pt idx="36">
                  <c:v>48856.963157115984</c:v>
                </c:pt>
                <c:pt idx="37">
                  <c:v>32298.18392433818</c:v>
                </c:pt>
                <c:pt idx="38">
                  <c:v>37043.645984400784</c:v>
                </c:pt>
                <c:pt idx="39">
                  <c:v>41100.508430528898</c:v>
                </c:pt>
                <c:pt idx="40">
                  <c:v>-3796.2198152667397</c:v>
                </c:pt>
                <c:pt idx="41">
                  <c:v>43653.367069123997</c:v>
                </c:pt>
                <c:pt idx="42">
                  <c:v>42066.918896526848</c:v>
                </c:pt>
                <c:pt idx="43">
                  <c:v>36138.012730306837</c:v>
                </c:pt>
                <c:pt idx="44">
                  <c:v>43459.039408548997</c:v>
                </c:pt>
                <c:pt idx="45">
                  <c:v>46443.289995919185</c:v>
                </c:pt>
                <c:pt idx="46">
                  <c:v>2466.588064356607</c:v>
                </c:pt>
                <c:pt idx="47">
                  <c:v>49646.707386736474</c:v>
                </c:pt>
                <c:pt idx="48">
                  <c:v>47857.201020992994</c:v>
                </c:pt>
                <c:pt idx="49">
                  <c:v>57387.671979193197</c:v>
                </c:pt>
                <c:pt idx="50">
                  <c:v>24482.023644008001</c:v>
                </c:pt>
                <c:pt idx="51">
                  <c:v>60824.014725478548</c:v>
                </c:pt>
                <c:pt idx="52">
                  <c:v>12839.565881098501</c:v>
                </c:pt>
                <c:pt idx="53">
                  <c:v>77200.542759517848</c:v>
                </c:pt>
                <c:pt idx="54">
                  <c:v>77240.646134213923</c:v>
                </c:pt>
                <c:pt idx="55">
                  <c:v>66386.911155933194</c:v>
                </c:pt>
                <c:pt idx="56">
                  <c:v>63976.783735458601</c:v>
                </c:pt>
                <c:pt idx="57">
                  <c:v>65433.207283707176</c:v>
                </c:pt>
                <c:pt idx="58">
                  <c:v>17918.602565970679</c:v>
                </c:pt>
                <c:pt idx="59">
                  <c:v>64349.596073317596</c:v>
                </c:pt>
                <c:pt idx="60">
                  <c:v>58527.875626264002</c:v>
                </c:pt>
                <c:pt idx="61">
                  <c:v>50447.190203102102</c:v>
                </c:pt>
                <c:pt idx="62">
                  <c:v>54091.954437774846</c:v>
                </c:pt>
                <c:pt idx="63">
                  <c:v>60131.7564136004</c:v>
                </c:pt>
                <c:pt idx="64">
                  <c:v>15614.40882799539</c:v>
                </c:pt>
                <c:pt idx="65">
                  <c:v>58092.659738394213</c:v>
                </c:pt>
                <c:pt idx="66">
                  <c:v>56077.098304307401</c:v>
                </c:pt>
                <c:pt idx="67">
                  <c:v>48069.155113525194</c:v>
                </c:pt>
                <c:pt idx="68">
                  <c:v>59456.905701161224</c:v>
                </c:pt>
                <c:pt idx="69">
                  <c:v>60976.171112895776</c:v>
                </c:pt>
                <c:pt idx="70">
                  <c:v>14833.513483041104</c:v>
                </c:pt>
                <c:pt idx="71">
                  <c:v>58519.658729687195</c:v>
                </c:pt>
                <c:pt idx="72">
                  <c:v>59405.554936997636</c:v>
                </c:pt>
                <c:pt idx="73">
                  <c:v>46329.236165988194</c:v>
                </c:pt>
                <c:pt idx="74">
                  <c:v>43462.515632593684</c:v>
                </c:pt>
                <c:pt idx="75">
                  <c:v>47585.834088029202</c:v>
                </c:pt>
                <c:pt idx="76">
                  <c:v>15992.449018400799</c:v>
                </c:pt>
                <c:pt idx="77">
                  <c:v>84821.285875323083</c:v>
                </c:pt>
                <c:pt idx="78">
                  <c:v>70803.747331208448</c:v>
                </c:pt>
                <c:pt idx="79">
                  <c:v>57859.018887280399</c:v>
                </c:pt>
                <c:pt idx="80">
                  <c:v>61327.657897860598</c:v>
                </c:pt>
                <c:pt idx="81">
                  <c:v>70516.207310595695</c:v>
                </c:pt>
                <c:pt idx="82">
                  <c:v>17691.075043367699</c:v>
                </c:pt>
                <c:pt idx="83">
                  <c:v>61365.550230596236</c:v>
                </c:pt>
                <c:pt idx="84">
                  <c:v>62338.423101601329</c:v>
                </c:pt>
                <c:pt idx="85">
                  <c:v>54777.962755908302</c:v>
                </c:pt>
                <c:pt idx="86">
                  <c:v>62551.567178856596</c:v>
                </c:pt>
                <c:pt idx="87">
                  <c:v>63854.925274097397</c:v>
                </c:pt>
                <c:pt idx="88">
                  <c:v>16816.580572071896</c:v>
                </c:pt>
                <c:pt idx="89">
                  <c:v>64390.993502271376</c:v>
                </c:pt>
                <c:pt idx="90">
                  <c:v>65871.895462882996</c:v>
                </c:pt>
                <c:pt idx="91">
                  <c:v>59284.386132196974</c:v>
                </c:pt>
                <c:pt idx="92">
                  <c:v>64298.980000935597</c:v>
                </c:pt>
                <c:pt idx="93">
                  <c:v>66559.125985892024</c:v>
                </c:pt>
                <c:pt idx="94">
                  <c:v>18482.921060811401</c:v>
                </c:pt>
                <c:pt idx="95">
                  <c:v>63976.2122061872</c:v>
                </c:pt>
                <c:pt idx="96">
                  <c:v>65858.792322249268</c:v>
                </c:pt>
                <c:pt idx="97">
                  <c:v>60688.2206604729</c:v>
                </c:pt>
                <c:pt idx="98">
                  <c:v>62767.241602656184</c:v>
                </c:pt>
                <c:pt idx="99">
                  <c:v>62720.895474752666</c:v>
                </c:pt>
                <c:pt idx="100">
                  <c:v>19301.9297474614</c:v>
                </c:pt>
                <c:pt idx="101">
                  <c:v>52156.061831273597</c:v>
                </c:pt>
                <c:pt idx="102">
                  <c:v>42034.997925710159</c:v>
                </c:pt>
                <c:pt idx="103">
                  <c:v>100607.31772858207</c:v>
                </c:pt>
                <c:pt idx="104">
                  <c:v>99796.175936237691</c:v>
                </c:pt>
                <c:pt idx="105">
                  <c:v>91903.258258597794</c:v>
                </c:pt>
                <c:pt idx="106">
                  <c:v>24977.058547073681</c:v>
                </c:pt>
                <c:pt idx="107">
                  <c:v>72204.219920843097</c:v>
                </c:pt>
                <c:pt idx="108">
                  <c:v>78754.326861104768</c:v>
                </c:pt>
                <c:pt idx="109">
                  <c:v>68324.405261517968</c:v>
                </c:pt>
                <c:pt idx="110">
                  <c:v>67635.6568256623</c:v>
                </c:pt>
                <c:pt idx="111">
                  <c:v>69641.343159122567</c:v>
                </c:pt>
                <c:pt idx="112">
                  <c:v>28106.659976695853</c:v>
                </c:pt>
                <c:pt idx="113">
                  <c:v>73137.883631312667</c:v>
                </c:pt>
                <c:pt idx="114">
                  <c:v>75556.861500038896</c:v>
                </c:pt>
                <c:pt idx="115">
                  <c:v>89706.496493788203</c:v>
                </c:pt>
                <c:pt idx="116">
                  <c:v>89832.537359904207</c:v>
                </c:pt>
                <c:pt idx="117">
                  <c:v>41358.455953852499</c:v>
                </c:pt>
                <c:pt idx="118">
                  <c:v>30770.626486880497</c:v>
                </c:pt>
                <c:pt idx="119">
                  <c:v>77272.232453623248</c:v>
                </c:pt>
                <c:pt idx="120">
                  <c:v>79437.27481722353</c:v>
                </c:pt>
                <c:pt idx="121">
                  <c:v>75793.087236633903</c:v>
                </c:pt>
                <c:pt idx="122">
                  <c:v>75631.834310573002</c:v>
                </c:pt>
                <c:pt idx="123">
                  <c:v>80009.341339125371</c:v>
                </c:pt>
                <c:pt idx="124">
                  <c:v>33004.785471567629</c:v>
                </c:pt>
                <c:pt idx="125">
                  <c:v>79516.783387981413</c:v>
                </c:pt>
                <c:pt idx="126">
                  <c:v>80535.352477470238</c:v>
                </c:pt>
                <c:pt idx="127">
                  <c:v>70551.744216093648</c:v>
                </c:pt>
                <c:pt idx="128">
                  <c:v>61567.3310613043</c:v>
                </c:pt>
                <c:pt idx="129">
                  <c:v>56145.764129715957</c:v>
                </c:pt>
                <c:pt idx="130">
                  <c:v>58927.655537237799</c:v>
                </c:pt>
                <c:pt idx="131">
                  <c:v>114208.57509550602</c:v>
                </c:pt>
                <c:pt idx="132">
                  <c:v>111509.11490396201</c:v>
                </c:pt>
                <c:pt idx="133">
                  <c:v>95704.093280350731</c:v>
                </c:pt>
                <c:pt idx="134">
                  <c:v>48102.641568273801</c:v>
                </c:pt>
                <c:pt idx="135">
                  <c:v>96800.326041694105</c:v>
                </c:pt>
                <c:pt idx="136">
                  <c:v>47198.637493492701</c:v>
                </c:pt>
                <c:pt idx="137">
                  <c:v>92847.294833121952</c:v>
                </c:pt>
                <c:pt idx="138">
                  <c:v>102253.74769862001</c:v>
                </c:pt>
                <c:pt idx="139">
                  <c:v>91545.866586866483</c:v>
                </c:pt>
                <c:pt idx="140">
                  <c:v>101445.407308924</c:v>
                </c:pt>
                <c:pt idx="141">
                  <c:v>103171.55359899699</c:v>
                </c:pt>
                <c:pt idx="142">
                  <c:v>45874.575682903349</c:v>
                </c:pt>
                <c:pt idx="143">
                  <c:v>76648.380721555775</c:v>
                </c:pt>
                <c:pt idx="144">
                  <c:v>88890.677457117694</c:v>
                </c:pt>
                <c:pt idx="145">
                  <c:v>78297.658825708495</c:v>
                </c:pt>
                <c:pt idx="146">
                  <c:v>79528.101920570596</c:v>
                </c:pt>
                <c:pt idx="147">
                  <c:v>99318.39545869008</c:v>
                </c:pt>
                <c:pt idx="148">
                  <c:v>36396.239601666159</c:v>
                </c:pt>
                <c:pt idx="149">
                  <c:v>87000.829595870804</c:v>
                </c:pt>
                <c:pt idx="150">
                  <c:v>92214.29631148238</c:v>
                </c:pt>
                <c:pt idx="151">
                  <c:v>80699.353509704204</c:v>
                </c:pt>
                <c:pt idx="152">
                  <c:v>74014.483838413318</c:v>
                </c:pt>
                <c:pt idx="153">
                  <c:v>75182.041978056499</c:v>
                </c:pt>
                <c:pt idx="154">
                  <c:v>37374.294010358499</c:v>
                </c:pt>
                <c:pt idx="155">
                  <c:v>100486.66800633007</c:v>
                </c:pt>
                <c:pt idx="156">
                  <c:v>90696.381583408802</c:v>
                </c:pt>
                <c:pt idx="157">
                  <c:v>99100.554202650703</c:v>
                </c:pt>
                <c:pt idx="158">
                  <c:v>91790.517704311991</c:v>
                </c:pt>
                <c:pt idx="159">
                  <c:v>99799.859390894329</c:v>
                </c:pt>
                <c:pt idx="160">
                  <c:v>39706.268968785465</c:v>
                </c:pt>
                <c:pt idx="161">
                  <c:v>93327.985999355296</c:v>
                </c:pt>
                <c:pt idx="162">
                  <c:v>93100.020538162731</c:v>
                </c:pt>
                <c:pt idx="163">
                  <c:v>81690.315977450198</c:v>
                </c:pt>
                <c:pt idx="164">
                  <c:v>101137.725841135</c:v>
                </c:pt>
                <c:pt idx="165">
                  <c:v>90405.312067385603</c:v>
                </c:pt>
                <c:pt idx="166">
                  <c:v>32523.595960103801</c:v>
                </c:pt>
                <c:pt idx="167">
                  <c:v>94014.872171113631</c:v>
                </c:pt>
                <c:pt idx="168">
                  <c:v>96993.462053638548</c:v>
                </c:pt>
                <c:pt idx="169">
                  <c:v>87638.291662637173</c:v>
                </c:pt>
                <c:pt idx="170">
                  <c:v>86580.450322422868</c:v>
                </c:pt>
                <c:pt idx="171">
                  <c:v>92258.744068996006</c:v>
                </c:pt>
                <c:pt idx="172">
                  <c:v>42297.001905046098</c:v>
                </c:pt>
                <c:pt idx="173">
                  <c:v>90553.980839951779</c:v>
                </c:pt>
                <c:pt idx="174">
                  <c:v>93619.772723286893</c:v>
                </c:pt>
                <c:pt idx="175">
                  <c:v>93922.016060556038</c:v>
                </c:pt>
                <c:pt idx="176">
                  <c:v>93230.759657523668</c:v>
                </c:pt>
                <c:pt idx="177">
                  <c:v>94946.081358154057</c:v>
                </c:pt>
                <c:pt idx="178">
                  <c:v>43913.366393180397</c:v>
                </c:pt>
                <c:pt idx="179">
                  <c:v>105230.49202569993</c:v>
                </c:pt>
                <c:pt idx="180">
                  <c:v>101648.94417730194</c:v>
                </c:pt>
                <c:pt idx="181">
                  <c:v>78752.820157249604</c:v>
                </c:pt>
                <c:pt idx="182">
                  <c:v>136444.99189955599</c:v>
                </c:pt>
                <c:pt idx="183">
                  <c:v>122485.32456869607</c:v>
                </c:pt>
                <c:pt idx="184">
                  <c:v>57821.063671946897</c:v>
                </c:pt>
                <c:pt idx="185">
                  <c:v>106667.87943165902</c:v>
                </c:pt>
                <c:pt idx="186">
                  <c:v>103366.56866168807</c:v>
                </c:pt>
                <c:pt idx="187">
                  <c:v>104824.00891473111</c:v>
                </c:pt>
                <c:pt idx="188">
                  <c:v>100758.642253941</c:v>
                </c:pt>
                <c:pt idx="189">
                  <c:v>102454.25141728707</c:v>
                </c:pt>
                <c:pt idx="190">
                  <c:v>52138.8682918833</c:v>
                </c:pt>
                <c:pt idx="191">
                  <c:v>96212.970729879205</c:v>
                </c:pt>
                <c:pt idx="192">
                  <c:v>110128.65019299313</c:v>
                </c:pt>
                <c:pt idx="193">
                  <c:v>98399.488708214412</c:v>
                </c:pt>
                <c:pt idx="194">
                  <c:v>47486.680465090598</c:v>
                </c:pt>
                <c:pt idx="195">
                  <c:v>102066.81523532093</c:v>
                </c:pt>
                <c:pt idx="196">
                  <c:v>42008.501169126001</c:v>
                </c:pt>
                <c:pt idx="197">
                  <c:v>90053.908948415701</c:v>
                </c:pt>
                <c:pt idx="198">
                  <c:v>89824.711529546301</c:v>
                </c:pt>
                <c:pt idx="199">
                  <c:v>93140.659955134179</c:v>
                </c:pt>
                <c:pt idx="200">
                  <c:v>93848.670306202403</c:v>
                </c:pt>
                <c:pt idx="201">
                  <c:v>91032.499090766432</c:v>
                </c:pt>
                <c:pt idx="202">
                  <c:v>38623.582551102838</c:v>
                </c:pt>
                <c:pt idx="203">
                  <c:v>94286.648977839548</c:v>
                </c:pt>
                <c:pt idx="204">
                  <c:v>89515.672816655424</c:v>
                </c:pt>
                <c:pt idx="205">
                  <c:v>79806.296218504998</c:v>
                </c:pt>
                <c:pt idx="206">
                  <c:v>78820.439283897431</c:v>
                </c:pt>
                <c:pt idx="207">
                  <c:v>82951.337269749012</c:v>
                </c:pt>
                <c:pt idx="208">
                  <c:v>24030.857391367001</c:v>
                </c:pt>
                <c:pt idx="209">
                  <c:v>122421.587651145</c:v>
                </c:pt>
                <c:pt idx="210">
                  <c:v>106186.052010486</c:v>
                </c:pt>
                <c:pt idx="211">
                  <c:v>91163.963227280998</c:v>
                </c:pt>
                <c:pt idx="212">
                  <c:v>89769.499539526776</c:v>
                </c:pt>
                <c:pt idx="213">
                  <c:v>95149.842811201248</c:v>
                </c:pt>
                <c:pt idx="214">
                  <c:v>41343.557294635</c:v>
                </c:pt>
                <c:pt idx="215">
                  <c:v>110998.55088962599</c:v>
                </c:pt>
                <c:pt idx="216">
                  <c:v>108365.32531822108</c:v>
                </c:pt>
                <c:pt idx="217">
                  <c:v>114682.02790176</c:v>
                </c:pt>
                <c:pt idx="218">
                  <c:v>115453.446316441</c:v>
                </c:pt>
                <c:pt idx="219">
                  <c:v>130864.27130263112</c:v>
                </c:pt>
                <c:pt idx="220">
                  <c:v>65964.216603414374</c:v>
                </c:pt>
                <c:pt idx="221">
                  <c:v>139732.88745114295</c:v>
                </c:pt>
                <c:pt idx="222">
                  <c:v>134175.21869155311</c:v>
                </c:pt>
                <c:pt idx="223">
                  <c:v>20658.220159436183</c:v>
                </c:pt>
                <c:pt idx="224">
                  <c:v>0</c:v>
                </c:pt>
                <c:pt idx="225">
                  <c:v>0</c:v>
                </c:pt>
                <c:pt idx="226">
                  <c:v>20714.512344710001</c:v>
                </c:pt>
                <c:pt idx="227">
                  <c:v>81516.428706239007</c:v>
                </c:pt>
                <c:pt idx="228">
                  <c:v>83629.222655042031</c:v>
                </c:pt>
                <c:pt idx="229">
                  <c:v>74763.587004598405</c:v>
                </c:pt>
                <c:pt idx="230">
                  <c:v>71179.102392519388</c:v>
                </c:pt>
                <c:pt idx="231">
                  <c:v>71883.432369945105</c:v>
                </c:pt>
                <c:pt idx="232">
                  <c:v>26171.935672619398</c:v>
                </c:pt>
                <c:pt idx="233">
                  <c:v>51139.2147336731</c:v>
                </c:pt>
                <c:pt idx="234">
                  <c:v>109265.71993392291</c:v>
                </c:pt>
                <c:pt idx="235">
                  <c:v>96014.257731453399</c:v>
                </c:pt>
                <c:pt idx="236">
                  <c:v>44404.008372649936</c:v>
                </c:pt>
                <c:pt idx="237">
                  <c:v>91612.760987196467</c:v>
                </c:pt>
                <c:pt idx="238">
                  <c:v>33469.135792368084</c:v>
                </c:pt>
                <c:pt idx="239">
                  <c:v>88821.964669244393</c:v>
                </c:pt>
                <c:pt idx="240">
                  <c:v>91113.682757097893</c:v>
                </c:pt>
                <c:pt idx="241">
                  <c:v>31954.421564542699</c:v>
                </c:pt>
                <c:pt idx="242">
                  <c:v>84794.232753841396</c:v>
                </c:pt>
                <c:pt idx="243">
                  <c:v>95628.015920075006</c:v>
                </c:pt>
                <c:pt idx="244">
                  <c:v>32032.506088118105</c:v>
                </c:pt>
                <c:pt idx="245">
                  <c:v>82790.632547531</c:v>
                </c:pt>
                <c:pt idx="246">
                  <c:v>82229.744931175956</c:v>
                </c:pt>
                <c:pt idx="247">
                  <c:v>81980.372452968673</c:v>
                </c:pt>
                <c:pt idx="248">
                  <c:v>80883.193330472379</c:v>
                </c:pt>
                <c:pt idx="249">
                  <c:v>65839.035586663522</c:v>
                </c:pt>
                <c:pt idx="250">
                  <c:v>25964.203085903318</c:v>
                </c:pt>
                <c:pt idx="251">
                  <c:v>81329.849395320372</c:v>
                </c:pt>
                <c:pt idx="252">
                  <c:v>76174.168943601602</c:v>
                </c:pt>
                <c:pt idx="253">
                  <c:v>72852.0496297504</c:v>
                </c:pt>
                <c:pt idx="254">
                  <c:v>75531.320995166738</c:v>
                </c:pt>
                <c:pt idx="255">
                  <c:v>74406.032450803905</c:v>
                </c:pt>
                <c:pt idx="256">
                  <c:v>25633.983833610928</c:v>
                </c:pt>
                <c:pt idx="257">
                  <c:v>70326.198144828406</c:v>
                </c:pt>
                <c:pt idx="258">
                  <c:v>68705.952801213876</c:v>
                </c:pt>
                <c:pt idx="259">
                  <c:v>50994.015990616594</c:v>
                </c:pt>
                <c:pt idx="260">
                  <c:v>41912.2511542824</c:v>
                </c:pt>
                <c:pt idx="261">
                  <c:v>125680.017406446</c:v>
                </c:pt>
                <c:pt idx="262">
                  <c:v>21984.058573695002</c:v>
                </c:pt>
                <c:pt idx="263">
                  <c:v>83746.450088738595</c:v>
                </c:pt>
                <c:pt idx="264">
                  <c:v>75461.936478469099</c:v>
                </c:pt>
                <c:pt idx="265">
                  <c:v>61923.0749948671</c:v>
                </c:pt>
                <c:pt idx="266">
                  <c:v>73018.483163852899</c:v>
                </c:pt>
                <c:pt idx="267">
                  <c:v>72497.132622549907</c:v>
                </c:pt>
                <c:pt idx="268">
                  <c:v>22366.678829052398</c:v>
                </c:pt>
                <c:pt idx="269">
                  <c:v>74576.092507675348</c:v>
                </c:pt>
                <c:pt idx="270">
                  <c:v>70770.902634809318</c:v>
                </c:pt>
                <c:pt idx="271">
                  <c:v>62382.272562629274</c:v>
                </c:pt>
                <c:pt idx="272">
                  <c:v>66269.589792455896</c:v>
                </c:pt>
                <c:pt idx="273">
                  <c:v>71053.351943622431</c:v>
                </c:pt>
                <c:pt idx="274">
                  <c:v>19333.740195268529</c:v>
                </c:pt>
                <c:pt idx="275">
                  <c:v>63577.691518035594</c:v>
                </c:pt>
                <c:pt idx="276">
                  <c:v>64742.759244684195</c:v>
                </c:pt>
                <c:pt idx="277">
                  <c:v>56614.655420260584</c:v>
                </c:pt>
                <c:pt idx="278">
                  <c:v>67933.1748366065</c:v>
                </c:pt>
                <c:pt idx="279">
                  <c:v>68461.8809867292</c:v>
                </c:pt>
                <c:pt idx="280">
                  <c:v>18654.002821693019</c:v>
                </c:pt>
                <c:pt idx="281">
                  <c:v>63394.352806799048</c:v>
                </c:pt>
                <c:pt idx="282">
                  <c:v>67529.819737342303</c:v>
                </c:pt>
                <c:pt idx="283">
                  <c:v>56426.304998849046</c:v>
                </c:pt>
                <c:pt idx="284">
                  <c:v>51266.357639732538</c:v>
                </c:pt>
                <c:pt idx="285">
                  <c:v>51296.335160316994</c:v>
                </c:pt>
                <c:pt idx="286">
                  <c:v>5896.5326367459247</c:v>
                </c:pt>
                <c:pt idx="287">
                  <c:v>81192.522953998705</c:v>
                </c:pt>
                <c:pt idx="288">
                  <c:v>70931.658202593797</c:v>
                </c:pt>
                <c:pt idx="289">
                  <c:v>66434.10842395878</c:v>
                </c:pt>
                <c:pt idx="290">
                  <c:v>62024.611501779284</c:v>
                </c:pt>
                <c:pt idx="291">
                  <c:v>67171.09292531063</c:v>
                </c:pt>
                <c:pt idx="292">
                  <c:v>20214.787847936499</c:v>
                </c:pt>
                <c:pt idx="293">
                  <c:v>61782.327424078801</c:v>
                </c:pt>
                <c:pt idx="294">
                  <c:v>62977.095422321348</c:v>
                </c:pt>
                <c:pt idx="295">
                  <c:v>62292.572763640266</c:v>
                </c:pt>
                <c:pt idx="296">
                  <c:v>60735.795797745348</c:v>
                </c:pt>
                <c:pt idx="297">
                  <c:v>62095.131388786584</c:v>
                </c:pt>
                <c:pt idx="298">
                  <c:v>17186.939754772098</c:v>
                </c:pt>
                <c:pt idx="299">
                  <c:v>64086.156608607002</c:v>
                </c:pt>
                <c:pt idx="300">
                  <c:v>64395.314417403548</c:v>
                </c:pt>
                <c:pt idx="301">
                  <c:v>67442.887210768895</c:v>
                </c:pt>
                <c:pt idx="302">
                  <c:v>64414.617508535674</c:v>
                </c:pt>
                <c:pt idx="303">
                  <c:v>67530.3380879139</c:v>
                </c:pt>
                <c:pt idx="304">
                  <c:v>24758.122543090696</c:v>
                </c:pt>
                <c:pt idx="305">
                  <c:v>92252.779050201425</c:v>
                </c:pt>
                <c:pt idx="306">
                  <c:v>89825.476706163798</c:v>
                </c:pt>
                <c:pt idx="307">
                  <c:v>27387.907540376083</c:v>
                </c:pt>
                <c:pt idx="308">
                  <c:v>63928.254501373398</c:v>
                </c:pt>
                <c:pt idx="309">
                  <c:v>64535.030710252198</c:v>
                </c:pt>
                <c:pt idx="310">
                  <c:v>24280.99267731588</c:v>
                </c:pt>
                <c:pt idx="311">
                  <c:v>63058.560993739004</c:v>
                </c:pt>
                <c:pt idx="312">
                  <c:v>43361.978344182702</c:v>
                </c:pt>
                <c:pt idx="313">
                  <c:v>37009.387372304613</c:v>
                </c:pt>
                <c:pt idx="314">
                  <c:v>117419.745771248</c:v>
                </c:pt>
                <c:pt idx="315">
                  <c:v>90277.938847019075</c:v>
                </c:pt>
                <c:pt idx="316">
                  <c:v>17149.688240389383</c:v>
                </c:pt>
                <c:pt idx="317">
                  <c:v>64350.2050173682</c:v>
                </c:pt>
                <c:pt idx="318">
                  <c:v>64854.526623065249</c:v>
                </c:pt>
                <c:pt idx="319">
                  <c:v>62776.087192538995</c:v>
                </c:pt>
                <c:pt idx="320">
                  <c:v>53659.324180743184</c:v>
                </c:pt>
                <c:pt idx="321">
                  <c:v>60923.509910690002</c:v>
                </c:pt>
                <c:pt idx="322">
                  <c:v>15209.3896072712</c:v>
                </c:pt>
                <c:pt idx="323">
                  <c:v>65774.045475495601</c:v>
                </c:pt>
                <c:pt idx="324">
                  <c:v>68345.063492826899</c:v>
                </c:pt>
                <c:pt idx="325">
                  <c:v>62237.478307929137</c:v>
                </c:pt>
                <c:pt idx="326">
                  <c:v>65628.602152863401</c:v>
                </c:pt>
                <c:pt idx="327">
                  <c:v>69489.175564109057</c:v>
                </c:pt>
                <c:pt idx="328">
                  <c:v>20518.355340242098</c:v>
                </c:pt>
                <c:pt idx="329">
                  <c:v>75648.146996351468</c:v>
                </c:pt>
                <c:pt idx="330">
                  <c:v>83532.394229102531</c:v>
                </c:pt>
                <c:pt idx="331">
                  <c:v>75127.054262132704</c:v>
                </c:pt>
                <c:pt idx="332">
                  <c:v>83715.8983120005</c:v>
                </c:pt>
                <c:pt idx="333">
                  <c:v>89479.489100346895</c:v>
                </c:pt>
                <c:pt idx="334">
                  <c:v>35739.163278124601</c:v>
                </c:pt>
                <c:pt idx="335">
                  <c:v>92344.401066990191</c:v>
                </c:pt>
                <c:pt idx="336">
                  <c:v>93890.571963901457</c:v>
                </c:pt>
                <c:pt idx="337">
                  <c:v>77644.877796036657</c:v>
                </c:pt>
                <c:pt idx="338">
                  <c:v>15323.481238142809</c:v>
                </c:pt>
                <c:pt idx="339">
                  <c:v>0</c:v>
                </c:pt>
                <c:pt idx="340">
                  <c:v>0</c:v>
                </c:pt>
                <c:pt idx="341">
                  <c:v>86240.732692203848</c:v>
                </c:pt>
                <c:pt idx="342">
                  <c:v>57274.337485282194</c:v>
                </c:pt>
                <c:pt idx="343">
                  <c:v>42953.5692425788</c:v>
                </c:pt>
                <c:pt idx="344">
                  <c:v>41855.933839022036</c:v>
                </c:pt>
                <c:pt idx="345">
                  <c:v>52689.794194227485</c:v>
                </c:pt>
                <c:pt idx="346">
                  <c:v>3552.1586960114901</c:v>
                </c:pt>
                <c:pt idx="347">
                  <c:v>49641.456874605399</c:v>
                </c:pt>
                <c:pt idx="348">
                  <c:v>60350.842204500201</c:v>
                </c:pt>
                <c:pt idx="349">
                  <c:v>51597.088009202613</c:v>
                </c:pt>
                <c:pt idx="350">
                  <c:v>54114.162082930074</c:v>
                </c:pt>
                <c:pt idx="351">
                  <c:v>58010.554066459212</c:v>
                </c:pt>
                <c:pt idx="352">
                  <c:v>11225.6888894186</c:v>
                </c:pt>
                <c:pt idx="353">
                  <c:v>62446.723236928701</c:v>
                </c:pt>
                <c:pt idx="354">
                  <c:v>64333.1858883315</c:v>
                </c:pt>
                <c:pt idx="355">
                  <c:v>54165.588868003397</c:v>
                </c:pt>
                <c:pt idx="356">
                  <c:v>57521.233663749874</c:v>
                </c:pt>
                <c:pt idx="357">
                  <c:v>70171.830546699202</c:v>
                </c:pt>
                <c:pt idx="358">
                  <c:v>17897.503418564218</c:v>
                </c:pt>
                <c:pt idx="359">
                  <c:v>66416.872331694394</c:v>
                </c:pt>
                <c:pt idx="360">
                  <c:v>65012.972027520198</c:v>
                </c:pt>
                <c:pt idx="361">
                  <c:v>55351.000921027</c:v>
                </c:pt>
                <c:pt idx="362">
                  <c:v>62396.874954532002</c:v>
                </c:pt>
                <c:pt idx="363">
                  <c:v>51565.324795125503</c:v>
                </c:pt>
                <c:pt idx="364">
                  <c:v>29056.1855376534</c:v>
                </c:pt>
                <c:pt idx="365">
                  <c:v>99812.507315059222</c:v>
                </c:pt>
                <c:pt idx="366">
                  <c:v>76963.2614655746</c:v>
                </c:pt>
                <c:pt idx="367">
                  <c:v>58481.356359317346</c:v>
                </c:pt>
                <c:pt idx="368">
                  <c:v>54754.031633890198</c:v>
                </c:pt>
                <c:pt idx="369">
                  <c:v>64538.050332836698</c:v>
                </c:pt>
                <c:pt idx="370">
                  <c:v>18843.857689872897</c:v>
                </c:pt>
                <c:pt idx="371">
                  <c:v>57516.195161499374</c:v>
                </c:pt>
                <c:pt idx="372">
                  <c:v>70075.423350952013</c:v>
                </c:pt>
                <c:pt idx="373">
                  <c:v>57979.439918922697</c:v>
                </c:pt>
                <c:pt idx="374">
                  <c:v>62594.318507619297</c:v>
                </c:pt>
                <c:pt idx="375">
                  <c:v>72097.6012835078</c:v>
                </c:pt>
                <c:pt idx="376">
                  <c:v>21605.406175587599</c:v>
                </c:pt>
                <c:pt idx="377">
                  <c:v>67893.561119111095</c:v>
                </c:pt>
                <c:pt idx="378">
                  <c:v>72088.917863351278</c:v>
                </c:pt>
                <c:pt idx="379">
                  <c:v>59493.964670785186</c:v>
                </c:pt>
                <c:pt idx="380">
                  <c:v>62771.107189639857</c:v>
                </c:pt>
                <c:pt idx="381">
                  <c:v>77149.068479127338</c:v>
                </c:pt>
                <c:pt idx="382">
                  <c:v>22998.6937999611</c:v>
                </c:pt>
                <c:pt idx="383">
                  <c:v>69305.250977759468</c:v>
                </c:pt>
                <c:pt idx="384">
                  <c:v>73351.384209702548</c:v>
                </c:pt>
                <c:pt idx="385">
                  <c:v>65325.880582277037</c:v>
                </c:pt>
                <c:pt idx="386">
                  <c:v>66341.367223661422</c:v>
                </c:pt>
                <c:pt idx="387">
                  <c:v>68287.059661408406</c:v>
                </c:pt>
                <c:pt idx="388">
                  <c:v>29464.633981086896</c:v>
                </c:pt>
                <c:pt idx="389">
                  <c:v>56517.845025408613</c:v>
                </c:pt>
                <c:pt idx="390">
                  <c:v>96226.118368374693</c:v>
                </c:pt>
                <c:pt idx="391">
                  <c:v>79439.895659958027</c:v>
                </c:pt>
                <c:pt idx="392">
                  <c:v>75492.011835488971</c:v>
                </c:pt>
                <c:pt idx="393">
                  <c:v>71810.075004710074</c:v>
                </c:pt>
                <c:pt idx="394">
                  <c:v>23756.248985161841</c:v>
                </c:pt>
                <c:pt idx="395">
                  <c:v>68340.393069473168</c:v>
                </c:pt>
                <c:pt idx="396">
                  <c:v>73364.091639093822</c:v>
                </c:pt>
                <c:pt idx="397">
                  <c:v>63936.809411530085</c:v>
                </c:pt>
                <c:pt idx="398">
                  <c:v>64157.617995427936</c:v>
                </c:pt>
                <c:pt idx="399">
                  <c:v>79141.647404230273</c:v>
                </c:pt>
                <c:pt idx="400">
                  <c:v>25105.5445850371</c:v>
                </c:pt>
                <c:pt idx="401">
                  <c:v>76373.493435048382</c:v>
                </c:pt>
                <c:pt idx="402">
                  <c:v>75838.410680111148</c:v>
                </c:pt>
                <c:pt idx="403">
                  <c:v>68871.852949629378</c:v>
                </c:pt>
                <c:pt idx="404">
                  <c:v>71628.892294952748</c:v>
                </c:pt>
                <c:pt idx="405">
                  <c:v>76177.962457387723</c:v>
                </c:pt>
                <c:pt idx="406">
                  <c:v>27065.785237685192</c:v>
                </c:pt>
                <c:pt idx="407">
                  <c:v>81885.727493055005</c:v>
                </c:pt>
                <c:pt idx="408">
                  <c:v>75216.130504754401</c:v>
                </c:pt>
                <c:pt idx="409">
                  <c:v>69019.310621652578</c:v>
                </c:pt>
                <c:pt idx="410">
                  <c:v>78305.553985736202</c:v>
                </c:pt>
                <c:pt idx="411">
                  <c:v>80823.463372651371</c:v>
                </c:pt>
                <c:pt idx="412">
                  <c:v>30243.676170012899</c:v>
                </c:pt>
                <c:pt idx="413">
                  <c:v>71538.869181653703</c:v>
                </c:pt>
                <c:pt idx="414">
                  <c:v>71458.528350985231</c:v>
                </c:pt>
                <c:pt idx="415">
                  <c:v>47461.950523769097</c:v>
                </c:pt>
                <c:pt idx="416">
                  <c:v>134429.42501717285</c:v>
                </c:pt>
                <c:pt idx="417">
                  <c:v>148048.87453995398</c:v>
                </c:pt>
                <c:pt idx="418">
                  <c:v>49061.461341143666</c:v>
                </c:pt>
                <c:pt idx="419">
                  <c:v>42884.660804105195</c:v>
                </c:pt>
                <c:pt idx="420">
                  <c:v>39221.330133291798</c:v>
                </c:pt>
                <c:pt idx="421">
                  <c:v>85119.704105257668</c:v>
                </c:pt>
                <c:pt idx="422">
                  <c:v>74778.360087951296</c:v>
                </c:pt>
                <c:pt idx="423">
                  <c:v>81085.391099839995</c:v>
                </c:pt>
                <c:pt idx="424">
                  <c:v>34697.745916370302</c:v>
                </c:pt>
                <c:pt idx="425">
                  <c:v>83751.354000100997</c:v>
                </c:pt>
                <c:pt idx="426">
                  <c:v>86873.563760423305</c:v>
                </c:pt>
                <c:pt idx="427">
                  <c:v>84602.385087021001</c:v>
                </c:pt>
                <c:pt idx="428">
                  <c:v>87565.555443149438</c:v>
                </c:pt>
                <c:pt idx="429">
                  <c:v>90732.239938276631</c:v>
                </c:pt>
                <c:pt idx="430">
                  <c:v>37784.257755796898</c:v>
                </c:pt>
                <c:pt idx="431">
                  <c:v>85319.413719489399</c:v>
                </c:pt>
                <c:pt idx="432">
                  <c:v>86308.386915219031</c:v>
                </c:pt>
                <c:pt idx="433">
                  <c:v>91418.437632656831</c:v>
                </c:pt>
                <c:pt idx="434">
                  <c:v>90991.425377649022</c:v>
                </c:pt>
                <c:pt idx="435">
                  <c:v>91111.512410460622</c:v>
                </c:pt>
                <c:pt idx="436">
                  <c:v>39652.146785401674</c:v>
                </c:pt>
                <c:pt idx="437">
                  <c:v>91055.999490272123</c:v>
                </c:pt>
                <c:pt idx="438">
                  <c:v>91506.161683940896</c:v>
                </c:pt>
                <c:pt idx="439">
                  <c:v>83769.412491361378</c:v>
                </c:pt>
                <c:pt idx="440">
                  <c:v>83399.889652695827</c:v>
                </c:pt>
                <c:pt idx="441">
                  <c:v>77155.114593654638</c:v>
                </c:pt>
                <c:pt idx="442">
                  <c:v>37318.108925801585</c:v>
                </c:pt>
                <c:pt idx="443">
                  <c:v>157474.35120516201</c:v>
                </c:pt>
                <c:pt idx="444">
                  <c:v>116595.05998094202</c:v>
                </c:pt>
                <c:pt idx="445">
                  <c:v>117678.10392670307</c:v>
                </c:pt>
                <c:pt idx="446">
                  <c:v>113486.11741616507</c:v>
                </c:pt>
                <c:pt idx="447">
                  <c:v>57185.546807476065</c:v>
                </c:pt>
                <c:pt idx="448">
                  <c:v>52348.966121377802</c:v>
                </c:pt>
                <c:pt idx="449">
                  <c:v>105132.70737523392</c:v>
                </c:pt>
                <c:pt idx="450">
                  <c:v>93192.165377727622</c:v>
                </c:pt>
                <c:pt idx="451">
                  <c:v>90549.689154770007</c:v>
                </c:pt>
                <c:pt idx="452">
                  <c:v>103660.28455026294</c:v>
                </c:pt>
                <c:pt idx="453">
                  <c:v>105974.67235267107</c:v>
                </c:pt>
                <c:pt idx="454">
                  <c:v>51188.273869124598</c:v>
                </c:pt>
                <c:pt idx="455">
                  <c:v>92834.384058449607</c:v>
                </c:pt>
                <c:pt idx="456">
                  <c:v>95809.047246511138</c:v>
                </c:pt>
                <c:pt idx="457">
                  <c:v>90578.698382185306</c:v>
                </c:pt>
                <c:pt idx="458">
                  <c:v>91992.662421978705</c:v>
                </c:pt>
                <c:pt idx="459">
                  <c:v>92685.770469478404</c:v>
                </c:pt>
                <c:pt idx="460">
                  <c:v>44136.053696142146</c:v>
                </c:pt>
                <c:pt idx="461">
                  <c:v>94034.531569813305</c:v>
                </c:pt>
                <c:pt idx="462">
                  <c:v>107751.86213387293</c:v>
                </c:pt>
                <c:pt idx="463">
                  <c:v>100635.48147258107</c:v>
                </c:pt>
                <c:pt idx="464">
                  <c:v>102941.43675590899</c:v>
                </c:pt>
                <c:pt idx="465">
                  <c:v>102782.86692028107</c:v>
                </c:pt>
                <c:pt idx="466">
                  <c:v>55081.3411864109</c:v>
                </c:pt>
                <c:pt idx="467">
                  <c:v>90480.925430729098</c:v>
                </c:pt>
                <c:pt idx="468">
                  <c:v>122178.72267900986</c:v>
                </c:pt>
                <c:pt idx="469">
                  <c:v>115421.58481723102</c:v>
                </c:pt>
                <c:pt idx="470">
                  <c:v>108034.68816499015</c:v>
                </c:pt>
                <c:pt idx="471">
                  <c:v>97485.467652195905</c:v>
                </c:pt>
                <c:pt idx="472">
                  <c:v>48084.247830317901</c:v>
                </c:pt>
                <c:pt idx="473">
                  <c:v>95439.074701272068</c:v>
                </c:pt>
                <c:pt idx="474">
                  <c:v>96915.29609410913</c:v>
                </c:pt>
                <c:pt idx="475">
                  <c:v>83551.838118580927</c:v>
                </c:pt>
                <c:pt idx="476">
                  <c:v>83451.9299455945</c:v>
                </c:pt>
                <c:pt idx="477">
                  <c:v>102986.5181821</c:v>
                </c:pt>
                <c:pt idx="478">
                  <c:v>38761.647112402003</c:v>
                </c:pt>
                <c:pt idx="479">
                  <c:v>103888.63657578599</c:v>
                </c:pt>
                <c:pt idx="480">
                  <c:v>104874.96655942786</c:v>
                </c:pt>
                <c:pt idx="481">
                  <c:v>98468.557571591999</c:v>
                </c:pt>
                <c:pt idx="482">
                  <c:v>102498.775843297</c:v>
                </c:pt>
                <c:pt idx="483">
                  <c:v>104118.62736671408</c:v>
                </c:pt>
                <c:pt idx="484">
                  <c:v>48973.711017879301</c:v>
                </c:pt>
                <c:pt idx="485">
                  <c:v>110346.76246276102</c:v>
                </c:pt>
                <c:pt idx="486">
                  <c:v>107381.88078657399</c:v>
                </c:pt>
                <c:pt idx="487">
                  <c:v>96583.4406699432</c:v>
                </c:pt>
                <c:pt idx="488">
                  <c:v>102209.7437125</c:v>
                </c:pt>
                <c:pt idx="489">
                  <c:v>105102.193536241</c:v>
                </c:pt>
                <c:pt idx="490">
                  <c:v>49696.599388221774</c:v>
                </c:pt>
                <c:pt idx="491">
                  <c:v>111146.67734793707</c:v>
                </c:pt>
                <c:pt idx="492">
                  <c:v>111285.98979528405</c:v>
                </c:pt>
                <c:pt idx="493">
                  <c:v>97930.468480591095</c:v>
                </c:pt>
                <c:pt idx="494">
                  <c:v>97742.927683833623</c:v>
                </c:pt>
                <c:pt idx="495">
                  <c:v>171562.57776035811</c:v>
                </c:pt>
                <c:pt idx="496">
                  <c:v>70273.552819692632</c:v>
                </c:pt>
                <c:pt idx="497">
                  <c:v>118338.72501092602</c:v>
                </c:pt>
                <c:pt idx="498">
                  <c:v>111998.440736294</c:v>
                </c:pt>
                <c:pt idx="499">
                  <c:v>95513.282145846199</c:v>
                </c:pt>
                <c:pt idx="500">
                  <c:v>90136.138201430993</c:v>
                </c:pt>
                <c:pt idx="501">
                  <c:v>97335.818550060198</c:v>
                </c:pt>
                <c:pt idx="502">
                  <c:v>42547.795230596275</c:v>
                </c:pt>
                <c:pt idx="503">
                  <c:v>94559.20246526043</c:v>
                </c:pt>
                <c:pt idx="504">
                  <c:v>85637.336242585894</c:v>
                </c:pt>
                <c:pt idx="505">
                  <c:v>104343.997443905</c:v>
                </c:pt>
                <c:pt idx="506">
                  <c:v>102326.25122814302</c:v>
                </c:pt>
                <c:pt idx="507">
                  <c:v>38088.543292271999</c:v>
                </c:pt>
                <c:pt idx="508">
                  <c:v>29034.892102940699</c:v>
                </c:pt>
                <c:pt idx="509">
                  <c:v>84316.430546316318</c:v>
                </c:pt>
                <c:pt idx="510">
                  <c:v>79925.144663535379</c:v>
                </c:pt>
                <c:pt idx="511">
                  <c:v>72245.695908821406</c:v>
                </c:pt>
                <c:pt idx="512">
                  <c:v>84661.142282553032</c:v>
                </c:pt>
                <c:pt idx="513">
                  <c:v>84482.097888070231</c:v>
                </c:pt>
                <c:pt idx="514">
                  <c:v>27448.283561597302</c:v>
                </c:pt>
                <c:pt idx="515">
                  <c:v>95901.674116277427</c:v>
                </c:pt>
                <c:pt idx="516">
                  <c:v>99179.982174411722</c:v>
                </c:pt>
                <c:pt idx="517">
                  <c:v>89673.486585819439</c:v>
                </c:pt>
                <c:pt idx="518">
                  <c:v>86616.689442798728</c:v>
                </c:pt>
                <c:pt idx="519">
                  <c:v>87344.311898034997</c:v>
                </c:pt>
                <c:pt idx="520">
                  <c:v>41856.053441224401</c:v>
                </c:pt>
                <c:pt idx="521">
                  <c:v>154329.151485615</c:v>
                </c:pt>
                <c:pt idx="522">
                  <c:v>128960.301945819</c:v>
                </c:pt>
                <c:pt idx="523">
                  <c:v>123051.16007281102</c:v>
                </c:pt>
                <c:pt idx="524">
                  <c:v>138150.46792922515</c:v>
                </c:pt>
                <c:pt idx="525">
                  <c:v>137508.35407077483</c:v>
                </c:pt>
                <c:pt idx="526">
                  <c:v>66746.444968202399</c:v>
                </c:pt>
                <c:pt idx="527">
                  <c:v>0</c:v>
                </c:pt>
                <c:pt idx="528">
                  <c:v>0</c:v>
                </c:pt>
                <c:pt idx="529">
                  <c:v>34773.936000000002</c:v>
                </c:pt>
                <c:pt idx="530">
                  <c:v>57147.6</c:v>
                </c:pt>
                <c:pt idx="531">
                  <c:v>64860.364073122946</c:v>
                </c:pt>
                <c:pt idx="532">
                  <c:v>13489.496682927789</c:v>
                </c:pt>
                <c:pt idx="533">
                  <c:v>63902.322728960484</c:v>
                </c:pt>
                <c:pt idx="534">
                  <c:v>74159.800758432873</c:v>
                </c:pt>
                <c:pt idx="535">
                  <c:v>67575.251397362372</c:v>
                </c:pt>
                <c:pt idx="536">
                  <c:v>67897.835694518857</c:v>
                </c:pt>
                <c:pt idx="537">
                  <c:v>69947.524017720498</c:v>
                </c:pt>
                <c:pt idx="538">
                  <c:v>24007.022292751517</c:v>
                </c:pt>
                <c:pt idx="539">
                  <c:v>69479.287276807372</c:v>
                </c:pt>
                <c:pt idx="540">
                  <c:v>71013.499574426314</c:v>
                </c:pt>
                <c:pt idx="541">
                  <c:v>63854.161152613029</c:v>
                </c:pt>
                <c:pt idx="542">
                  <c:v>67253.223568557107</c:v>
                </c:pt>
                <c:pt idx="543">
                  <c:v>69705.338100033274</c:v>
                </c:pt>
                <c:pt idx="544">
                  <c:v>23936.452443665017</c:v>
                </c:pt>
                <c:pt idx="545">
                  <c:v>61383.077772725475</c:v>
                </c:pt>
                <c:pt idx="546">
                  <c:v>45191.520120958994</c:v>
                </c:pt>
                <c:pt idx="547">
                  <c:v>100392.522640689</c:v>
                </c:pt>
                <c:pt idx="548">
                  <c:v>96104.334643053648</c:v>
                </c:pt>
                <c:pt idx="549">
                  <c:v>44485.435799259998</c:v>
                </c:pt>
                <c:pt idx="550">
                  <c:v>26927.79036634188</c:v>
                </c:pt>
                <c:pt idx="551">
                  <c:v>86808.177757664307</c:v>
                </c:pt>
                <c:pt idx="552">
                  <c:v>88124.232800388578</c:v>
                </c:pt>
                <c:pt idx="553">
                  <c:v>83372.693321899307</c:v>
                </c:pt>
                <c:pt idx="554">
                  <c:v>28825.943239379583</c:v>
                </c:pt>
                <c:pt idx="555">
                  <c:v>71647.392153395602</c:v>
                </c:pt>
                <c:pt idx="556">
                  <c:v>24962.997336994005</c:v>
                </c:pt>
                <c:pt idx="557">
                  <c:v>65722.761551172167</c:v>
                </c:pt>
                <c:pt idx="558">
                  <c:v>66446.907484679468</c:v>
                </c:pt>
                <c:pt idx="559">
                  <c:v>64238.312830452574</c:v>
                </c:pt>
                <c:pt idx="560">
                  <c:v>68368.254278078399</c:v>
                </c:pt>
                <c:pt idx="561">
                  <c:v>69799.599419525606</c:v>
                </c:pt>
                <c:pt idx="562">
                  <c:v>21973.358960638696</c:v>
                </c:pt>
                <c:pt idx="563">
                  <c:v>62389.071847684994</c:v>
                </c:pt>
                <c:pt idx="564">
                  <c:v>71105.627007569201</c:v>
                </c:pt>
                <c:pt idx="565">
                  <c:v>64264.071943174204</c:v>
                </c:pt>
                <c:pt idx="566">
                  <c:v>69290.712444828838</c:v>
                </c:pt>
                <c:pt idx="567">
                  <c:v>68613.318718892493</c:v>
                </c:pt>
                <c:pt idx="568">
                  <c:v>22586.888468956698</c:v>
                </c:pt>
                <c:pt idx="569">
                  <c:v>67543.906468478905</c:v>
                </c:pt>
                <c:pt idx="570">
                  <c:v>68072.429659479298</c:v>
                </c:pt>
                <c:pt idx="571">
                  <c:v>58374.469822765648</c:v>
                </c:pt>
                <c:pt idx="572">
                  <c:v>53459.418985938297</c:v>
                </c:pt>
                <c:pt idx="573">
                  <c:v>45268.5258196871</c:v>
                </c:pt>
                <c:pt idx="574">
                  <c:v>38895.542489538784</c:v>
                </c:pt>
                <c:pt idx="575">
                  <c:v>78939.429081704468</c:v>
                </c:pt>
                <c:pt idx="576">
                  <c:v>75639.200184205794</c:v>
                </c:pt>
                <c:pt idx="577">
                  <c:v>60608.2140449418</c:v>
                </c:pt>
                <c:pt idx="578">
                  <c:v>58411.366522226148</c:v>
                </c:pt>
                <c:pt idx="579">
                  <c:v>68732.173219892895</c:v>
                </c:pt>
                <c:pt idx="580">
                  <c:v>17723.692459824499</c:v>
                </c:pt>
                <c:pt idx="581">
                  <c:v>58185.154151608403</c:v>
                </c:pt>
                <c:pt idx="582">
                  <c:v>68690.992819001767</c:v>
                </c:pt>
                <c:pt idx="583">
                  <c:v>58190.375085125503</c:v>
                </c:pt>
                <c:pt idx="584">
                  <c:v>58216.269930680159</c:v>
                </c:pt>
                <c:pt idx="585">
                  <c:v>65510.123490148384</c:v>
                </c:pt>
                <c:pt idx="586">
                  <c:v>13029.87203483809</c:v>
                </c:pt>
                <c:pt idx="587">
                  <c:v>61040.596183004804</c:v>
                </c:pt>
                <c:pt idx="588">
                  <c:v>62968.487538741698</c:v>
                </c:pt>
                <c:pt idx="589">
                  <c:v>53448.7121389522</c:v>
                </c:pt>
                <c:pt idx="590">
                  <c:v>54564.972675794612</c:v>
                </c:pt>
                <c:pt idx="591">
                  <c:v>69418.571715567057</c:v>
                </c:pt>
                <c:pt idx="592">
                  <c:v>15822.062772416912</c:v>
                </c:pt>
                <c:pt idx="593">
                  <c:v>64393.715516074299</c:v>
                </c:pt>
                <c:pt idx="594">
                  <c:v>64030.204750663965</c:v>
                </c:pt>
                <c:pt idx="595">
                  <c:v>53510.032929223496</c:v>
                </c:pt>
                <c:pt idx="596">
                  <c:v>53349.127220182374</c:v>
                </c:pt>
                <c:pt idx="597">
                  <c:v>53235.223790423057</c:v>
                </c:pt>
                <c:pt idx="598">
                  <c:v>16129.958064699489</c:v>
                </c:pt>
                <c:pt idx="599">
                  <c:v>75884.743334177576</c:v>
                </c:pt>
                <c:pt idx="600">
                  <c:v>65937.892983856233</c:v>
                </c:pt>
                <c:pt idx="601">
                  <c:v>59997.614990337403</c:v>
                </c:pt>
                <c:pt idx="602">
                  <c:v>50662.629296229403</c:v>
                </c:pt>
                <c:pt idx="603">
                  <c:v>59720.548704917885</c:v>
                </c:pt>
                <c:pt idx="604">
                  <c:v>12433.764352951912</c:v>
                </c:pt>
                <c:pt idx="605">
                  <c:v>59082.707059246699</c:v>
                </c:pt>
                <c:pt idx="606">
                  <c:v>55343.362967883666</c:v>
                </c:pt>
                <c:pt idx="607">
                  <c:v>48612.536577364299</c:v>
                </c:pt>
                <c:pt idx="608">
                  <c:v>58074.224904217175</c:v>
                </c:pt>
                <c:pt idx="609">
                  <c:v>59072.921450736976</c:v>
                </c:pt>
                <c:pt idx="610">
                  <c:v>12602.850033874087</c:v>
                </c:pt>
                <c:pt idx="611">
                  <c:v>57712.535212761075</c:v>
                </c:pt>
                <c:pt idx="612">
                  <c:v>59589.596559066602</c:v>
                </c:pt>
                <c:pt idx="613">
                  <c:v>51593.837620028098</c:v>
                </c:pt>
                <c:pt idx="614">
                  <c:v>62436.854268696065</c:v>
                </c:pt>
                <c:pt idx="615">
                  <c:v>63088.406355494248</c:v>
                </c:pt>
                <c:pt idx="616">
                  <c:v>21434.207459857898</c:v>
                </c:pt>
                <c:pt idx="617">
                  <c:v>62363.310609777138</c:v>
                </c:pt>
                <c:pt idx="618">
                  <c:v>89359.502791629231</c:v>
                </c:pt>
                <c:pt idx="619">
                  <c:v>81845.086849860731</c:v>
                </c:pt>
                <c:pt idx="620">
                  <c:v>25730.0162014048</c:v>
                </c:pt>
              </c:numCache>
            </c:numRef>
          </c:yVal>
        </c:ser>
        <c:axId val="102241792"/>
        <c:axId val="102243328"/>
      </c:scatterChart>
      <c:valAx>
        <c:axId val="102241792"/>
        <c:scaling>
          <c:orientation val="minMax"/>
        </c:scaling>
        <c:axPos val="b"/>
        <c:numFmt formatCode="yyyy/mm/dd" sourceLinked="1"/>
        <c:tickLblPos val="low"/>
        <c:crossAx val="102243328"/>
        <c:crosses val="autoZero"/>
        <c:crossBetween val="midCat"/>
      </c:valAx>
      <c:valAx>
        <c:axId val="102243328"/>
        <c:scaling>
          <c:orientation val="minMax"/>
        </c:scaling>
        <c:axPos val="l"/>
        <c:majorGridlines/>
        <c:numFmt formatCode="_-* #,##0_-;\-* #,##0_-;_-* &quot;-&quot;_-;_-@_-" sourceLinked="1"/>
        <c:tickLblPos val="nextTo"/>
        <c:crossAx val="102241792"/>
        <c:crosses val="autoZero"/>
        <c:crossBetween val="midCat"/>
      </c:valAx>
    </c:plotArea>
    <c:legend>
      <c:legendPos val="r"/>
      <c:layout>
        <c:manualLayout>
          <c:xMode val="edge"/>
          <c:yMode val="edge"/>
          <c:x val="0.92891144768890566"/>
          <c:y val="0.39153781700815521"/>
          <c:w val="5.2599792827346885E-2"/>
          <c:h val="0.22962268980494568"/>
        </c:manualLayout>
      </c:layout>
    </c:legend>
    <c:plotVisOnly val="1"/>
  </c:chart>
  <c:externalData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ko-KR"/>
  <c:clrMapOvr bg1="lt1" tx1="dk1" bg2="lt2" tx2="dk2" accent1="accent1" accent2="accent2" accent3="accent3" accent4="accent4" accent5="accent5" accent6="accent6" hlink="hlink" folHlink="folHlink"/>
  <c:chart>
    <c:plotArea>
      <c:layout/>
      <c:lineChart>
        <c:grouping val="standard"/>
        <c:ser>
          <c:idx val="0"/>
          <c:order val="0"/>
          <c:tx>
            <c:strRef>
              <c:f>Sheet1!$B$1</c:f>
              <c:strCache>
                <c:ptCount val="1"/>
                <c:pt idx="0">
                  <c:v>판매량 </c:v>
                </c:pt>
              </c:strCache>
            </c:strRef>
          </c:tx>
          <c:marker>
            <c:symbol val="circle"/>
            <c:size val="3"/>
          </c:marker>
          <c:cat>
            <c:numRef>
              <c:f>Sheet1!$A$2:$A$42</c:f>
              <c:numCache>
                <c:formatCode>General</c:formatCode>
                <c:ptCount val="41"/>
                <c:pt idx="0">
                  <c:v>-10</c:v>
                </c:pt>
                <c:pt idx="1">
                  <c:v>-9</c:v>
                </c:pt>
                <c:pt idx="2">
                  <c:v>-8</c:v>
                </c:pt>
                <c:pt idx="3">
                  <c:v>-7</c:v>
                </c:pt>
                <c:pt idx="4">
                  <c:v>-6</c:v>
                </c:pt>
                <c:pt idx="5">
                  <c:v>-5</c:v>
                </c:pt>
                <c:pt idx="6">
                  <c:v>-4</c:v>
                </c:pt>
                <c:pt idx="7">
                  <c:v>-3</c:v>
                </c:pt>
                <c:pt idx="8">
                  <c:v>-2</c:v>
                </c:pt>
                <c:pt idx="9">
                  <c:v>-1</c:v>
                </c:pt>
                <c:pt idx="10">
                  <c:v>0</c:v>
                </c:pt>
                <c:pt idx="11">
                  <c:v>1</c:v>
                </c:pt>
                <c:pt idx="12">
                  <c:v>2</c:v>
                </c:pt>
                <c:pt idx="13">
                  <c:v>3</c:v>
                </c:pt>
                <c:pt idx="14">
                  <c:v>4</c:v>
                </c:pt>
                <c:pt idx="15">
                  <c:v>5</c:v>
                </c:pt>
                <c:pt idx="16">
                  <c:v>6</c:v>
                </c:pt>
                <c:pt idx="17">
                  <c:v>7</c:v>
                </c:pt>
                <c:pt idx="18">
                  <c:v>8</c:v>
                </c:pt>
                <c:pt idx="19">
                  <c:v>9</c:v>
                </c:pt>
                <c:pt idx="20">
                  <c:v>10</c:v>
                </c:pt>
                <c:pt idx="21">
                  <c:v>11</c:v>
                </c:pt>
                <c:pt idx="22">
                  <c:v>12</c:v>
                </c:pt>
                <c:pt idx="23">
                  <c:v>13</c:v>
                </c:pt>
                <c:pt idx="24">
                  <c:v>14</c:v>
                </c:pt>
                <c:pt idx="25">
                  <c:v>15</c:v>
                </c:pt>
                <c:pt idx="26">
                  <c:v>16</c:v>
                </c:pt>
                <c:pt idx="27">
                  <c:v>17</c:v>
                </c:pt>
                <c:pt idx="28">
                  <c:v>18</c:v>
                </c:pt>
                <c:pt idx="29">
                  <c:v>19</c:v>
                </c:pt>
                <c:pt idx="30">
                  <c:v>20</c:v>
                </c:pt>
                <c:pt idx="31">
                  <c:v>21</c:v>
                </c:pt>
                <c:pt idx="32">
                  <c:v>22</c:v>
                </c:pt>
                <c:pt idx="33">
                  <c:v>23</c:v>
                </c:pt>
                <c:pt idx="34">
                  <c:v>24</c:v>
                </c:pt>
                <c:pt idx="35">
                  <c:v>25</c:v>
                </c:pt>
                <c:pt idx="36">
                  <c:v>26</c:v>
                </c:pt>
                <c:pt idx="37">
                  <c:v>27</c:v>
                </c:pt>
                <c:pt idx="38">
                  <c:v>28</c:v>
                </c:pt>
                <c:pt idx="39">
                  <c:v>29</c:v>
                </c:pt>
                <c:pt idx="40">
                  <c:v>30</c:v>
                </c:pt>
              </c:numCache>
            </c:numRef>
          </c:cat>
          <c:val>
            <c:numRef>
              <c:f>Sheet1!$B$2:$B$42</c:f>
              <c:numCache>
                <c:formatCode>General</c:formatCode>
                <c:ptCount val="41"/>
                <c:pt idx="0">
                  <c:v>-24900.3</c:v>
                </c:pt>
                <c:pt idx="1">
                  <c:v>-21537.4</c:v>
                </c:pt>
                <c:pt idx="2">
                  <c:v>-18516.8</c:v>
                </c:pt>
                <c:pt idx="3">
                  <c:v>-15813.5</c:v>
                </c:pt>
                <c:pt idx="4">
                  <c:v>-13402.9</c:v>
                </c:pt>
                <c:pt idx="5">
                  <c:v>-11260.2</c:v>
                </c:pt>
                <c:pt idx="6">
                  <c:v>-9360.7000000000007</c:v>
                </c:pt>
                <c:pt idx="7">
                  <c:v>-7679.5</c:v>
                </c:pt>
                <c:pt idx="8">
                  <c:v>-6191.8</c:v>
                </c:pt>
                <c:pt idx="9">
                  <c:v>-4872.9000000000005</c:v>
                </c:pt>
                <c:pt idx="10">
                  <c:v>-3697.9</c:v>
                </c:pt>
                <c:pt idx="11">
                  <c:v>-2642.1</c:v>
                </c:pt>
                <c:pt idx="12">
                  <c:v>-1680.5</c:v>
                </c:pt>
                <c:pt idx="13">
                  <c:v>-788.3</c:v>
                </c:pt>
                <c:pt idx="14">
                  <c:v>59.5</c:v>
                </c:pt>
                <c:pt idx="15">
                  <c:v>887.9</c:v>
                </c:pt>
                <c:pt idx="16">
                  <c:v>1721.8</c:v>
                </c:pt>
                <c:pt idx="17">
                  <c:v>2586.3000000000002</c:v>
                </c:pt>
                <c:pt idx="18">
                  <c:v>3506.4</c:v>
                </c:pt>
                <c:pt idx="19">
                  <c:v>4507.5</c:v>
                </c:pt>
                <c:pt idx="20">
                  <c:v>5614.6</c:v>
                </c:pt>
                <c:pt idx="21">
                  <c:v>6853</c:v>
                </c:pt>
                <c:pt idx="22">
                  <c:v>8248.2000000000007</c:v>
                </c:pt>
                <c:pt idx="23">
                  <c:v>9825.4</c:v>
                </c:pt>
                <c:pt idx="24">
                  <c:v>11610.1</c:v>
                </c:pt>
                <c:pt idx="25">
                  <c:v>13627.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판매량 2</c:v>
                </c:pt>
              </c:strCache>
            </c:strRef>
          </c:tx>
          <c:marker>
            <c:symbol val="circle"/>
            <c:size val="3"/>
          </c:marker>
          <c:val>
            <c:numRef>
              <c:f>Sheet1!$C$2:$C$42</c:f>
              <c:numCache>
                <c:formatCode>General</c:formatCode>
                <c:ptCount val="41"/>
                <c:pt idx="25">
                  <c:v>13627.9</c:v>
                </c:pt>
                <c:pt idx="26">
                  <c:v>15904.3</c:v>
                </c:pt>
                <c:pt idx="27">
                  <c:v>18465.099999999984</c:v>
                </c:pt>
                <c:pt idx="28">
                  <c:v>21336</c:v>
                </c:pt>
                <c:pt idx="29">
                  <c:v>24542.799999999996</c:v>
                </c:pt>
                <c:pt idx="30">
                  <c:v>28111.4</c:v>
                </c:pt>
                <c:pt idx="31">
                  <c:v>32067.8</c:v>
                </c:pt>
                <c:pt idx="32">
                  <c:v>36437.9</c:v>
                </c:pt>
                <c:pt idx="33">
                  <c:v>41248.1</c:v>
                </c:pt>
                <c:pt idx="34">
                  <c:v>46524.3</c:v>
                </c:pt>
                <c:pt idx="35">
                  <c:v>52293</c:v>
                </c:pt>
                <c:pt idx="36">
                  <c:v>58580.5</c:v>
                </c:pt>
                <c:pt idx="37">
                  <c:v>65413.2</c:v>
                </c:pt>
                <c:pt idx="38">
                  <c:v>72817.5</c:v>
                </c:pt>
                <c:pt idx="39">
                  <c:v>80820.2</c:v>
                </c:pt>
                <c:pt idx="40">
                  <c:v>89447.7</c:v>
                </c:pt>
              </c:numCache>
            </c:numRef>
          </c:val>
        </c:ser>
        <c:hiLowLines/>
        <c:marker val="1"/>
        <c:axId val="103779328"/>
        <c:axId val="103875328"/>
      </c:lineChart>
      <c:catAx>
        <c:axId val="103779328"/>
        <c:scaling>
          <c:orientation val="minMax"/>
        </c:scaling>
        <c:axPos val="b"/>
        <c:numFmt formatCode="General" sourceLinked="1"/>
        <c:tickLblPos val="nextTo"/>
        <c:crossAx val="103875328"/>
        <c:crosses val="autoZero"/>
        <c:auto val="1"/>
        <c:lblAlgn val="ctr"/>
        <c:lblOffset val="100"/>
      </c:catAx>
      <c:valAx>
        <c:axId val="103875328"/>
        <c:scaling>
          <c:orientation val="minMax"/>
        </c:scaling>
        <c:axPos val="l"/>
        <c:majorGridlines/>
        <c:numFmt formatCode="General" sourceLinked="1"/>
        <c:tickLblPos val="nextTo"/>
        <c:crossAx val="103779328"/>
        <c:crosses val="autoZero"/>
        <c:crossBetween val="between"/>
      </c:valAx>
    </c:plotArea>
    <c:plotVisOnly val="1"/>
  </c:chart>
  <c:externalData r:id="rId2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lrMapOvr bg1="lt1" tx1="dk1" bg2="lt2" tx2="dk2" accent1="accent1" accent2="accent2" accent3="accent3" accent4="accent4" accent5="accent5" accent6="accent6" hlink="hlink" folHlink="folHlink"/>
  <c:chart>
    <c:plotArea>
      <c:layout/>
      <c:lineChart>
        <c:grouping val="standard"/>
        <c:ser>
          <c:idx val="0"/>
          <c:order val="0"/>
          <c:tx>
            <c:strRef>
              <c:f>Cass_Can!$C$1</c:f>
              <c:strCache>
                <c:ptCount val="1"/>
                <c:pt idx="0">
                  <c:v>실적</c:v>
                </c:pt>
              </c:strCache>
            </c:strRef>
          </c:tx>
          <c:marker>
            <c:symbol val="diamond"/>
            <c:size val="5"/>
          </c:marker>
          <c:cat>
            <c:numRef>
              <c:f>Cass_Can!$B$2:$B$19</c:f>
              <c:numCache>
                <c:formatCode>yyyy/mm/dd</c:formatCode>
                <c:ptCount val="18"/>
                <c:pt idx="0">
                  <c:v>41875</c:v>
                </c:pt>
                <c:pt idx="1">
                  <c:v>41882</c:v>
                </c:pt>
                <c:pt idx="2">
                  <c:v>41889</c:v>
                </c:pt>
                <c:pt idx="3">
                  <c:v>41896</c:v>
                </c:pt>
                <c:pt idx="4">
                  <c:v>41903</c:v>
                </c:pt>
                <c:pt idx="5">
                  <c:v>41910</c:v>
                </c:pt>
                <c:pt idx="6">
                  <c:v>41917</c:v>
                </c:pt>
                <c:pt idx="7">
                  <c:v>41924</c:v>
                </c:pt>
                <c:pt idx="8">
                  <c:v>41931</c:v>
                </c:pt>
                <c:pt idx="9">
                  <c:v>41938</c:v>
                </c:pt>
                <c:pt idx="10">
                  <c:v>41945</c:v>
                </c:pt>
                <c:pt idx="11">
                  <c:v>41952</c:v>
                </c:pt>
                <c:pt idx="12">
                  <c:v>41959</c:v>
                </c:pt>
                <c:pt idx="13">
                  <c:v>41966</c:v>
                </c:pt>
                <c:pt idx="14">
                  <c:v>41973</c:v>
                </c:pt>
                <c:pt idx="15">
                  <c:v>41980</c:v>
                </c:pt>
                <c:pt idx="16">
                  <c:v>41987</c:v>
                </c:pt>
                <c:pt idx="17">
                  <c:v>41994</c:v>
                </c:pt>
              </c:numCache>
            </c:numRef>
          </c:cat>
          <c:val>
            <c:numRef>
              <c:f>Cass_Can!$C$2:$C$19</c:f>
              <c:numCache>
                <c:formatCode>_(* #,##0_);_(* \(#,##0\);_(* "-"_);_(@_)</c:formatCode>
                <c:ptCount val="18"/>
                <c:pt idx="0">
                  <c:v>484925.49599999998</c:v>
                </c:pt>
                <c:pt idx="1">
                  <c:v>732774.19199999911</c:v>
                </c:pt>
                <c:pt idx="2">
                  <c:v>171055.49399999998</c:v>
                </c:pt>
                <c:pt idx="3">
                  <c:v>354423.85799999989</c:v>
                </c:pt>
                <c:pt idx="4">
                  <c:v>403076.11199999985</c:v>
                </c:pt>
                <c:pt idx="5">
                  <c:v>372880.62</c:v>
                </c:pt>
                <c:pt idx="6">
                  <c:v>365203.05799999984</c:v>
                </c:pt>
                <c:pt idx="7">
                  <c:v>393001.76199999999</c:v>
                </c:pt>
                <c:pt idx="8">
                  <c:v>388226.55300000001</c:v>
                </c:pt>
                <c:pt idx="9">
                  <c:v>369493.97899999999</c:v>
                </c:pt>
                <c:pt idx="10">
                  <c:v>342394.22300000046</c:v>
                </c:pt>
                <c:pt idx="11">
                  <c:v>303978.2040000002</c:v>
                </c:pt>
                <c:pt idx="12">
                  <c:v>317306.02799999999</c:v>
                </c:pt>
                <c:pt idx="13">
                  <c:v>294295.56</c:v>
                </c:pt>
                <c:pt idx="14">
                  <c:v>328654.39500000002</c:v>
                </c:pt>
                <c:pt idx="15">
                  <c:v>294371.12</c:v>
                </c:pt>
                <c:pt idx="16">
                  <c:v>315539.80799999984</c:v>
                </c:pt>
                <c:pt idx="17">
                  <c:v>331705.22500000021</c:v>
                </c:pt>
              </c:numCache>
            </c:numRef>
          </c:val>
        </c:ser>
        <c:ser>
          <c:idx val="1"/>
          <c:order val="1"/>
          <c:tx>
            <c:strRef>
              <c:f>Cass_Can!$D$1</c:f>
              <c:strCache>
                <c:ptCount val="1"/>
                <c:pt idx="0">
                  <c:v>예측</c:v>
                </c:pt>
              </c:strCache>
            </c:strRef>
          </c:tx>
          <c:marker>
            <c:symbol val="square"/>
            <c:size val="5"/>
          </c:marker>
          <c:cat>
            <c:numRef>
              <c:f>Cass_Can!$B$2:$B$19</c:f>
              <c:numCache>
                <c:formatCode>yyyy/mm/dd</c:formatCode>
                <c:ptCount val="18"/>
                <c:pt idx="0">
                  <c:v>41875</c:v>
                </c:pt>
                <c:pt idx="1">
                  <c:v>41882</c:v>
                </c:pt>
                <c:pt idx="2">
                  <c:v>41889</c:v>
                </c:pt>
                <c:pt idx="3">
                  <c:v>41896</c:v>
                </c:pt>
                <c:pt idx="4">
                  <c:v>41903</c:v>
                </c:pt>
                <c:pt idx="5">
                  <c:v>41910</c:v>
                </c:pt>
                <c:pt idx="6">
                  <c:v>41917</c:v>
                </c:pt>
                <c:pt idx="7">
                  <c:v>41924</c:v>
                </c:pt>
                <c:pt idx="8">
                  <c:v>41931</c:v>
                </c:pt>
                <c:pt idx="9">
                  <c:v>41938</c:v>
                </c:pt>
                <c:pt idx="10">
                  <c:v>41945</c:v>
                </c:pt>
                <c:pt idx="11">
                  <c:v>41952</c:v>
                </c:pt>
                <c:pt idx="12">
                  <c:v>41959</c:v>
                </c:pt>
                <c:pt idx="13">
                  <c:v>41966</c:v>
                </c:pt>
                <c:pt idx="14">
                  <c:v>41973</c:v>
                </c:pt>
                <c:pt idx="15">
                  <c:v>41980</c:v>
                </c:pt>
                <c:pt idx="16">
                  <c:v>41987</c:v>
                </c:pt>
                <c:pt idx="17">
                  <c:v>41994</c:v>
                </c:pt>
              </c:numCache>
            </c:numRef>
          </c:cat>
          <c:val>
            <c:numRef>
              <c:f>Cass_Can!$D$2:$D$19</c:f>
              <c:numCache>
                <c:formatCode>_(* #,##0_);_(* \(#,##0\);_(* "-"_);_(@_)</c:formatCode>
                <c:ptCount val="18"/>
                <c:pt idx="0">
                  <c:v>500572.19765856699</c:v>
                </c:pt>
                <c:pt idx="1">
                  <c:v>748745.88047244702</c:v>
                </c:pt>
                <c:pt idx="2">
                  <c:v>170271.39675605076</c:v>
                </c:pt>
                <c:pt idx="3">
                  <c:v>367489.75688974699</c:v>
                </c:pt>
                <c:pt idx="4">
                  <c:v>365241.96211610199</c:v>
                </c:pt>
                <c:pt idx="5">
                  <c:v>374484.68134302966</c:v>
                </c:pt>
                <c:pt idx="6">
                  <c:v>383741.43660972174</c:v>
                </c:pt>
                <c:pt idx="7">
                  <c:v>356549.19452454703</c:v>
                </c:pt>
                <c:pt idx="8">
                  <c:v>358249.69043110602</c:v>
                </c:pt>
                <c:pt idx="9">
                  <c:v>331614.29324588802</c:v>
                </c:pt>
                <c:pt idx="10">
                  <c:v>360054.07551279647</c:v>
                </c:pt>
                <c:pt idx="11">
                  <c:v>321822.78751140297</c:v>
                </c:pt>
                <c:pt idx="12">
                  <c:v>317263.40302447701</c:v>
                </c:pt>
                <c:pt idx="13">
                  <c:v>304648.26227126701</c:v>
                </c:pt>
                <c:pt idx="14">
                  <c:v>324637.19366247166</c:v>
                </c:pt>
                <c:pt idx="15">
                  <c:v>292788.602993323</c:v>
                </c:pt>
                <c:pt idx="16">
                  <c:v>315855.43747590447</c:v>
                </c:pt>
                <c:pt idx="17">
                  <c:v>343857.45943062898</c:v>
                </c:pt>
              </c:numCache>
            </c:numRef>
          </c:val>
        </c:ser>
        <c:marker val="1"/>
        <c:axId val="104940672"/>
        <c:axId val="104942208"/>
      </c:lineChart>
      <c:dateAx>
        <c:axId val="104940672"/>
        <c:scaling>
          <c:orientation val="minMax"/>
        </c:scaling>
        <c:axPos val="b"/>
        <c:numFmt formatCode="yyyy/mm/dd" sourceLinked="1"/>
        <c:tickLblPos val="nextTo"/>
        <c:crossAx val="104942208"/>
        <c:crosses val="autoZero"/>
        <c:auto val="1"/>
        <c:lblOffset val="100"/>
        <c:baseTimeUnit val="days"/>
        <c:majorUnit val="7"/>
        <c:majorTimeUnit val="days"/>
      </c:dateAx>
      <c:valAx>
        <c:axId val="104942208"/>
        <c:scaling>
          <c:orientation val="minMax"/>
        </c:scaling>
        <c:axPos val="l"/>
        <c:majorGridlines/>
        <c:numFmt formatCode="_(* #,##0_);_(* \(#,##0\);_(* &quot;-&quot;_);_(@_)" sourceLinked="1"/>
        <c:tickLblPos val="nextTo"/>
        <c:crossAx val="10494067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7379773834455776"/>
          <c:y val="0.5622305355693048"/>
          <c:w val="0.11255139860037036"/>
          <c:h val="0.1799294864261384"/>
        </c:manualLayout>
      </c:layout>
    </c:legend>
    <c:plotVisOnly val="1"/>
    <c:dispBlanksAs val="gap"/>
  </c:chart>
  <c:externalData r:id="rId2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lrMapOvr bg1="lt1" tx1="dk1" bg2="lt2" tx2="dk2" accent1="accent1" accent2="accent2" accent3="accent3" accent4="accent4" accent5="accent5" accent6="accent6" hlink="hlink" folHlink="folHlink"/>
  <c:chart>
    <c:plotArea>
      <c:layout/>
      <c:lineChart>
        <c:grouping val="standard"/>
        <c:ser>
          <c:idx val="0"/>
          <c:order val="0"/>
          <c:tx>
            <c:strRef>
              <c:f>Cass_PET!$C$1</c:f>
              <c:strCache>
                <c:ptCount val="1"/>
                <c:pt idx="0">
                  <c:v>실적</c:v>
                </c:pt>
              </c:strCache>
            </c:strRef>
          </c:tx>
          <c:marker>
            <c:symbol val="diamond"/>
            <c:size val="5"/>
          </c:marker>
          <c:cat>
            <c:numRef>
              <c:f>Cass_PET!$B$2:$B$19</c:f>
              <c:numCache>
                <c:formatCode>yyyy/mm/dd</c:formatCode>
                <c:ptCount val="18"/>
                <c:pt idx="0">
                  <c:v>41875</c:v>
                </c:pt>
                <c:pt idx="1">
                  <c:v>41882</c:v>
                </c:pt>
                <c:pt idx="2">
                  <c:v>41889</c:v>
                </c:pt>
                <c:pt idx="3">
                  <c:v>41896</c:v>
                </c:pt>
                <c:pt idx="4">
                  <c:v>41903</c:v>
                </c:pt>
                <c:pt idx="5">
                  <c:v>41910</c:v>
                </c:pt>
                <c:pt idx="6">
                  <c:v>41917</c:v>
                </c:pt>
                <c:pt idx="7">
                  <c:v>41924</c:v>
                </c:pt>
                <c:pt idx="8">
                  <c:v>41931</c:v>
                </c:pt>
                <c:pt idx="9">
                  <c:v>41938</c:v>
                </c:pt>
                <c:pt idx="10">
                  <c:v>41945</c:v>
                </c:pt>
                <c:pt idx="11">
                  <c:v>41952</c:v>
                </c:pt>
                <c:pt idx="12">
                  <c:v>41959</c:v>
                </c:pt>
                <c:pt idx="13">
                  <c:v>41966</c:v>
                </c:pt>
                <c:pt idx="14">
                  <c:v>41973</c:v>
                </c:pt>
                <c:pt idx="15">
                  <c:v>41980</c:v>
                </c:pt>
                <c:pt idx="16">
                  <c:v>41987</c:v>
                </c:pt>
                <c:pt idx="17">
                  <c:v>41994</c:v>
                </c:pt>
              </c:numCache>
            </c:numRef>
          </c:cat>
          <c:val>
            <c:numRef>
              <c:f>Cass_PET!$C$2:$C$19</c:f>
              <c:numCache>
                <c:formatCode>_(* #,##0_);_(* \(#,##0\);_(* "-"_);_(@_)</c:formatCode>
                <c:ptCount val="18"/>
                <c:pt idx="0">
                  <c:v>350869.68</c:v>
                </c:pt>
                <c:pt idx="1">
                  <c:v>617842.80000000005</c:v>
                </c:pt>
                <c:pt idx="2">
                  <c:v>153133.20000000001</c:v>
                </c:pt>
                <c:pt idx="3">
                  <c:v>246287.76</c:v>
                </c:pt>
                <c:pt idx="4">
                  <c:v>277706.63999999996</c:v>
                </c:pt>
                <c:pt idx="5">
                  <c:v>278635.68</c:v>
                </c:pt>
                <c:pt idx="6">
                  <c:v>290211.59999999998</c:v>
                </c:pt>
                <c:pt idx="7">
                  <c:v>293387.2800000002</c:v>
                </c:pt>
                <c:pt idx="8">
                  <c:v>280674.24</c:v>
                </c:pt>
                <c:pt idx="9">
                  <c:v>266066.63999999996</c:v>
                </c:pt>
                <c:pt idx="10">
                  <c:v>284542.56</c:v>
                </c:pt>
                <c:pt idx="11">
                  <c:v>259070.87999999998</c:v>
                </c:pt>
                <c:pt idx="12">
                  <c:v>261691.68</c:v>
                </c:pt>
                <c:pt idx="13">
                  <c:v>239627.04</c:v>
                </c:pt>
                <c:pt idx="14">
                  <c:v>287505.12</c:v>
                </c:pt>
                <c:pt idx="15">
                  <c:v>272036.40000000002</c:v>
                </c:pt>
                <c:pt idx="16">
                  <c:v>271055.52</c:v>
                </c:pt>
                <c:pt idx="17">
                  <c:v>312536.63999999996</c:v>
                </c:pt>
              </c:numCache>
            </c:numRef>
          </c:val>
        </c:ser>
        <c:ser>
          <c:idx val="1"/>
          <c:order val="1"/>
          <c:tx>
            <c:strRef>
              <c:f>Cass_PET!$D$1</c:f>
              <c:strCache>
                <c:ptCount val="1"/>
                <c:pt idx="0">
                  <c:v>예측</c:v>
                </c:pt>
              </c:strCache>
            </c:strRef>
          </c:tx>
          <c:marker>
            <c:symbol val="square"/>
            <c:size val="5"/>
          </c:marker>
          <c:cat>
            <c:numRef>
              <c:f>Cass_PET!$B$2:$B$19</c:f>
              <c:numCache>
                <c:formatCode>yyyy/mm/dd</c:formatCode>
                <c:ptCount val="18"/>
                <c:pt idx="0">
                  <c:v>41875</c:v>
                </c:pt>
                <c:pt idx="1">
                  <c:v>41882</c:v>
                </c:pt>
                <c:pt idx="2">
                  <c:v>41889</c:v>
                </c:pt>
                <c:pt idx="3">
                  <c:v>41896</c:v>
                </c:pt>
                <c:pt idx="4">
                  <c:v>41903</c:v>
                </c:pt>
                <c:pt idx="5">
                  <c:v>41910</c:v>
                </c:pt>
                <c:pt idx="6">
                  <c:v>41917</c:v>
                </c:pt>
                <c:pt idx="7">
                  <c:v>41924</c:v>
                </c:pt>
                <c:pt idx="8">
                  <c:v>41931</c:v>
                </c:pt>
                <c:pt idx="9">
                  <c:v>41938</c:v>
                </c:pt>
                <c:pt idx="10">
                  <c:v>41945</c:v>
                </c:pt>
                <c:pt idx="11">
                  <c:v>41952</c:v>
                </c:pt>
                <c:pt idx="12">
                  <c:v>41959</c:v>
                </c:pt>
                <c:pt idx="13">
                  <c:v>41966</c:v>
                </c:pt>
                <c:pt idx="14">
                  <c:v>41973</c:v>
                </c:pt>
                <c:pt idx="15">
                  <c:v>41980</c:v>
                </c:pt>
                <c:pt idx="16">
                  <c:v>41987</c:v>
                </c:pt>
                <c:pt idx="17">
                  <c:v>41994</c:v>
                </c:pt>
              </c:numCache>
            </c:numRef>
          </c:cat>
          <c:val>
            <c:numRef>
              <c:f>Cass_PET!$D$2:$D$19</c:f>
              <c:numCache>
                <c:formatCode>_(* #,##0_);_(* \(#,##0\);_(* "-"_);_(@_)</c:formatCode>
                <c:ptCount val="18"/>
                <c:pt idx="0">
                  <c:v>349308.46679887408</c:v>
                </c:pt>
                <c:pt idx="1">
                  <c:v>642144.383969513</c:v>
                </c:pt>
                <c:pt idx="2">
                  <c:v>153355.49312888199</c:v>
                </c:pt>
                <c:pt idx="3">
                  <c:v>256101.53194900311</c:v>
                </c:pt>
                <c:pt idx="4">
                  <c:v>296745.5425612792</c:v>
                </c:pt>
                <c:pt idx="5">
                  <c:v>288746.96456845046</c:v>
                </c:pt>
                <c:pt idx="6">
                  <c:v>290711.64252991986</c:v>
                </c:pt>
                <c:pt idx="7">
                  <c:v>273750.80998936354</c:v>
                </c:pt>
                <c:pt idx="8">
                  <c:v>264986.83978122822</c:v>
                </c:pt>
                <c:pt idx="9">
                  <c:v>254461.82354100398</c:v>
                </c:pt>
                <c:pt idx="10">
                  <c:v>298543.60579164384</c:v>
                </c:pt>
                <c:pt idx="11">
                  <c:v>266857.49340707413</c:v>
                </c:pt>
                <c:pt idx="12">
                  <c:v>261558.70943488099</c:v>
                </c:pt>
                <c:pt idx="13">
                  <c:v>233936.65625384799</c:v>
                </c:pt>
                <c:pt idx="14">
                  <c:v>296140.6807730142</c:v>
                </c:pt>
                <c:pt idx="15">
                  <c:v>263867.86184885184</c:v>
                </c:pt>
                <c:pt idx="16">
                  <c:v>287654.82244972454</c:v>
                </c:pt>
                <c:pt idx="17">
                  <c:v>314314.01549720886</c:v>
                </c:pt>
              </c:numCache>
            </c:numRef>
          </c:val>
        </c:ser>
        <c:marker val="1"/>
        <c:axId val="105298944"/>
        <c:axId val="105304832"/>
      </c:lineChart>
      <c:dateAx>
        <c:axId val="105298944"/>
        <c:scaling>
          <c:orientation val="minMax"/>
        </c:scaling>
        <c:axPos val="b"/>
        <c:numFmt formatCode="yyyy/mm/dd" sourceLinked="1"/>
        <c:tickLblPos val="nextTo"/>
        <c:crossAx val="105304832"/>
        <c:crosses val="autoZero"/>
        <c:auto val="1"/>
        <c:lblOffset val="100"/>
        <c:baseTimeUnit val="days"/>
        <c:majorUnit val="7"/>
        <c:majorTimeUnit val="days"/>
      </c:dateAx>
      <c:valAx>
        <c:axId val="105304832"/>
        <c:scaling>
          <c:orientation val="minMax"/>
        </c:scaling>
        <c:axPos val="l"/>
        <c:majorGridlines/>
        <c:numFmt formatCode="_(* #,##0_);_(* \(#,##0\);_(* &quot;-&quot;_);_(@_)" sourceLinked="1"/>
        <c:tickLblPos val="nextTo"/>
        <c:crossAx val="10529894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7229731971676039"/>
          <c:y val="0.56207039914324708"/>
          <c:w val="0.11255139860037031"/>
          <c:h val="0.17992948642613851"/>
        </c:manualLayout>
      </c:layout>
    </c:legend>
    <c:plotVisOnly val="1"/>
    <c:dispBlanksAs val="gap"/>
  </c:chart>
  <c:externalData r:id="rId2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ko-KR"/>
  <c:clrMapOvr bg1="lt1" tx1="dk1" bg2="lt2" tx2="dk2" accent1="accent1" accent2="accent2" accent3="accent3" accent4="accent4" accent5="accent5" accent6="accent6" hlink="hlink" folHlink="folHlink"/>
  <c:chart>
    <c:plotArea>
      <c:layout/>
      <c:lineChart>
        <c:grouping val="standard"/>
        <c:ser>
          <c:idx val="0"/>
          <c:order val="0"/>
          <c:tx>
            <c:strRef>
              <c:f>Cass_Keg!$C$1</c:f>
              <c:strCache>
                <c:ptCount val="1"/>
                <c:pt idx="0">
                  <c:v>실적</c:v>
                </c:pt>
              </c:strCache>
            </c:strRef>
          </c:tx>
          <c:marker>
            <c:symbol val="diamond"/>
            <c:size val="5"/>
          </c:marker>
          <c:cat>
            <c:numRef>
              <c:f>Cass_Keg!$B$2:$B$19</c:f>
              <c:numCache>
                <c:formatCode>yyyy/mm/dd</c:formatCode>
                <c:ptCount val="18"/>
                <c:pt idx="0">
                  <c:v>41875</c:v>
                </c:pt>
                <c:pt idx="1">
                  <c:v>41882</c:v>
                </c:pt>
                <c:pt idx="2">
                  <c:v>41889</c:v>
                </c:pt>
                <c:pt idx="3">
                  <c:v>41896</c:v>
                </c:pt>
                <c:pt idx="4">
                  <c:v>41903</c:v>
                </c:pt>
                <c:pt idx="5">
                  <c:v>41910</c:v>
                </c:pt>
                <c:pt idx="6">
                  <c:v>41917</c:v>
                </c:pt>
                <c:pt idx="7">
                  <c:v>41924</c:v>
                </c:pt>
                <c:pt idx="8">
                  <c:v>41931</c:v>
                </c:pt>
                <c:pt idx="9">
                  <c:v>41938</c:v>
                </c:pt>
                <c:pt idx="10">
                  <c:v>41945</c:v>
                </c:pt>
                <c:pt idx="11">
                  <c:v>41952</c:v>
                </c:pt>
                <c:pt idx="12">
                  <c:v>41959</c:v>
                </c:pt>
                <c:pt idx="13">
                  <c:v>41966</c:v>
                </c:pt>
                <c:pt idx="14">
                  <c:v>41973</c:v>
                </c:pt>
                <c:pt idx="15">
                  <c:v>41980</c:v>
                </c:pt>
                <c:pt idx="16">
                  <c:v>41987</c:v>
                </c:pt>
                <c:pt idx="17">
                  <c:v>41994</c:v>
                </c:pt>
              </c:numCache>
            </c:numRef>
          </c:cat>
          <c:val>
            <c:numRef>
              <c:f>Cass_Keg!$C$2:$C$19</c:f>
              <c:numCache>
                <c:formatCode>_(* #,##0_);_(* \(#,##0\);_(* "-"_);_(@_)</c:formatCode>
                <c:ptCount val="18"/>
                <c:pt idx="0">
                  <c:v>269856</c:v>
                </c:pt>
                <c:pt idx="1">
                  <c:v>435950</c:v>
                </c:pt>
                <c:pt idx="2">
                  <c:v>174286</c:v>
                </c:pt>
                <c:pt idx="3">
                  <c:v>274134</c:v>
                </c:pt>
                <c:pt idx="4">
                  <c:v>262268</c:v>
                </c:pt>
                <c:pt idx="5">
                  <c:v>281214</c:v>
                </c:pt>
                <c:pt idx="6">
                  <c:v>249810</c:v>
                </c:pt>
                <c:pt idx="7">
                  <c:v>249602</c:v>
                </c:pt>
                <c:pt idx="8">
                  <c:v>224798</c:v>
                </c:pt>
                <c:pt idx="9">
                  <c:v>208390</c:v>
                </c:pt>
                <c:pt idx="10">
                  <c:v>246942</c:v>
                </c:pt>
                <c:pt idx="11">
                  <c:v>207328</c:v>
                </c:pt>
                <c:pt idx="12">
                  <c:v>195840</c:v>
                </c:pt>
                <c:pt idx="13">
                  <c:v>193170</c:v>
                </c:pt>
                <c:pt idx="14">
                  <c:v>225854</c:v>
                </c:pt>
                <c:pt idx="15">
                  <c:v>190492</c:v>
                </c:pt>
                <c:pt idx="16">
                  <c:v>196212</c:v>
                </c:pt>
                <c:pt idx="17">
                  <c:v>234354</c:v>
                </c:pt>
              </c:numCache>
            </c:numRef>
          </c:val>
        </c:ser>
        <c:ser>
          <c:idx val="1"/>
          <c:order val="1"/>
          <c:tx>
            <c:strRef>
              <c:f>Cass_Keg!$D$1</c:f>
              <c:strCache>
                <c:ptCount val="1"/>
                <c:pt idx="0">
                  <c:v>예측</c:v>
                </c:pt>
              </c:strCache>
            </c:strRef>
          </c:tx>
          <c:marker>
            <c:symbol val="square"/>
            <c:size val="5"/>
          </c:marker>
          <c:cat>
            <c:numRef>
              <c:f>Cass_Keg!$B$2:$B$19</c:f>
              <c:numCache>
                <c:formatCode>yyyy/mm/dd</c:formatCode>
                <c:ptCount val="18"/>
                <c:pt idx="0">
                  <c:v>41875</c:v>
                </c:pt>
                <c:pt idx="1">
                  <c:v>41882</c:v>
                </c:pt>
                <c:pt idx="2">
                  <c:v>41889</c:v>
                </c:pt>
                <c:pt idx="3">
                  <c:v>41896</c:v>
                </c:pt>
                <c:pt idx="4">
                  <c:v>41903</c:v>
                </c:pt>
                <c:pt idx="5">
                  <c:v>41910</c:v>
                </c:pt>
                <c:pt idx="6">
                  <c:v>41917</c:v>
                </c:pt>
                <c:pt idx="7">
                  <c:v>41924</c:v>
                </c:pt>
                <c:pt idx="8">
                  <c:v>41931</c:v>
                </c:pt>
                <c:pt idx="9">
                  <c:v>41938</c:v>
                </c:pt>
                <c:pt idx="10">
                  <c:v>41945</c:v>
                </c:pt>
                <c:pt idx="11">
                  <c:v>41952</c:v>
                </c:pt>
                <c:pt idx="12">
                  <c:v>41959</c:v>
                </c:pt>
                <c:pt idx="13">
                  <c:v>41966</c:v>
                </c:pt>
                <c:pt idx="14">
                  <c:v>41973</c:v>
                </c:pt>
                <c:pt idx="15">
                  <c:v>41980</c:v>
                </c:pt>
                <c:pt idx="16">
                  <c:v>41987</c:v>
                </c:pt>
                <c:pt idx="17">
                  <c:v>41994</c:v>
                </c:pt>
              </c:numCache>
            </c:numRef>
          </c:cat>
          <c:val>
            <c:numRef>
              <c:f>Cass_Keg!$D$2:$D$19</c:f>
              <c:numCache>
                <c:formatCode>_(* #,##0_);_(* \(#,##0\);_(* "-"_);_(@_)</c:formatCode>
                <c:ptCount val="18"/>
                <c:pt idx="0">
                  <c:v>315430.39517296467</c:v>
                </c:pt>
                <c:pt idx="1">
                  <c:v>427021.65551138902</c:v>
                </c:pt>
                <c:pt idx="2">
                  <c:v>169787.87795950923</c:v>
                </c:pt>
                <c:pt idx="3">
                  <c:v>228509.34138903199</c:v>
                </c:pt>
                <c:pt idx="4">
                  <c:v>258948.66478643977</c:v>
                </c:pt>
                <c:pt idx="5">
                  <c:v>279771.73037847574</c:v>
                </c:pt>
                <c:pt idx="6">
                  <c:v>259944.03579357298</c:v>
                </c:pt>
                <c:pt idx="7">
                  <c:v>257248.21028739499</c:v>
                </c:pt>
                <c:pt idx="8">
                  <c:v>243438.053005172</c:v>
                </c:pt>
                <c:pt idx="9">
                  <c:v>206128.69336827999</c:v>
                </c:pt>
                <c:pt idx="10">
                  <c:v>250802.56842303398</c:v>
                </c:pt>
                <c:pt idx="11">
                  <c:v>207740.570952971</c:v>
                </c:pt>
                <c:pt idx="12">
                  <c:v>199295.24098002817</c:v>
                </c:pt>
                <c:pt idx="13">
                  <c:v>184190.14923032399</c:v>
                </c:pt>
                <c:pt idx="14">
                  <c:v>234039.84645257069</c:v>
                </c:pt>
                <c:pt idx="15">
                  <c:v>196818.42737130407</c:v>
                </c:pt>
                <c:pt idx="16">
                  <c:v>203198.14554341824</c:v>
                </c:pt>
                <c:pt idx="17">
                  <c:v>220077.32407986</c:v>
                </c:pt>
              </c:numCache>
            </c:numRef>
          </c:val>
        </c:ser>
        <c:marker val="1"/>
        <c:axId val="105354368"/>
        <c:axId val="105355904"/>
      </c:lineChart>
      <c:dateAx>
        <c:axId val="105354368"/>
        <c:scaling>
          <c:orientation val="minMax"/>
        </c:scaling>
        <c:axPos val="b"/>
        <c:numFmt formatCode="yyyy/mm/dd" sourceLinked="1"/>
        <c:tickLblPos val="nextTo"/>
        <c:crossAx val="105355904"/>
        <c:crosses val="autoZero"/>
        <c:auto val="1"/>
        <c:lblOffset val="100"/>
        <c:baseTimeUnit val="days"/>
        <c:majorUnit val="7"/>
        <c:majorTimeUnit val="days"/>
      </c:dateAx>
      <c:valAx>
        <c:axId val="105355904"/>
        <c:scaling>
          <c:orientation val="minMax"/>
        </c:scaling>
        <c:axPos val="l"/>
        <c:majorGridlines/>
        <c:numFmt formatCode="_(* #,##0_);_(* \(#,##0\);_(* &quot;-&quot;_);_(@_)" sourceLinked="1"/>
        <c:tickLblPos val="nextTo"/>
        <c:crossAx val="10535436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7229731971676039"/>
          <c:y val="0.56778605224110512"/>
          <c:w val="0.11255139860037018"/>
          <c:h val="0.17992948642613879"/>
        </c:manualLayout>
      </c:layout>
    </c:legend>
    <c:plotVisOnly val="1"/>
    <c:dispBlanksAs val="gap"/>
  </c:chart>
  <c:externalData r:id="rId2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lrMapOvr bg1="lt1" tx1="dk1" bg2="lt2" tx2="dk2" accent1="accent1" accent2="accent2" accent3="accent3" accent4="accent4" accent5="accent5" accent6="accent6" hlink="hlink" folHlink="folHlink"/>
  <c:chart>
    <c:plotArea>
      <c:layout/>
      <c:lineChart>
        <c:grouping val="standard"/>
        <c:ser>
          <c:idx val="0"/>
          <c:order val="0"/>
          <c:tx>
            <c:strRef>
              <c:f>CassLight_Can!$C$1</c:f>
              <c:strCache>
                <c:ptCount val="1"/>
                <c:pt idx="0">
                  <c:v>실적</c:v>
                </c:pt>
              </c:strCache>
            </c:strRef>
          </c:tx>
          <c:marker>
            <c:symbol val="diamond"/>
            <c:size val="5"/>
          </c:marker>
          <c:cat>
            <c:numRef>
              <c:f>CassLight_Can!$B$2:$B$19</c:f>
              <c:numCache>
                <c:formatCode>yyyy/mm/dd</c:formatCode>
                <c:ptCount val="18"/>
                <c:pt idx="0">
                  <c:v>41875</c:v>
                </c:pt>
                <c:pt idx="1">
                  <c:v>41882</c:v>
                </c:pt>
                <c:pt idx="2">
                  <c:v>41889</c:v>
                </c:pt>
                <c:pt idx="3">
                  <c:v>41896</c:v>
                </c:pt>
                <c:pt idx="4">
                  <c:v>41903</c:v>
                </c:pt>
                <c:pt idx="5">
                  <c:v>41910</c:v>
                </c:pt>
                <c:pt idx="6">
                  <c:v>41917</c:v>
                </c:pt>
                <c:pt idx="7">
                  <c:v>41924</c:v>
                </c:pt>
                <c:pt idx="8">
                  <c:v>41931</c:v>
                </c:pt>
                <c:pt idx="9">
                  <c:v>41938</c:v>
                </c:pt>
                <c:pt idx="10">
                  <c:v>41945</c:v>
                </c:pt>
                <c:pt idx="11">
                  <c:v>41952</c:v>
                </c:pt>
                <c:pt idx="12">
                  <c:v>41959</c:v>
                </c:pt>
                <c:pt idx="13">
                  <c:v>41966</c:v>
                </c:pt>
                <c:pt idx="14">
                  <c:v>41973</c:v>
                </c:pt>
                <c:pt idx="15">
                  <c:v>41980</c:v>
                </c:pt>
                <c:pt idx="16">
                  <c:v>41987</c:v>
                </c:pt>
                <c:pt idx="17">
                  <c:v>41994</c:v>
                </c:pt>
              </c:numCache>
            </c:numRef>
          </c:cat>
          <c:val>
            <c:numRef>
              <c:f>CassLight_Can!$C$2:$C$19</c:f>
              <c:numCache>
                <c:formatCode>_(* #,##0_);_(* \(#,##0\);_(* "-"_);_(@_)</c:formatCode>
                <c:ptCount val="18"/>
                <c:pt idx="0">
                  <c:v>41532.896000000001</c:v>
                </c:pt>
                <c:pt idx="1">
                  <c:v>79452.695999999996</c:v>
                </c:pt>
                <c:pt idx="2">
                  <c:v>16935.383999999998</c:v>
                </c:pt>
                <c:pt idx="3">
                  <c:v>27361.313999999969</c:v>
                </c:pt>
                <c:pt idx="4">
                  <c:v>31378.440000000021</c:v>
                </c:pt>
                <c:pt idx="5">
                  <c:v>33491.340000000011</c:v>
                </c:pt>
                <c:pt idx="6">
                  <c:v>34007.33</c:v>
                </c:pt>
                <c:pt idx="7">
                  <c:v>31330.844000000001</c:v>
                </c:pt>
                <c:pt idx="8">
                  <c:v>29557.471000000001</c:v>
                </c:pt>
                <c:pt idx="9">
                  <c:v>27467.18</c:v>
                </c:pt>
                <c:pt idx="10">
                  <c:v>29629.645</c:v>
                </c:pt>
                <c:pt idx="11">
                  <c:v>26475.65399999997</c:v>
                </c:pt>
                <c:pt idx="12">
                  <c:v>25633.835999999996</c:v>
                </c:pt>
                <c:pt idx="13">
                  <c:v>22377.186000000005</c:v>
                </c:pt>
                <c:pt idx="14">
                  <c:v>28612.964000000025</c:v>
                </c:pt>
                <c:pt idx="15">
                  <c:v>24241.347000000005</c:v>
                </c:pt>
                <c:pt idx="16">
                  <c:v>24482.882000000001</c:v>
                </c:pt>
                <c:pt idx="17">
                  <c:v>26145.974000000009</c:v>
                </c:pt>
              </c:numCache>
            </c:numRef>
          </c:val>
        </c:ser>
        <c:ser>
          <c:idx val="1"/>
          <c:order val="1"/>
          <c:tx>
            <c:strRef>
              <c:f>CassLight_Can!$D$1</c:f>
              <c:strCache>
                <c:ptCount val="1"/>
                <c:pt idx="0">
                  <c:v>예측</c:v>
                </c:pt>
              </c:strCache>
            </c:strRef>
          </c:tx>
          <c:marker>
            <c:symbol val="square"/>
            <c:size val="5"/>
          </c:marker>
          <c:cat>
            <c:numRef>
              <c:f>CassLight_Can!$B$2:$B$19</c:f>
              <c:numCache>
                <c:formatCode>yyyy/mm/dd</c:formatCode>
                <c:ptCount val="18"/>
                <c:pt idx="0">
                  <c:v>41875</c:v>
                </c:pt>
                <c:pt idx="1">
                  <c:v>41882</c:v>
                </c:pt>
                <c:pt idx="2">
                  <c:v>41889</c:v>
                </c:pt>
                <c:pt idx="3">
                  <c:v>41896</c:v>
                </c:pt>
                <c:pt idx="4">
                  <c:v>41903</c:v>
                </c:pt>
                <c:pt idx="5">
                  <c:v>41910</c:v>
                </c:pt>
                <c:pt idx="6">
                  <c:v>41917</c:v>
                </c:pt>
                <c:pt idx="7">
                  <c:v>41924</c:v>
                </c:pt>
                <c:pt idx="8">
                  <c:v>41931</c:v>
                </c:pt>
                <c:pt idx="9">
                  <c:v>41938</c:v>
                </c:pt>
                <c:pt idx="10">
                  <c:v>41945</c:v>
                </c:pt>
                <c:pt idx="11">
                  <c:v>41952</c:v>
                </c:pt>
                <c:pt idx="12">
                  <c:v>41959</c:v>
                </c:pt>
                <c:pt idx="13">
                  <c:v>41966</c:v>
                </c:pt>
                <c:pt idx="14">
                  <c:v>41973</c:v>
                </c:pt>
                <c:pt idx="15">
                  <c:v>41980</c:v>
                </c:pt>
                <c:pt idx="16">
                  <c:v>41987</c:v>
                </c:pt>
                <c:pt idx="17">
                  <c:v>41994</c:v>
                </c:pt>
              </c:numCache>
            </c:numRef>
          </c:cat>
          <c:val>
            <c:numRef>
              <c:f>CassLight_Can!$D$2:$D$19</c:f>
              <c:numCache>
                <c:formatCode>_(* #,##0_);_(* \(#,##0\);_(* "-"_);_(@_)</c:formatCode>
                <c:ptCount val="18"/>
                <c:pt idx="0">
                  <c:v>46323.546566503595</c:v>
                </c:pt>
                <c:pt idx="1">
                  <c:v>79588.740060753538</c:v>
                </c:pt>
                <c:pt idx="2">
                  <c:v>17532.944146988099</c:v>
                </c:pt>
                <c:pt idx="3">
                  <c:v>29088.753825735599</c:v>
                </c:pt>
                <c:pt idx="4">
                  <c:v>33106.192215462303</c:v>
                </c:pt>
                <c:pt idx="5">
                  <c:v>32555.50849206053</c:v>
                </c:pt>
                <c:pt idx="6">
                  <c:v>33318.6800985343</c:v>
                </c:pt>
                <c:pt idx="7">
                  <c:v>30195.253385011121</c:v>
                </c:pt>
                <c:pt idx="8">
                  <c:v>28849.5463269436</c:v>
                </c:pt>
                <c:pt idx="9">
                  <c:v>26882.424509264434</c:v>
                </c:pt>
                <c:pt idx="10">
                  <c:v>30853.976260646898</c:v>
                </c:pt>
                <c:pt idx="11">
                  <c:v>24906.810889597102</c:v>
                </c:pt>
                <c:pt idx="12">
                  <c:v>23808.8870707366</c:v>
                </c:pt>
                <c:pt idx="13">
                  <c:v>22462.59759375783</c:v>
                </c:pt>
                <c:pt idx="14">
                  <c:v>29156.030540890257</c:v>
                </c:pt>
                <c:pt idx="15">
                  <c:v>23663.72814055163</c:v>
                </c:pt>
                <c:pt idx="16">
                  <c:v>24159.647864803101</c:v>
                </c:pt>
                <c:pt idx="17">
                  <c:v>26740.652690276202</c:v>
                </c:pt>
              </c:numCache>
            </c:numRef>
          </c:val>
        </c:ser>
        <c:marker val="1"/>
        <c:axId val="106142720"/>
        <c:axId val="106312448"/>
      </c:lineChart>
      <c:dateAx>
        <c:axId val="106142720"/>
        <c:scaling>
          <c:orientation val="minMax"/>
        </c:scaling>
        <c:axPos val="b"/>
        <c:numFmt formatCode="yyyy/mm/dd" sourceLinked="1"/>
        <c:tickLblPos val="nextTo"/>
        <c:crossAx val="106312448"/>
        <c:crosses val="autoZero"/>
        <c:auto val="1"/>
        <c:lblOffset val="100"/>
        <c:baseTimeUnit val="days"/>
        <c:majorUnit val="7"/>
        <c:majorTimeUnit val="days"/>
      </c:dateAx>
      <c:valAx>
        <c:axId val="106312448"/>
        <c:scaling>
          <c:orientation val="minMax"/>
        </c:scaling>
        <c:axPos val="l"/>
        <c:majorGridlines/>
        <c:numFmt formatCode="_(* #,##0_);_(* \(#,##0\);_(* &quot;-&quot;_);_(@_)" sourceLinked="1"/>
        <c:tickLblPos val="nextTo"/>
        <c:crossAx val="10614272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7397424287657755"/>
          <c:y val="0.55219459418453565"/>
          <c:w val="0.11255139860037013"/>
          <c:h val="0.17992948642613893"/>
        </c:manualLayout>
      </c:layout>
    </c:legend>
    <c:plotVisOnly val="1"/>
    <c:dispBlanksAs val="gap"/>
  </c:chart>
  <c:externalData r:id="rId2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ko-KR"/>
  <c:clrMapOvr bg1="lt1" tx1="dk1" bg2="lt2" tx2="dk2" accent1="accent1" accent2="accent2" accent3="accent3" accent4="accent4" accent5="accent5" accent6="accent6" hlink="hlink" folHlink="folHlink"/>
  <c:chart>
    <c:plotArea>
      <c:layout/>
      <c:lineChart>
        <c:grouping val="standard"/>
        <c:ser>
          <c:idx val="0"/>
          <c:order val="0"/>
          <c:tx>
            <c:strRef>
              <c:f>CassLight_PET!$C$1</c:f>
              <c:strCache>
                <c:ptCount val="1"/>
                <c:pt idx="0">
                  <c:v>실적</c:v>
                </c:pt>
              </c:strCache>
            </c:strRef>
          </c:tx>
          <c:marker>
            <c:symbol val="diamond"/>
            <c:size val="5"/>
          </c:marker>
          <c:cat>
            <c:numRef>
              <c:f>CassLight_PET!$B$2:$B$19</c:f>
              <c:numCache>
                <c:formatCode>yyyy/mm/dd</c:formatCode>
                <c:ptCount val="18"/>
                <c:pt idx="0">
                  <c:v>41875</c:v>
                </c:pt>
                <c:pt idx="1">
                  <c:v>41882</c:v>
                </c:pt>
                <c:pt idx="2">
                  <c:v>41889</c:v>
                </c:pt>
                <c:pt idx="3">
                  <c:v>41896</c:v>
                </c:pt>
                <c:pt idx="4">
                  <c:v>41903</c:v>
                </c:pt>
                <c:pt idx="5">
                  <c:v>41910</c:v>
                </c:pt>
                <c:pt idx="6">
                  <c:v>41917</c:v>
                </c:pt>
                <c:pt idx="7">
                  <c:v>41924</c:v>
                </c:pt>
                <c:pt idx="8">
                  <c:v>41931</c:v>
                </c:pt>
                <c:pt idx="9">
                  <c:v>41938</c:v>
                </c:pt>
                <c:pt idx="10">
                  <c:v>41945</c:v>
                </c:pt>
                <c:pt idx="11">
                  <c:v>41952</c:v>
                </c:pt>
                <c:pt idx="12">
                  <c:v>41959</c:v>
                </c:pt>
                <c:pt idx="13">
                  <c:v>41966</c:v>
                </c:pt>
                <c:pt idx="14">
                  <c:v>41973</c:v>
                </c:pt>
                <c:pt idx="15">
                  <c:v>41980</c:v>
                </c:pt>
                <c:pt idx="16">
                  <c:v>41987</c:v>
                </c:pt>
                <c:pt idx="17">
                  <c:v>41994</c:v>
                </c:pt>
              </c:numCache>
            </c:numRef>
          </c:cat>
          <c:val>
            <c:numRef>
              <c:f>CassLight_PET!$C$2:$C$19</c:f>
              <c:numCache>
                <c:formatCode>_(* #,##0_);_(* \(#,##0\);_(* "-"_);_(@_)</c:formatCode>
                <c:ptCount val="18"/>
                <c:pt idx="0">
                  <c:v>50453.52</c:v>
                </c:pt>
                <c:pt idx="1">
                  <c:v>96069.6</c:v>
                </c:pt>
                <c:pt idx="2">
                  <c:v>25353.84</c:v>
                </c:pt>
                <c:pt idx="3">
                  <c:v>32799.599999999999</c:v>
                </c:pt>
                <c:pt idx="4">
                  <c:v>39090.720000000001</c:v>
                </c:pt>
                <c:pt idx="5">
                  <c:v>41753.279999999999</c:v>
                </c:pt>
                <c:pt idx="6">
                  <c:v>44346.239999999998</c:v>
                </c:pt>
                <c:pt idx="7">
                  <c:v>44106.96</c:v>
                </c:pt>
                <c:pt idx="8">
                  <c:v>42723.360000000001</c:v>
                </c:pt>
                <c:pt idx="9">
                  <c:v>39201.120000000003</c:v>
                </c:pt>
                <c:pt idx="10">
                  <c:v>42200.639999999999</c:v>
                </c:pt>
                <c:pt idx="11">
                  <c:v>40729.920000000006</c:v>
                </c:pt>
                <c:pt idx="12">
                  <c:v>41162.400000000001</c:v>
                </c:pt>
                <c:pt idx="13">
                  <c:v>35740.800000000003</c:v>
                </c:pt>
                <c:pt idx="14">
                  <c:v>45525.599999999999</c:v>
                </c:pt>
                <c:pt idx="15">
                  <c:v>40947.599999999999</c:v>
                </c:pt>
                <c:pt idx="16">
                  <c:v>41884.080000000002</c:v>
                </c:pt>
                <c:pt idx="17">
                  <c:v>48367.44</c:v>
                </c:pt>
              </c:numCache>
            </c:numRef>
          </c:val>
        </c:ser>
        <c:ser>
          <c:idx val="1"/>
          <c:order val="1"/>
          <c:tx>
            <c:strRef>
              <c:f>CassLight_PET!$D$1</c:f>
              <c:strCache>
                <c:ptCount val="1"/>
                <c:pt idx="0">
                  <c:v>예측</c:v>
                </c:pt>
              </c:strCache>
            </c:strRef>
          </c:tx>
          <c:marker>
            <c:symbol val="square"/>
            <c:size val="5"/>
          </c:marker>
          <c:cat>
            <c:numRef>
              <c:f>CassLight_PET!$B$2:$B$19</c:f>
              <c:numCache>
                <c:formatCode>yyyy/mm/dd</c:formatCode>
                <c:ptCount val="18"/>
                <c:pt idx="0">
                  <c:v>41875</c:v>
                </c:pt>
                <c:pt idx="1">
                  <c:v>41882</c:v>
                </c:pt>
                <c:pt idx="2">
                  <c:v>41889</c:v>
                </c:pt>
                <c:pt idx="3">
                  <c:v>41896</c:v>
                </c:pt>
                <c:pt idx="4">
                  <c:v>41903</c:v>
                </c:pt>
                <c:pt idx="5">
                  <c:v>41910</c:v>
                </c:pt>
                <c:pt idx="6">
                  <c:v>41917</c:v>
                </c:pt>
                <c:pt idx="7">
                  <c:v>41924</c:v>
                </c:pt>
                <c:pt idx="8">
                  <c:v>41931</c:v>
                </c:pt>
                <c:pt idx="9">
                  <c:v>41938</c:v>
                </c:pt>
                <c:pt idx="10">
                  <c:v>41945</c:v>
                </c:pt>
                <c:pt idx="11">
                  <c:v>41952</c:v>
                </c:pt>
                <c:pt idx="12">
                  <c:v>41959</c:v>
                </c:pt>
                <c:pt idx="13">
                  <c:v>41966</c:v>
                </c:pt>
                <c:pt idx="14">
                  <c:v>41973</c:v>
                </c:pt>
                <c:pt idx="15">
                  <c:v>41980</c:v>
                </c:pt>
                <c:pt idx="16">
                  <c:v>41987</c:v>
                </c:pt>
                <c:pt idx="17">
                  <c:v>41994</c:v>
                </c:pt>
              </c:numCache>
            </c:numRef>
          </c:cat>
          <c:val>
            <c:numRef>
              <c:f>CassLight_PET!$D$2:$D$19</c:f>
              <c:numCache>
                <c:formatCode>_(* #,##0_);_(* \(#,##0\);_(* "-"_);_(@_)</c:formatCode>
                <c:ptCount val="18"/>
                <c:pt idx="0">
                  <c:v>47770.393612792897</c:v>
                </c:pt>
                <c:pt idx="1">
                  <c:v>93746.033776227938</c:v>
                </c:pt>
                <c:pt idx="2">
                  <c:v>25050.701264900996</c:v>
                </c:pt>
                <c:pt idx="3">
                  <c:v>37741.312696506568</c:v>
                </c:pt>
                <c:pt idx="4">
                  <c:v>38573.3289001062</c:v>
                </c:pt>
                <c:pt idx="5">
                  <c:v>39496.971232905496</c:v>
                </c:pt>
                <c:pt idx="6">
                  <c:v>42178.227170481594</c:v>
                </c:pt>
                <c:pt idx="7">
                  <c:v>44044.872185381384</c:v>
                </c:pt>
                <c:pt idx="8">
                  <c:v>42835.401095866502</c:v>
                </c:pt>
                <c:pt idx="9">
                  <c:v>39958.911353833784</c:v>
                </c:pt>
                <c:pt idx="10">
                  <c:v>47829.200589747801</c:v>
                </c:pt>
                <c:pt idx="11">
                  <c:v>40744.031683521687</c:v>
                </c:pt>
                <c:pt idx="12">
                  <c:v>40226.136422265074</c:v>
                </c:pt>
                <c:pt idx="13">
                  <c:v>34642.179103293194</c:v>
                </c:pt>
                <c:pt idx="14">
                  <c:v>50198.472557841698</c:v>
                </c:pt>
                <c:pt idx="15">
                  <c:v>41573.042740904275</c:v>
                </c:pt>
                <c:pt idx="16">
                  <c:v>41103.728496504184</c:v>
                </c:pt>
                <c:pt idx="17">
                  <c:v>53918.200343007484</c:v>
                </c:pt>
              </c:numCache>
            </c:numRef>
          </c:val>
        </c:ser>
        <c:marker val="1"/>
        <c:axId val="106673280"/>
        <c:axId val="106674816"/>
      </c:lineChart>
      <c:dateAx>
        <c:axId val="106673280"/>
        <c:scaling>
          <c:orientation val="minMax"/>
        </c:scaling>
        <c:axPos val="b"/>
        <c:numFmt formatCode="yyyy/mm/dd" sourceLinked="1"/>
        <c:tickLblPos val="nextTo"/>
        <c:crossAx val="106674816"/>
        <c:crosses val="autoZero"/>
        <c:auto val="1"/>
        <c:lblOffset val="100"/>
        <c:baseTimeUnit val="days"/>
        <c:majorUnit val="7"/>
        <c:majorTimeUnit val="days"/>
      </c:dateAx>
      <c:valAx>
        <c:axId val="106674816"/>
        <c:scaling>
          <c:orientation val="minMax"/>
        </c:scaling>
        <c:axPos val="l"/>
        <c:majorGridlines/>
        <c:numFmt formatCode="_(* #,##0_);_(* \(#,##0\);_(* &quot;-&quot;_);_(@_)" sourceLinked="1"/>
        <c:tickLblPos val="nextTo"/>
        <c:crossAx val="10667328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6900516168902764"/>
          <c:y val="0.56778605224110512"/>
          <c:w val="0.11255139860037007"/>
          <c:h val="0.17992948642613904"/>
        </c:manualLayout>
      </c:layout>
    </c:legend>
    <c:plotVisOnly val="1"/>
    <c:dispBlanksAs val="gap"/>
  </c:chart>
  <c:externalData r:id="rId2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ko-KR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ser>
          <c:idx val="0"/>
          <c:order val="0"/>
          <c:tx>
            <c:strRef>
              <c:f>Sheet1!$E$1</c:f>
              <c:strCache>
                <c:ptCount val="1"/>
                <c:pt idx="0">
                  <c:v>판매량 </c:v>
                </c:pt>
              </c:strCache>
            </c:strRef>
          </c:tx>
          <c:cat>
            <c:strRef>
              <c:f>Sheet1!$D$2:$D$13</c:f>
              <c:strCache>
                <c:ptCount val="12"/>
                <c:pt idx="0">
                  <c:v>1월 </c:v>
                </c:pt>
                <c:pt idx="1">
                  <c:v>2월 </c:v>
                </c:pt>
                <c:pt idx="2">
                  <c:v>3월 </c:v>
                </c:pt>
                <c:pt idx="3">
                  <c:v>4월 </c:v>
                </c:pt>
                <c:pt idx="4">
                  <c:v>5월 </c:v>
                </c:pt>
                <c:pt idx="5">
                  <c:v>6월 </c:v>
                </c:pt>
                <c:pt idx="6">
                  <c:v>7월 </c:v>
                </c:pt>
                <c:pt idx="7">
                  <c:v>8월 </c:v>
                </c:pt>
                <c:pt idx="8">
                  <c:v>9월 </c:v>
                </c:pt>
                <c:pt idx="9">
                  <c:v>10월 </c:v>
                </c:pt>
                <c:pt idx="10">
                  <c:v>11월 </c:v>
                </c:pt>
                <c:pt idx="11">
                  <c:v>12월 </c:v>
                </c:pt>
              </c:strCache>
            </c:str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-26029.1</c:v>
                </c:pt>
                <c:pt idx="1">
                  <c:v>-12131</c:v>
                </c:pt>
                <c:pt idx="2">
                  <c:v>-1245.0999999999999</c:v>
                </c:pt>
                <c:pt idx="3">
                  <c:v>-6060.6</c:v>
                </c:pt>
                <c:pt idx="4">
                  <c:v>5037.4000000000005</c:v>
                </c:pt>
                <c:pt idx="5">
                  <c:v>27492.7</c:v>
                </c:pt>
                <c:pt idx="6">
                  <c:v>-22645.3</c:v>
                </c:pt>
                <c:pt idx="7">
                  <c:v>-42458.2</c:v>
                </c:pt>
                <c:pt idx="8">
                  <c:v>-36906.400000000001</c:v>
                </c:pt>
                <c:pt idx="9">
                  <c:v>-20360.09999999998</c:v>
                </c:pt>
                <c:pt idx="10">
                  <c:v>-19542.5</c:v>
                </c:pt>
                <c:pt idx="11">
                  <c:v>0</c:v>
                </c:pt>
              </c:numCache>
            </c:numRef>
          </c:val>
        </c:ser>
        <c:marker val="1"/>
        <c:axId val="106918272"/>
        <c:axId val="106919808"/>
      </c:lineChart>
      <c:catAx>
        <c:axId val="106918272"/>
        <c:scaling>
          <c:orientation val="minMax"/>
        </c:scaling>
        <c:axPos val="b"/>
        <c:tickLblPos val="nextTo"/>
        <c:txPr>
          <a:bodyPr rot="0" vert="horz"/>
          <a:lstStyle/>
          <a:p>
            <a:pPr>
              <a:defRPr/>
            </a:pPr>
            <a:endParaRPr lang="ko-KR"/>
          </a:p>
        </c:txPr>
        <c:crossAx val="106919808"/>
        <c:crosses val="autoZero"/>
        <c:auto val="1"/>
        <c:lblAlgn val="ctr"/>
        <c:lblOffset val="100"/>
      </c:catAx>
      <c:valAx>
        <c:axId val="106919808"/>
        <c:scaling>
          <c:orientation val="minMax"/>
        </c:scaling>
        <c:axPos val="l"/>
        <c:majorGridlines/>
        <c:numFmt formatCode="General" sourceLinked="1"/>
        <c:tickLblPos val="nextTo"/>
        <c:crossAx val="106918272"/>
        <c:crosses val="autoZero"/>
        <c:crossBetween val="between"/>
      </c:valAx>
    </c:plotArea>
    <c:plotVisOnly val="1"/>
    <c:dispBlanksAs val="gap"/>
  </c:chart>
  <c:externalData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lrMapOvr bg1="lt1" tx1="dk1" bg2="lt2" tx2="dk2" accent1="accent1" accent2="accent2" accent3="accent3" accent4="accent4" accent5="accent5" accent6="accent6" hlink="hlink" folHlink="folHlink"/>
  <c:chart>
    <c:plotArea>
      <c:layout/>
      <c:barChart>
        <c:barDir val="col"/>
        <c:grouping val="clustered"/>
        <c:ser>
          <c:idx val="0"/>
          <c:order val="0"/>
          <c:tx>
            <c:strRef>
              <c:f>회사전체!$I$36</c:f>
              <c:strCache>
                <c:ptCount val="1"/>
                <c:pt idx="0">
                  <c:v>실적</c:v>
                </c:pt>
              </c:strCache>
            </c:strRef>
          </c:tx>
          <c:cat>
            <c:numRef>
              <c:f>회사전체!$H$44:$H$48</c:f>
              <c:numCache>
                <c:formatCode>yyyy"-"mm</c:formatCode>
                <c:ptCount val="5"/>
                <c:pt idx="0">
                  <c:v>41851</c:v>
                </c:pt>
                <c:pt idx="1">
                  <c:v>41881</c:v>
                </c:pt>
                <c:pt idx="2">
                  <c:v>41912</c:v>
                </c:pt>
                <c:pt idx="3">
                  <c:v>41943</c:v>
                </c:pt>
                <c:pt idx="4">
                  <c:v>41972</c:v>
                </c:pt>
              </c:numCache>
            </c:numRef>
          </c:cat>
          <c:val>
            <c:numRef>
              <c:f>회사전체!$I$44:$I$48</c:f>
              <c:numCache>
                <c:formatCode>_(* #,##0_);_(* \(#,##0\);_(* "-"_);_(@_)</c:formatCode>
                <c:ptCount val="5"/>
                <c:pt idx="0">
                  <c:v>12959034.185999999</c:v>
                </c:pt>
                <c:pt idx="1">
                  <c:v>10904275.559</c:v>
                </c:pt>
                <c:pt idx="2">
                  <c:v>10001048.844000002</c:v>
                </c:pt>
                <c:pt idx="3">
                  <c:v>9553335.770999983</c:v>
                </c:pt>
                <c:pt idx="4">
                  <c:v>7491458.6889999993</c:v>
                </c:pt>
              </c:numCache>
            </c:numRef>
          </c:val>
        </c:ser>
        <c:ser>
          <c:idx val="1"/>
          <c:order val="1"/>
          <c:tx>
            <c:strRef>
              <c:f>회사전체!$J$36</c:f>
              <c:strCache>
                <c:ptCount val="1"/>
                <c:pt idx="0">
                  <c:v>예측</c:v>
                </c:pt>
              </c:strCache>
            </c:strRef>
          </c:tx>
          <c:cat>
            <c:numRef>
              <c:f>회사전체!$H$44:$H$48</c:f>
              <c:numCache>
                <c:formatCode>yyyy"-"mm</c:formatCode>
                <c:ptCount val="5"/>
                <c:pt idx="0">
                  <c:v>41851</c:v>
                </c:pt>
                <c:pt idx="1">
                  <c:v>41881</c:v>
                </c:pt>
                <c:pt idx="2">
                  <c:v>41912</c:v>
                </c:pt>
                <c:pt idx="3">
                  <c:v>41943</c:v>
                </c:pt>
                <c:pt idx="4">
                  <c:v>41972</c:v>
                </c:pt>
              </c:numCache>
            </c:numRef>
          </c:cat>
          <c:val>
            <c:numRef>
              <c:f>회사전체!$J$44:$J$48</c:f>
              <c:numCache>
                <c:formatCode>_(* #,##0_);_(* \(#,##0\);_(* "-"_);_(@_)</c:formatCode>
                <c:ptCount val="5"/>
                <c:pt idx="0">
                  <c:v>13006077.615729632</c:v>
                </c:pt>
                <c:pt idx="1">
                  <c:v>10816638.707083831</c:v>
                </c:pt>
                <c:pt idx="2">
                  <c:v>10057148.200755076</c:v>
                </c:pt>
                <c:pt idx="3">
                  <c:v>9368917.8505497389</c:v>
                </c:pt>
                <c:pt idx="4">
                  <c:v>7635616.5327221528</c:v>
                </c:pt>
              </c:numCache>
            </c:numRef>
          </c:val>
        </c:ser>
        <c:axId val="100899072"/>
        <c:axId val="101027840"/>
      </c:barChart>
      <c:dateAx>
        <c:axId val="100899072"/>
        <c:scaling>
          <c:orientation val="minMax"/>
        </c:scaling>
        <c:axPos val="b"/>
        <c:numFmt formatCode="yyyy&quot;-&quot;mm" sourceLinked="1"/>
        <c:tickLblPos val="nextTo"/>
        <c:txPr>
          <a:bodyPr/>
          <a:lstStyle/>
          <a:p>
            <a:pPr>
              <a:defRPr sz="1100"/>
            </a:pPr>
            <a:endParaRPr lang="ko-KR"/>
          </a:p>
        </c:txPr>
        <c:crossAx val="101027840"/>
        <c:crosses val="autoZero"/>
        <c:auto val="1"/>
        <c:lblOffset val="100"/>
        <c:baseTimeUnit val="months"/>
      </c:dateAx>
      <c:valAx>
        <c:axId val="101027840"/>
        <c:scaling>
          <c:orientation val="minMax"/>
        </c:scaling>
        <c:axPos val="l"/>
        <c:majorGridlines/>
        <c:numFmt formatCode="_(* #,##0_);_(* \(#,##0\);_(* &quot;-&quot;_);_(@_)" sourceLinked="1"/>
        <c:tickLblPos val="nextTo"/>
        <c:txPr>
          <a:bodyPr/>
          <a:lstStyle/>
          <a:p>
            <a:pPr>
              <a:defRPr sz="1200"/>
            </a:pPr>
            <a:endParaRPr lang="ko-KR"/>
          </a:p>
        </c:txPr>
        <c:crossAx val="100899072"/>
        <c:crosses val="autoZero"/>
        <c:crossBetween val="between"/>
      </c:valAx>
    </c:plotArea>
    <c:legend>
      <c:legendPos val="r"/>
      <c:layout/>
    </c:legend>
    <c:plotVisOnly val="1"/>
    <c:dispBlanksAs val="gap"/>
  </c:chart>
  <c:externalData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lrMapOvr bg1="lt1" tx1="dk1" bg2="lt2" tx2="dk2" accent1="accent1" accent2="accent2" accent3="accent3" accent4="accent4" accent5="accent5" accent6="accent6" hlink="hlink" folHlink="folHlink"/>
  <c:chart>
    <c:plotArea>
      <c:layout/>
      <c:lineChart>
        <c:grouping val="standard"/>
        <c:ser>
          <c:idx val="0"/>
          <c:order val="0"/>
          <c:tx>
            <c:strRef>
              <c:f>회사전체!$C$1</c:f>
              <c:strCache>
                <c:ptCount val="1"/>
                <c:pt idx="0">
                  <c:v>실적</c:v>
                </c:pt>
              </c:strCache>
            </c:strRef>
          </c:tx>
          <c:marker>
            <c:symbol val="diamond"/>
            <c:size val="5"/>
          </c:marker>
          <c:cat>
            <c:numRef>
              <c:f>회사전체!$B$2:$B$19</c:f>
              <c:numCache>
                <c:formatCode>yyyy/mm/dd</c:formatCode>
                <c:ptCount val="18"/>
                <c:pt idx="0">
                  <c:v>41875</c:v>
                </c:pt>
                <c:pt idx="1">
                  <c:v>41882</c:v>
                </c:pt>
                <c:pt idx="2">
                  <c:v>41889</c:v>
                </c:pt>
                <c:pt idx="3">
                  <c:v>41896</c:v>
                </c:pt>
                <c:pt idx="4">
                  <c:v>41903</c:v>
                </c:pt>
                <c:pt idx="5">
                  <c:v>41910</c:v>
                </c:pt>
                <c:pt idx="6">
                  <c:v>41917</c:v>
                </c:pt>
                <c:pt idx="7">
                  <c:v>41924</c:v>
                </c:pt>
                <c:pt idx="8">
                  <c:v>41931</c:v>
                </c:pt>
                <c:pt idx="9">
                  <c:v>41938</c:v>
                </c:pt>
                <c:pt idx="10">
                  <c:v>41945</c:v>
                </c:pt>
                <c:pt idx="11">
                  <c:v>41952</c:v>
                </c:pt>
                <c:pt idx="12">
                  <c:v>41959</c:v>
                </c:pt>
                <c:pt idx="13">
                  <c:v>41966</c:v>
                </c:pt>
                <c:pt idx="14">
                  <c:v>41973</c:v>
                </c:pt>
                <c:pt idx="15">
                  <c:v>41980</c:v>
                </c:pt>
                <c:pt idx="16">
                  <c:v>41987</c:v>
                </c:pt>
                <c:pt idx="17">
                  <c:v>41994</c:v>
                </c:pt>
              </c:numCache>
            </c:numRef>
          </c:cat>
          <c:val>
            <c:numRef>
              <c:f>회사전체!$C$2:$C$19</c:f>
              <c:numCache>
                <c:formatCode>_(* #,##0_);_(* \(#,##0\);_(* "-"_);_(@_)</c:formatCode>
                <c:ptCount val="18"/>
                <c:pt idx="0">
                  <c:v>2324202.304</c:v>
                </c:pt>
                <c:pt idx="1">
                  <c:v>3966514.81099999</c:v>
                </c:pt>
                <c:pt idx="2">
                  <c:v>1238892.7620000001</c:v>
                </c:pt>
                <c:pt idx="3">
                  <c:v>2001489.6840000008</c:v>
                </c:pt>
                <c:pt idx="4">
                  <c:v>2116559.949</c:v>
                </c:pt>
                <c:pt idx="5">
                  <c:v>2166116.6069999998</c:v>
                </c:pt>
                <c:pt idx="6">
                  <c:v>2104472.4870000002</c:v>
                </c:pt>
                <c:pt idx="7">
                  <c:v>2170767.91599999</c:v>
                </c:pt>
                <c:pt idx="8">
                  <c:v>2014932.527</c:v>
                </c:pt>
                <c:pt idx="9">
                  <c:v>1863492.2079999999</c:v>
                </c:pt>
                <c:pt idx="10">
                  <c:v>2132885.5299999998</c:v>
                </c:pt>
                <c:pt idx="11">
                  <c:v>1790283.6760000011</c:v>
                </c:pt>
                <c:pt idx="12">
                  <c:v>1810188.4409999999</c:v>
                </c:pt>
                <c:pt idx="13">
                  <c:v>1669246.706</c:v>
                </c:pt>
                <c:pt idx="14">
                  <c:v>2071884.459</c:v>
                </c:pt>
                <c:pt idx="15">
                  <c:v>1854159.4309999999</c:v>
                </c:pt>
                <c:pt idx="16">
                  <c:v>1904163.861</c:v>
                </c:pt>
                <c:pt idx="17">
                  <c:v>2100536.7390000001</c:v>
                </c:pt>
              </c:numCache>
            </c:numRef>
          </c:val>
        </c:ser>
        <c:ser>
          <c:idx val="1"/>
          <c:order val="1"/>
          <c:tx>
            <c:strRef>
              <c:f>회사전체!$D$1</c:f>
              <c:strCache>
                <c:ptCount val="1"/>
                <c:pt idx="0">
                  <c:v>예측</c:v>
                </c:pt>
              </c:strCache>
            </c:strRef>
          </c:tx>
          <c:marker>
            <c:symbol val="square"/>
            <c:size val="5"/>
          </c:marker>
          <c:cat>
            <c:numRef>
              <c:f>회사전체!$B$2:$B$19</c:f>
              <c:numCache>
                <c:formatCode>yyyy/mm/dd</c:formatCode>
                <c:ptCount val="18"/>
                <c:pt idx="0">
                  <c:v>41875</c:v>
                </c:pt>
                <c:pt idx="1">
                  <c:v>41882</c:v>
                </c:pt>
                <c:pt idx="2">
                  <c:v>41889</c:v>
                </c:pt>
                <c:pt idx="3">
                  <c:v>41896</c:v>
                </c:pt>
                <c:pt idx="4">
                  <c:v>41903</c:v>
                </c:pt>
                <c:pt idx="5">
                  <c:v>41910</c:v>
                </c:pt>
                <c:pt idx="6">
                  <c:v>41917</c:v>
                </c:pt>
                <c:pt idx="7">
                  <c:v>41924</c:v>
                </c:pt>
                <c:pt idx="8">
                  <c:v>41931</c:v>
                </c:pt>
                <c:pt idx="9">
                  <c:v>41938</c:v>
                </c:pt>
                <c:pt idx="10">
                  <c:v>41945</c:v>
                </c:pt>
                <c:pt idx="11">
                  <c:v>41952</c:v>
                </c:pt>
                <c:pt idx="12">
                  <c:v>41959</c:v>
                </c:pt>
                <c:pt idx="13">
                  <c:v>41966</c:v>
                </c:pt>
                <c:pt idx="14">
                  <c:v>41973</c:v>
                </c:pt>
                <c:pt idx="15">
                  <c:v>41980</c:v>
                </c:pt>
                <c:pt idx="16">
                  <c:v>41987</c:v>
                </c:pt>
                <c:pt idx="17">
                  <c:v>41994</c:v>
                </c:pt>
              </c:numCache>
            </c:numRef>
          </c:cat>
          <c:val>
            <c:numRef>
              <c:f>회사전체!$D$2:$D$19</c:f>
              <c:numCache>
                <c:formatCode>_(* #,##0_);_(* \(#,##0\);_(* "-"_);_(@_)</c:formatCode>
                <c:ptCount val="18"/>
                <c:pt idx="0">
                  <c:v>2365073.1961835977</c:v>
                </c:pt>
                <c:pt idx="1">
                  <c:v>3976684.3042739099</c:v>
                </c:pt>
                <c:pt idx="2">
                  <c:v>1198969.44850541</c:v>
                </c:pt>
                <c:pt idx="3">
                  <c:v>2100334.8995910697</c:v>
                </c:pt>
                <c:pt idx="4">
                  <c:v>2118013.2685982999</c:v>
                </c:pt>
                <c:pt idx="5">
                  <c:v>2113581.5676456457</c:v>
                </c:pt>
                <c:pt idx="6">
                  <c:v>2117832.21257695</c:v>
                </c:pt>
                <c:pt idx="7">
                  <c:v>2074611.9917440701</c:v>
                </c:pt>
                <c:pt idx="8">
                  <c:v>1984195.4326846199</c:v>
                </c:pt>
                <c:pt idx="9">
                  <c:v>1889123.2568763001</c:v>
                </c:pt>
                <c:pt idx="10">
                  <c:v>2130705.0407593898</c:v>
                </c:pt>
                <c:pt idx="11">
                  <c:v>1829991.11516795</c:v>
                </c:pt>
                <c:pt idx="12">
                  <c:v>1818586.471867</c:v>
                </c:pt>
                <c:pt idx="13">
                  <c:v>1709053.5737363501</c:v>
                </c:pt>
                <c:pt idx="14">
                  <c:v>2141986.1349175298</c:v>
                </c:pt>
                <c:pt idx="15">
                  <c:v>1814894.0723566711</c:v>
                </c:pt>
                <c:pt idx="16">
                  <c:v>1904008.92031265</c:v>
                </c:pt>
                <c:pt idx="17">
                  <c:v>2106972.866493369</c:v>
                </c:pt>
              </c:numCache>
            </c:numRef>
          </c:val>
        </c:ser>
        <c:marker val="1"/>
        <c:axId val="101361536"/>
        <c:axId val="101363072"/>
      </c:lineChart>
      <c:dateAx>
        <c:axId val="101361536"/>
        <c:scaling>
          <c:orientation val="minMax"/>
        </c:scaling>
        <c:axPos val="b"/>
        <c:numFmt formatCode="yyyy/mm/dd" sourceLinked="1"/>
        <c:tickLblPos val="nextTo"/>
        <c:crossAx val="101363072"/>
        <c:crosses val="autoZero"/>
        <c:auto val="1"/>
        <c:lblOffset val="100"/>
        <c:baseTimeUnit val="days"/>
        <c:majorUnit val="7"/>
        <c:majorTimeUnit val="days"/>
      </c:dateAx>
      <c:valAx>
        <c:axId val="101363072"/>
        <c:scaling>
          <c:orientation val="minMax"/>
        </c:scaling>
        <c:axPos val="l"/>
        <c:majorGridlines/>
        <c:numFmt formatCode="_(* #,##0_);_(* \(#,##0\);_(* &quot;-&quot;_);_(@_)" sourceLinked="1"/>
        <c:tickLblPos val="nextTo"/>
        <c:crossAx val="10136153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7065128896961785"/>
          <c:y val="0.55891526618874265"/>
          <c:w val="0.1125513986003701"/>
          <c:h val="0.17992948642613898"/>
        </c:manualLayout>
      </c:layout>
    </c:legend>
    <c:plotVisOnly val="1"/>
    <c:dispBlanksAs val="gap"/>
  </c:chart>
  <c:externalData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lrMapOvr bg1="lt1" tx1="dk1" bg2="lt2" tx2="dk2" accent1="accent1" accent2="accent2" accent3="accent3" accent4="accent4" accent5="accent5" accent6="accent6" hlink="hlink" folHlink="folHlink"/>
  <c:chart>
    <c:plotArea>
      <c:layout/>
      <c:scatterChart>
        <c:scatterStyle val="lineMarker"/>
        <c:ser>
          <c:idx val="0"/>
          <c:order val="0"/>
          <c:tx>
            <c:v>실적</c:v>
          </c:tx>
          <c:spPr>
            <a:ln w="28575">
              <a:noFill/>
            </a:ln>
          </c:spPr>
          <c:marker>
            <c:symbol val="diamond"/>
            <c:size val="6"/>
          </c:marker>
          <c:xVal>
            <c:numRef>
              <c:f>volume_total_Weekly!$A$160:$A$262</c:f>
              <c:numCache>
                <c:formatCode>yyyy/mm/dd</c:formatCode>
                <c:ptCount val="103"/>
                <c:pt idx="0">
                  <c:v>41280</c:v>
                </c:pt>
                <c:pt idx="1">
                  <c:v>41287</c:v>
                </c:pt>
                <c:pt idx="2">
                  <c:v>41294</c:v>
                </c:pt>
                <c:pt idx="3">
                  <c:v>41301</c:v>
                </c:pt>
                <c:pt idx="4">
                  <c:v>41308</c:v>
                </c:pt>
                <c:pt idx="5">
                  <c:v>41315</c:v>
                </c:pt>
                <c:pt idx="6">
                  <c:v>41322</c:v>
                </c:pt>
                <c:pt idx="7">
                  <c:v>41329</c:v>
                </c:pt>
                <c:pt idx="8">
                  <c:v>41336</c:v>
                </c:pt>
                <c:pt idx="9">
                  <c:v>41343</c:v>
                </c:pt>
                <c:pt idx="10">
                  <c:v>41350</c:v>
                </c:pt>
                <c:pt idx="11">
                  <c:v>41357</c:v>
                </c:pt>
                <c:pt idx="12">
                  <c:v>41364</c:v>
                </c:pt>
                <c:pt idx="13">
                  <c:v>41371</c:v>
                </c:pt>
                <c:pt idx="14">
                  <c:v>41378</c:v>
                </c:pt>
                <c:pt idx="15">
                  <c:v>41385</c:v>
                </c:pt>
                <c:pt idx="16">
                  <c:v>41392</c:v>
                </c:pt>
                <c:pt idx="17">
                  <c:v>41399</c:v>
                </c:pt>
                <c:pt idx="18">
                  <c:v>41406</c:v>
                </c:pt>
                <c:pt idx="19">
                  <c:v>41413</c:v>
                </c:pt>
                <c:pt idx="20">
                  <c:v>41420</c:v>
                </c:pt>
                <c:pt idx="21">
                  <c:v>41427</c:v>
                </c:pt>
                <c:pt idx="22">
                  <c:v>41434</c:v>
                </c:pt>
                <c:pt idx="23">
                  <c:v>41441</c:v>
                </c:pt>
                <c:pt idx="24">
                  <c:v>41448</c:v>
                </c:pt>
                <c:pt idx="25">
                  <c:v>41455</c:v>
                </c:pt>
                <c:pt idx="26">
                  <c:v>41462</c:v>
                </c:pt>
                <c:pt idx="27">
                  <c:v>41469</c:v>
                </c:pt>
                <c:pt idx="28">
                  <c:v>41476</c:v>
                </c:pt>
                <c:pt idx="29">
                  <c:v>41483</c:v>
                </c:pt>
                <c:pt idx="30">
                  <c:v>41490</c:v>
                </c:pt>
                <c:pt idx="31">
                  <c:v>41497</c:v>
                </c:pt>
                <c:pt idx="32">
                  <c:v>41504</c:v>
                </c:pt>
                <c:pt idx="33">
                  <c:v>41511</c:v>
                </c:pt>
                <c:pt idx="34">
                  <c:v>41518</c:v>
                </c:pt>
                <c:pt idx="35">
                  <c:v>41525</c:v>
                </c:pt>
                <c:pt idx="36">
                  <c:v>41532</c:v>
                </c:pt>
                <c:pt idx="37">
                  <c:v>41539</c:v>
                </c:pt>
                <c:pt idx="38">
                  <c:v>41546</c:v>
                </c:pt>
                <c:pt idx="39">
                  <c:v>41553</c:v>
                </c:pt>
                <c:pt idx="40">
                  <c:v>41560</c:v>
                </c:pt>
                <c:pt idx="41">
                  <c:v>41567</c:v>
                </c:pt>
                <c:pt idx="42">
                  <c:v>41574</c:v>
                </c:pt>
                <c:pt idx="43">
                  <c:v>41581</c:v>
                </c:pt>
                <c:pt idx="44">
                  <c:v>41588</c:v>
                </c:pt>
                <c:pt idx="45">
                  <c:v>41595</c:v>
                </c:pt>
                <c:pt idx="46">
                  <c:v>41602</c:v>
                </c:pt>
                <c:pt idx="47">
                  <c:v>41609</c:v>
                </c:pt>
                <c:pt idx="48">
                  <c:v>41616</c:v>
                </c:pt>
                <c:pt idx="49">
                  <c:v>41623</c:v>
                </c:pt>
                <c:pt idx="50">
                  <c:v>41630</c:v>
                </c:pt>
                <c:pt idx="51">
                  <c:v>41637</c:v>
                </c:pt>
                <c:pt idx="52">
                  <c:v>41644</c:v>
                </c:pt>
                <c:pt idx="53">
                  <c:v>41651</c:v>
                </c:pt>
                <c:pt idx="54">
                  <c:v>41658</c:v>
                </c:pt>
                <c:pt idx="55">
                  <c:v>41665</c:v>
                </c:pt>
                <c:pt idx="56">
                  <c:v>41672</c:v>
                </c:pt>
                <c:pt idx="57">
                  <c:v>41679</c:v>
                </c:pt>
                <c:pt idx="58">
                  <c:v>41686</c:v>
                </c:pt>
                <c:pt idx="59">
                  <c:v>41693</c:v>
                </c:pt>
                <c:pt idx="60">
                  <c:v>41700</c:v>
                </c:pt>
                <c:pt idx="61">
                  <c:v>41707</c:v>
                </c:pt>
                <c:pt idx="62">
                  <c:v>41714</c:v>
                </c:pt>
                <c:pt idx="63">
                  <c:v>41721</c:v>
                </c:pt>
                <c:pt idx="64">
                  <c:v>41728</c:v>
                </c:pt>
                <c:pt idx="65">
                  <c:v>41735</c:v>
                </c:pt>
                <c:pt idx="66">
                  <c:v>41742</c:v>
                </c:pt>
                <c:pt idx="67">
                  <c:v>41749</c:v>
                </c:pt>
                <c:pt idx="68">
                  <c:v>41756</c:v>
                </c:pt>
                <c:pt idx="69">
                  <c:v>41763</c:v>
                </c:pt>
                <c:pt idx="70">
                  <c:v>41770</c:v>
                </c:pt>
                <c:pt idx="71">
                  <c:v>41777</c:v>
                </c:pt>
                <c:pt idx="72">
                  <c:v>41784</c:v>
                </c:pt>
                <c:pt idx="73">
                  <c:v>41791</c:v>
                </c:pt>
                <c:pt idx="74">
                  <c:v>41798</c:v>
                </c:pt>
                <c:pt idx="75">
                  <c:v>41805</c:v>
                </c:pt>
                <c:pt idx="76">
                  <c:v>41812</c:v>
                </c:pt>
                <c:pt idx="77">
                  <c:v>41819</c:v>
                </c:pt>
                <c:pt idx="78">
                  <c:v>41826</c:v>
                </c:pt>
                <c:pt idx="79">
                  <c:v>41833</c:v>
                </c:pt>
                <c:pt idx="80">
                  <c:v>41840</c:v>
                </c:pt>
                <c:pt idx="81">
                  <c:v>41847</c:v>
                </c:pt>
                <c:pt idx="82">
                  <c:v>41854</c:v>
                </c:pt>
                <c:pt idx="83">
                  <c:v>41861</c:v>
                </c:pt>
                <c:pt idx="84">
                  <c:v>41868</c:v>
                </c:pt>
                <c:pt idx="85">
                  <c:v>41875</c:v>
                </c:pt>
                <c:pt idx="86">
                  <c:v>41882</c:v>
                </c:pt>
                <c:pt idx="87">
                  <c:v>41889</c:v>
                </c:pt>
                <c:pt idx="88">
                  <c:v>41896</c:v>
                </c:pt>
                <c:pt idx="89">
                  <c:v>41903</c:v>
                </c:pt>
                <c:pt idx="90">
                  <c:v>41910</c:v>
                </c:pt>
                <c:pt idx="91">
                  <c:v>41917</c:v>
                </c:pt>
                <c:pt idx="92">
                  <c:v>41924</c:v>
                </c:pt>
                <c:pt idx="93">
                  <c:v>41931</c:v>
                </c:pt>
                <c:pt idx="94">
                  <c:v>41938</c:v>
                </c:pt>
                <c:pt idx="95">
                  <c:v>41945</c:v>
                </c:pt>
                <c:pt idx="96">
                  <c:v>41952</c:v>
                </c:pt>
                <c:pt idx="97">
                  <c:v>41959</c:v>
                </c:pt>
                <c:pt idx="98">
                  <c:v>41966</c:v>
                </c:pt>
                <c:pt idx="99">
                  <c:v>41973</c:v>
                </c:pt>
                <c:pt idx="100">
                  <c:v>41980</c:v>
                </c:pt>
                <c:pt idx="101">
                  <c:v>41987</c:v>
                </c:pt>
                <c:pt idx="102">
                  <c:v>41994</c:v>
                </c:pt>
              </c:numCache>
            </c:numRef>
          </c:xVal>
          <c:yVal>
            <c:numRef>
              <c:f>volume_total_Weekly!$B$160:$B$262</c:f>
              <c:numCache>
                <c:formatCode>_(* #,##0_);_(* \(#,##0\);_(* "-"_);_(@_)</c:formatCode>
                <c:ptCount val="103"/>
                <c:pt idx="0">
                  <c:v>1632103.487</c:v>
                </c:pt>
                <c:pt idx="1">
                  <c:v>1593925.2780000002</c:v>
                </c:pt>
                <c:pt idx="2">
                  <c:v>1637645.125</c:v>
                </c:pt>
                <c:pt idx="3">
                  <c:v>1799667.1770000008</c:v>
                </c:pt>
                <c:pt idx="4">
                  <c:v>2397995.2119999998</c:v>
                </c:pt>
                <c:pt idx="5">
                  <c:v>1225226.206</c:v>
                </c:pt>
                <c:pt idx="6">
                  <c:v>1502403.8770000001</c:v>
                </c:pt>
                <c:pt idx="7">
                  <c:v>1611485.6600000001</c:v>
                </c:pt>
                <c:pt idx="8">
                  <c:v>2051967.378</c:v>
                </c:pt>
                <c:pt idx="9">
                  <c:v>1829242.32</c:v>
                </c:pt>
                <c:pt idx="10">
                  <c:v>1870947.04</c:v>
                </c:pt>
                <c:pt idx="11">
                  <c:v>1609889.388</c:v>
                </c:pt>
                <c:pt idx="12">
                  <c:v>2301922.4129999895</c:v>
                </c:pt>
                <c:pt idx="13">
                  <c:v>1715768.0380000002</c:v>
                </c:pt>
                <c:pt idx="14">
                  <c:v>1814050.0860000001</c:v>
                </c:pt>
                <c:pt idx="15">
                  <c:v>1862579.94</c:v>
                </c:pt>
                <c:pt idx="16">
                  <c:v>2243738.7349999999</c:v>
                </c:pt>
                <c:pt idx="17">
                  <c:v>1984421.571</c:v>
                </c:pt>
                <c:pt idx="18">
                  <c:v>2346029.8739999947</c:v>
                </c:pt>
                <c:pt idx="19">
                  <c:v>2358379.6370000001</c:v>
                </c:pt>
                <c:pt idx="20">
                  <c:v>2069600.2280000001</c:v>
                </c:pt>
                <c:pt idx="21">
                  <c:v>2812631.7620000001</c:v>
                </c:pt>
                <c:pt idx="22">
                  <c:v>2776538.0159999947</c:v>
                </c:pt>
                <c:pt idx="23">
                  <c:v>2469739</c:v>
                </c:pt>
                <c:pt idx="24">
                  <c:v>2241587.4699999997</c:v>
                </c:pt>
                <c:pt idx="25">
                  <c:v>2893557.949</c:v>
                </c:pt>
                <c:pt idx="26">
                  <c:v>2496674.4349999987</c:v>
                </c:pt>
                <c:pt idx="27">
                  <c:v>2568786.3089999957</c:v>
                </c:pt>
                <c:pt idx="28">
                  <c:v>2740295.3379999977</c:v>
                </c:pt>
                <c:pt idx="29">
                  <c:v>3059271.5809999998</c:v>
                </c:pt>
                <c:pt idx="30">
                  <c:v>2722368.1090000002</c:v>
                </c:pt>
                <c:pt idx="31">
                  <c:v>2719842.3569999957</c:v>
                </c:pt>
                <c:pt idx="32">
                  <c:v>2732072.8739999947</c:v>
                </c:pt>
                <c:pt idx="33">
                  <c:v>2279657.5549999997</c:v>
                </c:pt>
                <c:pt idx="34">
                  <c:v>3029452.4929999947</c:v>
                </c:pt>
                <c:pt idx="35">
                  <c:v>3298923.202</c:v>
                </c:pt>
                <c:pt idx="36">
                  <c:v>1872794.1900000011</c:v>
                </c:pt>
                <c:pt idx="37">
                  <c:v>2232027.1669999999</c:v>
                </c:pt>
                <c:pt idx="38">
                  <c:v>2367976.5970000001</c:v>
                </c:pt>
                <c:pt idx="39">
                  <c:v>2367318.0699999998</c:v>
                </c:pt>
                <c:pt idx="40">
                  <c:v>2190083.7549999999</c:v>
                </c:pt>
                <c:pt idx="41">
                  <c:v>2120188.7790000001</c:v>
                </c:pt>
                <c:pt idx="42">
                  <c:v>2037988.1220000011</c:v>
                </c:pt>
                <c:pt idx="43">
                  <c:v>2181628.8379999977</c:v>
                </c:pt>
                <c:pt idx="44">
                  <c:v>2032929.416</c:v>
                </c:pt>
                <c:pt idx="45">
                  <c:v>1936488.0970000001</c:v>
                </c:pt>
                <c:pt idx="46">
                  <c:v>1685958.1830000011</c:v>
                </c:pt>
                <c:pt idx="47">
                  <c:v>2374242.0359999957</c:v>
                </c:pt>
                <c:pt idx="48">
                  <c:v>2019683.7120000001</c:v>
                </c:pt>
                <c:pt idx="49">
                  <c:v>2125532.034</c:v>
                </c:pt>
                <c:pt idx="50">
                  <c:v>2334828.838999989</c:v>
                </c:pt>
                <c:pt idx="51">
                  <c:v>2304442.577</c:v>
                </c:pt>
                <c:pt idx="52">
                  <c:v>1955892.4990000001</c:v>
                </c:pt>
                <c:pt idx="53">
                  <c:v>2023867.8770000001</c:v>
                </c:pt>
                <c:pt idx="54">
                  <c:v>2458662.4849999999</c:v>
                </c:pt>
                <c:pt idx="55">
                  <c:v>1730491.395</c:v>
                </c:pt>
                <c:pt idx="56">
                  <c:v>1945023.4840000002</c:v>
                </c:pt>
                <c:pt idx="57">
                  <c:v>1727747.7580000001</c:v>
                </c:pt>
                <c:pt idx="58">
                  <c:v>1884374.558</c:v>
                </c:pt>
                <c:pt idx="59">
                  <c:v>1898818.4049999998</c:v>
                </c:pt>
                <c:pt idx="60">
                  <c:v>2228233.7799999998</c:v>
                </c:pt>
                <c:pt idx="61">
                  <c:v>2019352.12</c:v>
                </c:pt>
                <c:pt idx="62">
                  <c:v>2066589.23</c:v>
                </c:pt>
                <c:pt idx="63">
                  <c:v>2066564.818</c:v>
                </c:pt>
                <c:pt idx="64">
                  <c:v>2411254.5890000002</c:v>
                </c:pt>
                <c:pt idx="65">
                  <c:v>2105115.1830000002</c:v>
                </c:pt>
                <c:pt idx="66">
                  <c:v>2196706.0349999997</c:v>
                </c:pt>
                <c:pt idx="67">
                  <c:v>2209228.3959999899</c:v>
                </c:pt>
                <c:pt idx="68">
                  <c:v>3003666.7230000002</c:v>
                </c:pt>
                <c:pt idx="69">
                  <c:v>1976783.753</c:v>
                </c:pt>
                <c:pt idx="70">
                  <c:v>2422901.3199999947</c:v>
                </c:pt>
                <c:pt idx="71">
                  <c:v>2564008.102</c:v>
                </c:pt>
                <c:pt idx="72">
                  <c:v>2409551.4010000001</c:v>
                </c:pt>
                <c:pt idx="73">
                  <c:v>3199139.6979999999</c:v>
                </c:pt>
                <c:pt idx="74">
                  <c:v>2790576.8979999977</c:v>
                </c:pt>
                <c:pt idx="75">
                  <c:v>2578582.716</c:v>
                </c:pt>
                <c:pt idx="76">
                  <c:v>2719793.3519999967</c:v>
                </c:pt>
                <c:pt idx="77">
                  <c:v>2940767.8059999957</c:v>
                </c:pt>
                <c:pt idx="78">
                  <c:v>2663500.7250000001</c:v>
                </c:pt>
                <c:pt idx="79">
                  <c:v>2899839.55</c:v>
                </c:pt>
                <c:pt idx="80">
                  <c:v>2882959.2459999998</c:v>
                </c:pt>
                <c:pt idx="81">
                  <c:v>3112757.0159999947</c:v>
                </c:pt>
                <c:pt idx="82">
                  <c:v>2774418.2349999999</c:v>
                </c:pt>
                <c:pt idx="83">
                  <c:v>2390009.2209999999</c:v>
                </c:pt>
                <c:pt idx="84">
                  <c:v>2285745.1510000001</c:v>
                </c:pt>
                <c:pt idx="85">
                  <c:v>2324202.304</c:v>
                </c:pt>
                <c:pt idx="86">
                  <c:v>3966514.81099999</c:v>
                </c:pt>
                <c:pt idx="87">
                  <c:v>1238892.7620000001</c:v>
                </c:pt>
                <c:pt idx="88">
                  <c:v>2001489.6840000008</c:v>
                </c:pt>
                <c:pt idx="89">
                  <c:v>2116559.949</c:v>
                </c:pt>
                <c:pt idx="90">
                  <c:v>2166116.6069999998</c:v>
                </c:pt>
                <c:pt idx="91">
                  <c:v>2104472.4870000002</c:v>
                </c:pt>
                <c:pt idx="92">
                  <c:v>2170767.91599999</c:v>
                </c:pt>
                <c:pt idx="93">
                  <c:v>2014932.527</c:v>
                </c:pt>
                <c:pt idx="94">
                  <c:v>1863492.2079999999</c:v>
                </c:pt>
                <c:pt idx="95">
                  <c:v>2132885.5299999998</c:v>
                </c:pt>
                <c:pt idx="96">
                  <c:v>1790283.6760000011</c:v>
                </c:pt>
                <c:pt idx="97">
                  <c:v>1810188.4409999999</c:v>
                </c:pt>
                <c:pt idx="98">
                  <c:v>1669246.706</c:v>
                </c:pt>
                <c:pt idx="99">
                  <c:v>2071884.459</c:v>
                </c:pt>
                <c:pt idx="100">
                  <c:v>1854159.4309999999</c:v>
                </c:pt>
                <c:pt idx="101">
                  <c:v>1904163.861</c:v>
                </c:pt>
                <c:pt idx="102">
                  <c:v>2100536.7390000001</c:v>
                </c:pt>
              </c:numCache>
            </c:numRef>
          </c:yVal>
        </c:ser>
        <c:ser>
          <c:idx val="1"/>
          <c:order val="1"/>
          <c:tx>
            <c:v>예측</c:v>
          </c:tx>
          <c:spPr>
            <a:ln w="28575">
              <a:noFill/>
            </a:ln>
          </c:spPr>
          <c:marker>
            <c:symbol val="square"/>
            <c:size val="4"/>
          </c:marker>
          <c:xVal>
            <c:numRef>
              <c:f>volume_total_Weekly!$A$160:$A$262</c:f>
              <c:numCache>
                <c:formatCode>yyyy/mm/dd</c:formatCode>
                <c:ptCount val="103"/>
                <c:pt idx="0">
                  <c:v>41280</c:v>
                </c:pt>
                <c:pt idx="1">
                  <c:v>41287</c:v>
                </c:pt>
                <c:pt idx="2">
                  <c:v>41294</c:v>
                </c:pt>
                <c:pt idx="3">
                  <c:v>41301</c:v>
                </c:pt>
                <c:pt idx="4">
                  <c:v>41308</c:v>
                </c:pt>
                <c:pt idx="5">
                  <c:v>41315</c:v>
                </c:pt>
                <c:pt idx="6">
                  <c:v>41322</c:v>
                </c:pt>
                <c:pt idx="7">
                  <c:v>41329</c:v>
                </c:pt>
                <c:pt idx="8">
                  <c:v>41336</c:v>
                </c:pt>
                <c:pt idx="9">
                  <c:v>41343</c:v>
                </c:pt>
                <c:pt idx="10">
                  <c:v>41350</c:v>
                </c:pt>
                <c:pt idx="11">
                  <c:v>41357</c:v>
                </c:pt>
                <c:pt idx="12">
                  <c:v>41364</c:v>
                </c:pt>
                <c:pt idx="13">
                  <c:v>41371</c:v>
                </c:pt>
                <c:pt idx="14">
                  <c:v>41378</c:v>
                </c:pt>
                <c:pt idx="15">
                  <c:v>41385</c:v>
                </c:pt>
                <c:pt idx="16">
                  <c:v>41392</c:v>
                </c:pt>
                <c:pt idx="17">
                  <c:v>41399</c:v>
                </c:pt>
                <c:pt idx="18">
                  <c:v>41406</c:v>
                </c:pt>
                <c:pt idx="19">
                  <c:v>41413</c:v>
                </c:pt>
                <c:pt idx="20">
                  <c:v>41420</c:v>
                </c:pt>
                <c:pt idx="21">
                  <c:v>41427</c:v>
                </c:pt>
                <c:pt idx="22">
                  <c:v>41434</c:v>
                </c:pt>
                <c:pt idx="23">
                  <c:v>41441</c:v>
                </c:pt>
                <c:pt idx="24">
                  <c:v>41448</c:v>
                </c:pt>
                <c:pt idx="25">
                  <c:v>41455</c:v>
                </c:pt>
                <c:pt idx="26">
                  <c:v>41462</c:v>
                </c:pt>
                <c:pt idx="27">
                  <c:v>41469</c:v>
                </c:pt>
                <c:pt idx="28">
                  <c:v>41476</c:v>
                </c:pt>
                <c:pt idx="29">
                  <c:v>41483</c:v>
                </c:pt>
                <c:pt idx="30">
                  <c:v>41490</c:v>
                </c:pt>
                <c:pt idx="31">
                  <c:v>41497</c:v>
                </c:pt>
                <c:pt idx="32">
                  <c:v>41504</c:v>
                </c:pt>
                <c:pt idx="33">
                  <c:v>41511</c:v>
                </c:pt>
                <c:pt idx="34">
                  <c:v>41518</c:v>
                </c:pt>
                <c:pt idx="35">
                  <c:v>41525</c:v>
                </c:pt>
                <c:pt idx="36">
                  <c:v>41532</c:v>
                </c:pt>
                <c:pt idx="37">
                  <c:v>41539</c:v>
                </c:pt>
                <c:pt idx="38">
                  <c:v>41546</c:v>
                </c:pt>
                <c:pt idx="39">
                  <c:v>41553</c:v>
                </c:pt>
                <c:pt idx="40">
                  <c:v>41560</c:v>
                </c:pt>
                <c:pt idx="41">
                  <c:v>41567</c:v>
                </c:pt>
                <c:pt idx="42">
                  <c:v>41574</c:v>
                </c:pt>
                <c:pt idx="43">
                  <c:v>41581</c:v>
                </c:pt>
                <c:pt idx="44">
                  <c:v>41588</c:v>
                </c:pt>
                <c:pt idx="45">
                  <c:v>41595</c:v>
                </c:pt>
                <c:pt idx="46">
                  <c:v>41602</c:v>
                </c:pt>
                <c:pt idx="47">
                  <c:v>41609</c:v>
                </c:pt>
                <c:pt idx="48">
                  <c:v>41616</c:v>
                </c:pt>
                <c:pt idx="49">
                  <c:v>41623</c:v>
                </c:pt>
                <c:pt idx="50">
                  <c:v>41630</c:v>
                </c:pt>
                <c:pt idx="51">
                  <c:v>41637</c:v>
                </c:pt>
                <c:pt idx="52">
                  <c:v>41644</c:v>
                </c:pt>
                <c:pt idx="53">
                  <c:v>41651</c:v>
                </c:pt>
                <c:pt idx="54">
                  <c:v>41658</c:v>
                </c:pt>
                <c:pt idx="55">
                  <c:v>41665</c:v>
                </c:pt>
                <c:pt idx="56">
                  <c:v>41672</c:v>
                </c:pt>
                <c:pt idx="57">
                  <c:v>41679</c:v>
                </c:pt>
                <c:pt idx="58">
                  <c:v>41686</c:v>
                </c:pt>
                <c:pt idx="59">
                  <c:v>41693</c:v>
                </c:pt>
                <c:pt idx="60">
                  <c:v>41700</c:v>
                </c:pt>
                <c:pt idx="61">
                  <c:v>41707</c:v>
                </c:pt>
                <c:pt idx="62">
                  <c:v>41714</c:v>
                </c:pt>
                <c:pt idx="63">
                  <c:v>41721</c:v>
                </c:pt>
                <c:pt idx="64">
                  <c:v>41728</c:v>
                </c:pt>
                <c:pt idx="65">
                  <c:v>41735</c:v>
                </c:pt>
                <c:pt idx="66">
                  <c:v>41742</c:v>
                </c:pt>
                <c:pt idx="67">
                  <c:v>41749</c:v>
                </c:pt>
                <c:pt idx="68">
                  <c:v>41756</c:v>
                </c:pt>
                <c:pt idx="69">
                  <c:v>41763</c:v>
                </c:pt>
                <c:pt idx="70">
                  <c:v>41770</c:v>
                </c:pt>
                <c:pt idx="71">
                  <c:v>41777</c:v>
                </c:pt>
                <c:pt idx="72">
                  <c:v>41784</c:v>
                </c:pt>
                <c:pt idx="73">
                  <c:v>41791</c:v>
                </c:pt>
                <c:pt idx="74">
                  <c:v>41798</c:v>
                </c:pt>
                <c:pt idx="75">
                  <c:v>41805</c:v>
                </c:pt>
                <c:pt idx="76">
                  <c:v>41812</c:v>
                </c:pt>
                <c:pt idx="77">
                  <c:v>41819</c:v>
                </c:pt>
                <c:pt idx="78">
                  <c:v>41826</c:v>
                </c:pt>
                <c:pt idx="79">
                  <c:v>41833</c:v>
                </c:pt>
                <c:pt idx="80">
                  <c:v>41840</c:v>
                </c:pt>
                <c:pt idx="81">
                  <c:v>41847</c:v>
                </c:pt>
                <c:pt idx="82">
                  <c:v>41854</c:v>
                </c:pt>
                <c:pt idx="83">
                  <c:v>41861</c:v>
                </c:pt>
                <c:pt idx="84">
                  <c:v>41868</c:v>
                </c:pt>
                <c:pt idx="85">
                  <c:v>41875</c:v>
                </c:pt>
                <c:pt idx="86">
                  <c:v>41882</c:v>
                </c:pt>
                <c:pt idx="87">
                  <c:v>41889</c:v>
                </c:pt>
                <c:pt idx="88">
                  <c:v>41896</c:v>
                </c:pt>
                <c:pt idx="89">
                  <c:v>41903</c:v>
                </c:pt>
                <c:pt idx="90">
                  <c:v>41910</c:v>
                </c:pt>
                <c:pt idx="91">
                  <c:v>41917</c:v>
                </c:pt>
                <c:pt idx="92">
                  <c:v>41924</c:v>
                </c:pt>
                <c:pt idx="93">
                  <c:v>41931</c:v>
                </c:pt>
                <c:pt idx="94">
                  <c:v>41938</c:v>
                </c:pt>
                <c:pt idx="95">
                  <c:v>41945</c:v>
                </c:pt>
                <c:pt idx="96">
                  <c:v>41952</c:v>
                </c:pt>
                <c:pt idx="97">
                  <c:v>41959</c:v>
                </c:pt>
                <c:pt idx="98">
                  <c:v>41966</c:v>
                </c:pt>
                <c:pt idx="99">
                  <c:v>41973</c:v>
                </c:pt>
                <c:pt idx="100">
                  <c:v>41980</c:v>
                </c:pt>
                <c:pt idx="101">
                  <c:v>41987</c:v>
                </c:pt>
                <c:pt idx="102">
                  <c:v>41994</c:v>
                </c:pt>
              </c:numCache>
            </c:numRef>
          </c:xVal>
          <c:yVal>
            <c:numRef>
              <c:f>volume_total_Weekly!$C$160:$C$262</c:f>
              <c:numCache>
                <c:formatCode>_(* #,##0_);_(* \(#,##0\);_(* "-"_);_(@_)</c:formatCode>
                <c:ptCount val="103"/>
                <c:pt idx="0">
                  <c:v>1672745.3312641899</c:v>
                </c:pt>
                <c:pt idx="1">
                  <c:v>1662630.49070655</c:v>
                </c:pt>
                <c:pt idx="2">
                  <c:v>1668917.8365442362</c:v>
                </c:pt>
                <c:pt idx="3">
                  <c:v>1877435.73716193</c:v>
                </c:pt>
                <c:pt idx="4">
                  <c:v>2557851.52558228</c:v>
                </c:pt>
                <c:pt idx="5">
                  <c:v>1260566.2788988501</c:v>
                </c:pt>
                <c:pt idx="6">
                  <c:v>1495042.2190554801</c:v>
                </c:pt>
                <c:pt idx="7">
                  <c:v>1558359.9726146811</c:v>
                </c:pt>
                <c:pt idx="8">
                  <c:v>2106187.5319032581</c:v>
                </c:pt>
                <c:pt idx="9">
                  <c:v>1865291.4015705099</c:v>
                </c:pt>
                <c:pt idx="10">
                  <c:v>1826007.7419758611</c:v>
                </c:pt>
                <c:pt idx="11">
                  <c:v>1658682.0756447599</c:v>
                </c:pt>
                <c:pt idx="12">
                  <c:v>2181803.0326770847</c:v>
                </c:pt>
                <c:pt idx="13">
                  <c:v>1832261.81108742</c:v>
                </c:pt>
                <c:pt idx="14">
                  <c:v>1909361.8341812601</c:v>
                </c:pt>
                <c:pt idx="15">
                  <c:v>1851128.3295191862</c:v>
                </c:pt>
                <c:pt idx="16">
                  <c:v>2289309.27222742</c:v>
                </c:pt>
                <c:pt idx="17">
                  <c:v>2161858.1694805999</c:v>
                </c:pt>
                <c:pt idx="18">
                  <c:v>2221076.8115266487</c:v>
                </c:pt>
                <c:pt idx="19">
                  <c:v>2265615.6609964198</c:v>
                </c:pt>
                <c:pt idx="20">
                  <c:v>2203995.30052927</c:v>
                </c:pt>
                <c:pt idx="21">
                  <c:v>2778642.6547818999</c:v>
                </c:pt>
                <c:pt idx="22">
                  <c:v>2688054.8784073079</c:v>
                </c:pt>
                <c:pt idx="23">
                  <c:v>2417441.9199861698</c:v>
                </c:pt>
                <c:pt idx="24">
                  <c:v>2339462.0593296257</c:v>
                </c:pt>
                <c:pt idx="25">
                  <c:v>2864849.8276617457</c:v>
                </c:pt>
                <c:pt idx="26">
                  <c:v>2417474.6175090801</c:v>
                </c:pt>
                <c:pt idx="27">
                  <c:v>2540392.4907713747</c:v>
                </c:pt>
                <c:pt idx="28">
                  <c:v>2634322.0499956147</c:v>
                </c:pt>
                <c:pt idx="29">
                  <c:v>2933256.6108421697</c:v>
                </c:pt>
                <c:pt idx="30">
                  <c:v>2777812.8858445357</c:v>
                </c:pt>
                <c:pt idx="31">
                  <c:v>2641340.4189931867</c:v>
                </c:pt>
                <c:pt idx="32">
                  <c:v>2644256.9537871801</c:v>
                </c:pt>
                <c:pt idx="33">
                  <c:v>2273419.1433626097</c:v>
                </c:pt>
                <c:pt idx="34">
                  <c:v>2951369.2683263398</c:v>
                </c:pt>
                <c:pt idx="35">
                  <c:v>3382168.3491754867</c:v>
                </c:pt>
                <c:pt idx="36">
                  <c:v>1872976.0587252299</c:v>
                </c:pt>
                <c:pt idx="37">
                  <c:v>2153734.8259848887</c:v>
                </c:pt>
                <c:pt idx="38">
                  <c:v>2242251.8031497118</c:v>
                </c:pt>
                <c:pt idx="39">
                  <c:v>2293493.6498015998</c:v>
                </c:pt>
                <c:pt idx="40">
                  <c:v>2186386.2542129308</c:v>
                </c:pt>
                <c:pt idx="41">
                  <c:v>2187072.5691912477</c:v>
                </c:pt>
                <c:pt idx="42">
                  <c:v>2059671.5188519899</c:v>
                </c:pt>
                <c:pt idx="43">
                  <c:v>2219867.0375974602</c:v>
                </c:pt>
                <c:pt idx="44">
                  <c:v>2027000.1462620301</c:v>
                </c:pt>
                <c:pt idx="45">
                  <c:v>1984649.3474450551</c:v>
                </c:pt>
                <c:pt idx="46">
                  <c:v>1771670.5550173901</c:v>
                </c:pt>
                <c:pt idx="47">
                  <c:v>2289404.7062080102</c:v>
                </c:pt>
                <c:pt idx="48">
                  <c:v>1972887.6348042511</c:v>
                </c:pt>
                <c:pt idx="49">
                  <c:v>2139948.04100662</c:v>
                </c:pt>
                <c:pt idx="50">
                  <c:v>2237019.8263965398</c:v>
                </c:pt>
                <c:pt idx="51">
                  <c:v>2270248.8497817498</c:v>
                </c:pt>
                <c:pt idx="52">
                  <c:v>2013680.96306435</c:v>
                </c:pt>
                <c:pt idx="53">
                  <c:v>2040151.7498457411</c:v>
                </c:pt>
                <c:pt idx="54">
                  <c:v>2496575.1018039398</c:v>
                </c:pt>
                <c:pt idx="55">
                  <c:v>1627846.9535444211</c:v>
                </c:pt>
                <c:pt idx="56">
                  <c:v>2027426.9300452401</c:v>
                </c:pt>
                <c:pt idx="57">
                  <c:v>1780608.77118464</c:v>
                </c:pt>
                <c:pt idx="58">
                  <c:v>1988410.02982178</c:v>
                </c:pt>
                <c:pt idx="59">
                  <c:v>1886699.4032830496</c:v>
                </c:pt>
                <c:pt idx="60">
                  <c:v>2313899.1896804702</c:v>
                </c:pt>
                <c:pt idx="61">
                  <c:v>2033009.4397388601</c:v>
                </c:pt>
                <c:pt idx="62">
                  <c:v>2095233.2114877696</c:v>
                </c:pt>
                <c:pt idx="63">
                  <c:v>2077919.8215175611</c:v>
                </c:pt>
                <c:pt idx="64">
                  <c:v>2336863.1614104202</c:v>
                </c:pt>
                <c:pt idx="65">
                  <c:v>2088710.4713276399</c:v>
                </c:pt>
                <c:pt idx="66">
                  <c:v>2215626.9684641967</c:v>
                </c:pt>
                <c:pt idx="67">
                  <c:v>2261235.8727323157</c:v>
                </c:pt>
                <c:pt idx="68">
                  <c:v>2980483.3639091677</c:v>
                </c:pt>
                <c:pt idx="69">
                  <c:v>2008241.6901772483</c:v>
                </c:pt>
                <c:pt idx="70">
                  <c:v>2423645.1491938001</c:v>
                </c:pt>
                <c:pt idx="71">
                  <c:v>2477162.8938342347</c:v>
                </c:pt>
                <c:pt idx="72">
                  <c:v>2380800.8372571897</c:v>
                </c:pt>
                <c:pt idx="73">
                  <c:v>3059938.5860974598</c:v>
                </c:pt>
                <c:pt idx="74">
                  <c:v>2815493.3784569995</c:v>
                </c:pt>
                <c:pt idx="75">
                  <c:v>2601656.1364544877</c:v>
                </c:pt>
                <c:pt idx="76">
                  <c:v>2506022.1709264601</c:v>
                </c:pt>
                <c:pt idx="77">
                  <c:v>2855415.6506385398</c:v>
                </c:pt>
                <c:pt idx="78">
                  <c:v>2820798.2477883333</c:v>
                </c:pt>
                <c:pt idx="79">
                  <c:v>2811833.4199465867</c:v>
                </c:pt>
                <c:pt idx="80">
                  <c:v>2826855.4281074475</c:v>
                </c:pt>
                <c:pt idx="81">
                  <c:v>3170053.6441561398</c:v>
                </c:pt>
                <c:pt idx="82">
                  <c:v>2760107.9640945708</c:v>
                </c:pt>
                <c:pt idx="83">
                  <c:v>2308862.1441278299</c:v>
                </c:pt>
                <c:pt idx="84">
                  <c:v>2293810.9499801998</c:v>
                </c:pt>
                <c:pt idx="85">
                  <c:v>2365073.1961835977</c:v>
                </c:pt>
                <c:pt idx="86">
                  <c:v>3976684.3042739099</c:v>
                </c:pt>
                <c:pt idx="87">
                  <c:v>1198969.44850541</c:v>
                </c:pt>
                <c:pt idx="88">
                  <c:v>2100334.8995910697</c:v>
                </c:pt>
                <c:pt idx="89">
                  <c:v>2118013.2685982999</c:v>
                </c:pt>
                <c:pt idx="90">
                  <c:v>2113581.5676456457</c:v>
                </c:pt>
                <c:pt idx="91">
                  <c:v>2117832.21257695</c:v>
                </c:pt>
                <c:pt idx="92">
                  <c:v>2074611.9917440701</c:v>
                </c:pt>
                <c:pt idx="93">
                  <c:v>1984195.4326846199</c:v>
                </c:pt>
                <c:pt idx="94">
                  <c:v>1889123.2568763001</c:v>
                </c:pt>
                <c:pt idx="95">
                  <c:v>2130705.0407593898</c:v>
                </c:pt>
                <c:pt idx="96">
                  <c:v>1829991.11516795</c:v>
                </c:pt>
                <c:pt idx="97">
                  <c:v>1818586.471867</c:v>
                </c:pt>
                <c:pt idx="98">
                  <c:v>1709053.5737363501</c:v>
                </c:pt>
                <c:pt idx="99">
                  <c:v>2141986.1349175298</c:v>
                </c:pt>
                <c:pt idx="100">
                  <c:v>1814894.0723566711</c:v>
                </c:pt>
                <c:pt idx="101">
                  <c:v>1904008.92031265</c:v>
                </c:pt>
                <c:pt idx="102">
                  <c:v>2106972.866493369</c:v>
                </c:pt>
              </c:numCache>
            </c:numRef>
          </c:yVal>
        </c:ser>
        <c:axId val="101606144"/>
        <c:axId val="101607680"/>
      </c:scatterChart>
      <c:valAx>
        <c:axId val="101606144"/>
        <c:scaling>
          <c:orientation val="minMax"/>
        </c:scaling>
        <c:axPos val="b"/>
        <c:numFmt formatCode="yyyy/mm/dd" sourceLinked="1"/>
        <c:tickLblPos val="nextTo"/>
        <c:crossAx val="101607680"/>
        <c:crosses val="autoZero"/>
        <c:crossBetween val="midCat"/>
      </c:valAx>
      <c:valAx>
        <c:axId val="101607680"/>
        <c:scaling>
          <c:orientation val="minMax"/>
        </c:scaling>
        <c:axPos val="l"/>
        <c:majorGridlines/>
        <c:numFmt formatCode="_(* #,##0_);_(* \(#,##0\);_(* &quot;-&quot;_);_(@_)" sourceLinked="1"/>
        <c:tickLblPos val="nextTo"/>
        <c:crossAx val="101606144"/>
        <c:crosses val="autoZero"/>
        <c:crossBetween val="midCat"/>
      </c:valAx>
    </c:plotArea>
    <c:legend>
      <c:legendPos val="r"/>
      <c:layout/>
    </c:legend>
    <c:plotVisOnly val="1"/>
    <c:dispBlanksAs val="gap"/>
  </c:chart>
  <c:externalData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lrMapOvr bg1="lt1" tx1="dk1" bg2="lt2" tx2="dk2" accent1="accent1" accent2="accent2" accent3="accent3" accent4="accent4" accent5="accent5" accent6="accent6" hlink="hlink" folHlink="folHlink"/>
  <c:chart>
    <c:plotArea>
      <c:layout/>
      <c:scatterChart>
        <c:scatterStyle val="lineMarker"/>
        <c:ser>
          <c:idx val="0"/>
          <c:order val="0"/>
          <c:tx>
            <c:v>실적</c:v>
          </c:tx>
          <c:spPr>
            <a:ln w="28575">
              <a:noFill/>
            </a:ln>
          </c:spPr>
          <c:marker>
            <c:symbol val="diamond"/>
            <c:size val="6"/>
          </c:marker>
          <c:xVal>
            <c:numRef>
              <c:f>volume_total_Daily!$A$941:$A$1561</c:f>
              <c:numCache>
                <c:formatCode>yyyy/mm/dd</c:formatCode>
                <c:ptCount val="621"/>
                <c:pt idx="0">
                  <c:v>41275</c:v>
                </c:pt>
                <c:pt idx="1">
                  <c:v>41276</c:v>
                </c:pt>
                <c:pt idx="2">
                  <c:v>41277</c:v>
                </c:pt>
                <c:pt idx="3">
                  <c:v>41278</c:v>
                </c:pt>
                <c:pt idx="4">
                  <c:v>41279</c:v>
                </c:pt>
                <c:pt idx="5">
                  <c:v>41281</c:v>
                </c:pt>
                <c:pt idx="6">
                  <c:v>41282</c:v>
                </c:pt>
                <c:pt idx="7">
                  <c:v>41283</c:v>
                </c:pt>
                <c:pt idx="8">
                  <c:v>41284</c:v>
                </c:pt>
                <c:pt idx="9">
                  <c:v>41285</c:v>
                </c:pt>
                <c:pt idx="10">
                  <c:v>41286</c:v>
                </c:pt>
                <c:pt idx="11">
                  <c:v>41288</c:v>
                </c:pt>
                <c:pt idx="12">
                  <c:v>41289</c:v>
                </c:pt>
                <c:pt idx="13">
                  <c:v>41290</c:v>
                </c:pt>
                <c:pt idx="14">
                  <c:v>41291</c:v>
                </c:pt>
                <c:pt idx="15">
                  <c:v>41292</c:v>
                </c:pt>
                <c:pt idx="16">
                  <c:v>41293</c:v>
                </c:pt>
                <c:pt idx="17">
                  <c:v>41295</c:v>
                </c:pt>
                <c:pt idx="18">
                  <c:v>41296</c:v>
                </c:pt>
                <c:pt idx="19">
                  <c:v>41297</c:v>
                </c:pt>
                <c:pt idx="20">
                  <c:v>41298</c:v>
                </c:pt>
                <c:pt idx="21">
                  <c:v>41299</c:v>
                </c:pt>
                <c:pt idx="22">
                  <c:v>41300</c:v>
                </c:pt>
                <c:pt idx="23">
                  <c:v>41302</c:v>
                </c:pt>
                <c:pt idx="24">
                  <c:v>41303</c:v>
                </c:pt>
                <c:pt idx="25">
                  <c:v>41304</c:v>
                </c:pt>
                <c:pt idx="26">
                  <c:v>41305</c:v>
                </c:pt>
                <c:pt idx="27">
                  <c:v>41306</c:v>
                </c:pt>
                <c:pt idx="28">
                  <c:v>41307</c:v>
                </c:pt>
                <c:pt idx="29">
                  <c:v>41309</c:v>
                </c:pt>
                <c:pt idx="30">
                  <c:v>41310</c:v>
                </c:pt>
                <c:pt idx="31">
                  <c:v>41311</c:v>
                </c:pt>
                <c:pt idx="32">
                  <c:v>41312</c:v>
                </c:pt>
                <c:pt idx="33">
                  <c:v>41313</c:v>
                </c:pt>
                <c:pt idx="34">
                  <c:v>41314</c:v>
                </c:pt>
                <c:pt idx="35">
                  <c:v>41316</c:v>
                </c:pt>
                <c:pt idx="36">
                  <c:v>41317</c:v>
                </c:pt>
                <c:pt idx="37">
                  <c:v>41318</c:v>
                </c:pt>
                <c:pt idx="38">
                  <c:v>41319</c:v>
                </c:pt>
                <c:pt idx="39">
                  <c:v>41320</c:v>
                </c:pt>
                <c:pt idx="40">
                  <c:v>41321</c:v>
                </c:pt>
                <c:pt idx="41">
                  <c:v>41323</c:v>
                </c:pt>
                <c:pt idx="42">
                  <c:v>41324</c:v>
                </c:pt>
                <c:pt idx="43">
                  <c:v>41325</c:v>
                </c:pt>
                <c:pt idx="44">
                  <c:v>41326</c:v>
                </c:pt>
                <c:pt idx="45">
                  <c:v>41327</c:v>
                </c:pt>
                <c:pt idx="46">
                  <c:v>41328</c:v>
                </c:pt>
                <c:pt idx="47">
                  <c:v>41330</c:v>
                </c:pt>
                <c:pt idx="48">
                  <c:v>41331</c:v>
                </c:pt>
                <c:pt idx="49">
                  <c:v>41332</c:v>
                </c:pt>
                <c:pt idx="50">
                  <c:v>41333</c:v>
                </c:pt>
                <c:pt idx="51">
                  <c:v>41334</c:v>
                </c:pt>
                <c:pt idx="52">
                  <c:v>41335</c:v>
                </c:pt>
                <c:pt idx="53">
                  <c:v>41337</c:v>
                </c:pt>
                <c:pt idx="54">
                  <c:v>41338</c:v>
                </c:pt>
                <c:pt idx="55">
                  <c:v>41339</c:v>
                </c:pt>
                <c:pt idx="56">
                  <c:v>41340</c:v>
                </c:pt>
                <c:pt idx="57">
                  <c:v>41341</c:v>
                </c:pt>
                <c:pt idx="58">
                  <c:v>41342</c:v>
                </c:pt>
                <c:pt idx="59">
                  <c:v>41344</c:v>
                </c:pt>
                <c:pt idx="60">
                  <c:v>41345</c:v>
                </c:pt>
                <c:pt idx="61">
                  <c:v>41346</c:v>
                </c:pt>
                <c:pt idx="62">
                  <c:v>41347</c:v>
                </c:pt>
                <c:pt idx="63">
                  <c:v>41348</c:v>
                </c:pt>
                <c:pt idx="64">
                  <c:v>41349</c:v>
                </c:pt>
                <c:pt idx="65">
                  <c:v>41351</c:v>
                </c:pt>
                <c:pt idx="66">
                  <c:v>41352</c:v>
                </c:pt>
                <c:pt idx="67">
                  <c:v>41353</c:v>
                </c:pt>
                <c:pt idx="68">
                  <c:v>41354</c:v>
                </c:pt>
                <c:pt idx="69">
                  <c:v>41355</c:v>
                </c:pt>
                <c:pt idx="70">
                  <c:v>41356</c:v>
                </c:pt>
                <c:pt idx="71">
                  <c:v>41358</c:v>
                </c:pt>
                <c:pt idx="72">
                  <c:v>41359</c:v>
                </c:pt>
                <c:pt idx="73">
                  <c:v>41360</c:v>
                </c:pt>
                <c:pt idx="74">
                  <c:v>41361</c:v>
                </c:pt>
                <c:pt idx="75">
                  <c:v>41362</c:v>
                </c:pt>
                <c:pt idx="76">
                  <c:v>41363</c:v>
                </c:pt>
                <c:pt idx="77">
                  <c:v>41365</c:v>
                </c:pt>
                <c:pt idx="78">
                  <c:v>41366</c:v>
                </c:pt>
                <c:pt idx="79">
                  <c:v>41367</c:v>
                </c:pt>
                <c:pt idx="80">
                  <c:v>41368</c:v>
                </c:pt>
                <c:pt idx="81">
                  <c:v>41369</c:v>
                </c:pt>
                <c:pt idx="82">
                  <c:v>41370</c:v>
                </c:pt>
                <c:pt idx="83">
                  <c:v>41372</c:v>
                </c:pt>
                <c:pt idx="84">
                  <c:v>41373</c:v>
                </c:pt>
                <c:pt idx="85">
                  <c:v>41374</c:v>
                </c:pt>
                <c:pt idx="86">
                  <c:v>41375</c:v>
                </c:pt>
                <c:pt idx="87">
                  <c:v>41376</c:v>
                </c:pt>
                <c:pt idx="88">
                  <c:v>41377</c:v>
                </c:pt>
                <c:pt idx="89">
                  <c:v>41379</c:v>
                </c:pt>
                <c:pt idx="90">
                  <c:v>41380</c:v>
                </c:pt>
                <c:pt idx="91">
                  <c:v>41381</c:v>
                </c:pt>
                <c:pt idx="92">
                  <c:v>41382</c:v>
                </c:pt>
                <c:pt idx="93">
                  <c:v>41383</c:v>
                </c:pt>
                <c:pt idx="94">
                  <c:v>41384</c:v>
                </c:pt>
                <c:pt idx="95">
                  <c:v>41386</c:v>
                </c:pt>
                <c:pt idx="96">
                  <c:v>41387</c:v>
                </c:pt>
                <c:pt idx="97">
                  <c:v>41388</c:v>
                </c:pt>
                <c:pt idx="98">
                  <c:v>41389</c:v>
                </c:pt>
                <c:pt idx="99">
                  <c:v>41390</c:v>
                </c:pt>
                <c:pt idx="100">
                  <c:v>41391</c:v>
                </c:pt>
                <c:pt idx="101">
                  <c:v>41393</c:v>
                </c:pt>
                <c:pt idx="102">
                  <c:v>41394</c:v>
                </c:pt>
                <c:pt idx="103">
                  <c:v>41395</c:v>
                </c:pt>
                <c:pt idx="104">
                  <c:v>41396</c:v>
                </c:pt>
                <c:pt idx="105">
                  <c:v>41397</c:v>
                </c:pt>
                <c:pt idx="106">
                  <c:v>41398</c:v>
                </c:pt>
                <c:pt idx="107">
                  <c:v>41400</c:v>
                </c:pt>
                <c:pt idx="108">
                  <c:v>41401</c:v>
                </c:pt>
                <c:pt idx="109">
                  <c:v>41402</c:v>
                </c:pt>
                <c:pt idx="110">
                  <c:v>41403</c:v>
                </c:pt>
                <c:pt idx="111">
                  <c:v>41404</c:v>
                </c:pt>
                <c:pt idx="112">
                  <c:v>41405</c:v>
                </c:pt>
                <c:pt idx="113">
                  <c:v>41407</c:v>
                </c:pt>
                <c:pt idx="114">
                  <c:v>41408</c:v>
                </c:pt>
                <c:pt idx="115">
                  <c:v>41409</c:v>
                </c:pt>
                <c:pt idx="116">
                  <c:v>41410</c:v>
                </c:pt>
                <c:pt idx="117">
                  <c:v>41411</c:v>
                </c:pt>
                <c:pt idx="118">
                  <c:v>41412</c:v>
                </c:pt>
                <c:pt idx="119">
                  <c:v>41414</c:v>
                </c:pt>
                <c:pt idx="120">
                  <c:v>41415</c:v>
                </c:pt>
                <c:pt idx="121">
                  <c:v>41416</c:v>
                </c:pt>
                <c:pt idx="122">
                  <c:v>41417</c:v>
                </c:pt>
                <c:pt idx="123">
                  <c:v>41418</c:v>
                </c:pt>
                <c:pt idx="124">
                  <c:v>41419</c:v>
                </c:pt>
                <c:pt idx="125">
                  <c:v>41421</c:v>
                </c:pt>
                <c:pt idx="126">
                  <c:v>41422</c:v>
                </c:pt>
                <c:pt idx="127">
                  <c:v>41423</c:v>
                </c:pt>
                <c:pt idx="128">
                  <c:v>41424</c:v>
                </c:pt>
                <c:pt idx="129">
                  <c:v>41425</c:v>
                </c:pt>
                <c:pt idx="130">
                  <c:v>41426</c:v>
                </c:pt>
                <c:pt idx="131">
                  <c:v>41428</c:v>
                </c:pt>
                <c:pt idx="132">
                  <c:v>41429</c:v>
                </c:pt>
                <c:pt idx="133">
                  <c:v>41430</c:v>
                </c:pt>
                <c:pt idx="134">
                  <c:v>41431</c:v>
                </c:pt>
                <c:pt idx="135">
                  <c:v>41432</c:v>
                </c:pt>
                <c:pt idx="136">
                  <c:v>41433</c:v>
                </c:pt>
                <c:pt idx="137">
                  <c:v>41435</c:v>
                </c:pt>
                <c:pt idx="138">
                  <c:v>41436</c:v>
                </c:pt>
                <c:pt idx="139">
                  <c:v>41437</c:v>
                </c:pt>
                <c:pt idx="140">
                  <c:v>41438</c:v>
                </c:pt>
                <c:pt idx="141">
                  <c:v>41439</c:v>
                </c:pt>
                <c:pt idx="142">
                  <c:v>41440</c:v>
                </c:pt>
                <c:pt idx="143">
                  <c:v>41442</c:v>
                </c:pt>
                <c:pt idx="144">
                  <c:v>41443</c:v>
                </c:pt>
                <c:pt idx="145">
                  <c:v>41444</c:v>
                </c:pt>
                <c:pt idx="146">
                  <c:v>41445</c:v>
                </c:pt>
                <c:pt idx="147">
                  <c:v>41446</c:v>
                </c:pt>
                <c:pt idx="148">
                  <c:v>41447</c:v>
                </c:pt>
                <c:pt idx="149">
                  <c:v>41449</c:v>
                </c:pt>
                <c:pt idx="150">
                  <c:v>41450</c:v>
                </c:pt>
                <c:pt idx="151">
                  <c:v>41451</c:v>
                </c:pt>
                <c:pt idx="152">
                  <c:v>41452</c:v>
                </c:pt>
                <c:pt idx="153">
                  <c:v>41453</c:v>
                </c:pt>
                <c:pt idx="154">
                  <c:v>41454</c:v>
                </c:pt>
                <c:pt idx="155">
                  <c:v>41456</c:v>
                </c:pt>
                <c:pt idx="156">
                  <c:v>41457</c:v>
                </c:pt>
                <c:pt idx="157">
                  <c:v>41458</c:v>
                </c:pt>
                <c:pt idx="158">
                  <c:v>41459</c:v>
                </c:pt>
                <c:pt idx="159">
                  <c:v>41460</c:v>
                </c:pt>
                <c:pt idx="160">
                  <c:v>41461</c:v>
                </c:pt>
                <c:pt idx="161">
                  <c:v>41463</c:v>
                </c:pt>
                <c:pt idx="162">
                  <c:v>41464</c:v>
                </c:pt>
                <c:pt idx="163">
                  <c:v>41465</c:v>
                </c:pt>
                <c:pt idx="164">
                  <c:v>41466</c:v>
                </c:pt>
                <c:pt idx="165">
                  <c:v>41467</c:v>
                </c:pt>
                <c:pt idx="166">
                  <c:v>41468</c:v>
                </c:pt>
                <c:pt idx="167">
                  <c:v>41470</c:v>
                </c:pt>
                <c:pt idx="168">
                  <c:v>41471</c:v>
                </c:pt>
                <c:pt idx="169">
                  <c:v>41472</c:v>
                </c:pt>
                <c:pt idx="170">
                  <c:v>41473</c:v>
                </c:pt>
                <c:pt idx="171">
                  <c:v>41474</c:v>
                </c:pt>
                <c:pt idx="172">
                  <c:v>41475</c:v>
                </c:pt>
                <c:pt idx="173">
                  <c:v>41477</c:v>
                </c:pt>
                <c:pt idx="174">
                  <c:v>41478</c:v>
                </c:pt>
                <c:pt idx="175">
                  <c:v>41479</c:v>
                </c:pt>
                <c:pt idx="176">
                  <c:v>41480</c:v>
                </c:pt>
                <c:pt idx="177">
                  <c:v>41481</c:v>
                </c:pt>
                <c:pt idx="178">
                  <c:v>41482</c:v>
                </c:pt>
                <c:pt idx="179">
                  <c:v>41484</c:v>
                </c:pt>
                <c:pt idx="180">
                  <c:v>41485</c:v>
                </c:pt>
                <c:pt idx="181">
                  <c:v>41486</c:v>
                </c:pt>
                <c:pt idx="182">
                  <c:v>41487</c:v>
                </c:pt>
                <c:pt idx="183">
                  <c:v>41488</c:v>
                </c:pt>
                <c:pt idx="184">
                  <c:v>41489</c:v>
                </c:pt>
                <c:pt idx="185">
                  <c:v>41491</c:v>
                </c:pt>
                <c:pt idx="186">
                  <c:v>41492</c:v>
                </c:pt>
                <c:pt idx="187">
                  <c:v>41493</c:v>
                </c:pt>
                <c:pt idx="188">
                  <c:v>41494</c:v>
                </c:pt>
                <c:pt idx="189">
                  <c:v>41495</c:v>
                </c:pt>
                <c:pt idx="190">
                  <c:v>41496</c:v>
                </c:pt>
                <c:pt idx="191">
                  <c:v>41498</c:v>
                </c:pt>
                <c:pt idx="192">
                  <c:v>41499</c:v>
                </c:pt>
                <c:pt idx="193">
                  <c:v>41500</c:v>
                </c:pt>
                <c:pt idx="194">
                  <c:v>41501</c:v>
                </c:pt>
                <c:pt idx="195">
                  <c:v>41502</c:v>
                </c:pt>
                <c:pt idx="196">
                  <c:v>41503</c:v>
                </c:pt>
                <c:pt idx="197">
                  <c:v>41505</c:v>
                </c:pt>
                <c:pt idx="198">
                  <c:v>41506</c:v>
                </c:pt>
                <c:pt idx="199">
                  <c:v>41507</c:v>
                </c:pt>
                <c:pt idx="200">
                  <c:v>41508</c:v>
                </c:pt>
                <c:pt idx="201">
                  <c:v>41509</c:v>
                </c:pt>
                <c:pt idx="202">
                  <c:v>41510</c:v>
                </c:pt>
                <c:pt idx="203">
                  <c:v>41512</c:v>
                </c:pt>
                <c:pt idx="204">
                  <c:v>41513</c:v>
                </c:pt>
                <c:pt idx="205">
                  <c:v>41514</c:v>
                </c:pt>
                <c:pt idx="206">
                  <c:v>41515</c:v>
                </c:pt>
                <c:pt idx="207">
                  <c:v>41516</c:v>
                </c:pt>
                <c:pt idx="208">
                  <c:v>41517</c:v>
                </c:pt>
                <c:pt idx="209">
                  <c:v>41519</c:v>
                </c:pt>
                <c:pt idx="210">
                  <c:v>41520</c:v>
                </c:pt>
                <c:pt idx="211">
                  <c:v>41521</c:v>
                </c:pt>
                <c:pt idx="212">
                  <c:v>41522</c:v>
                </c:pt>
                <c:pt idx="213">
                  <c:v>41523</c:v>
                </c:pt>
                <c:pt idx="214">
                  <c:v>41524</c:v>
                </c:pt>
                <c:pt idx="215">
                  <c:v>41526</c:v>
                </c:pt>
                <c:pt idx="216">
                  <c:v>41527</c:v>
                </c:pt>
                <c:pt idx="217">
                  <c:v>41528</c:v>
                </c:pt>
                <c:pt idx="218">
                  <c:v>41529</c:v>
                </c:pt>
                <c:pt idx="219">
                  <c:v>41530</c:v>
                </c:pt>
                <c:pt idx="220">
                  <c:v>41531</c:v>
                </c:pt>
                <c:pt idx="221">
                  <c:v>41533</c:v>
                </c:pt>
                <c:pt idx="222">
                  <c:v>41534</c:v>
                </c:pt>
                <c:pt idx="223">
                  <c:v>41535</c:v>
                </c:pt>
                <c:pt idx="224">
                  <c:v>41536</c:v>
                </c:pt>
                <c:pt idx="225">
                  <c:v>41537</c:v>
                </c:pt>
                <c:pt idx="226">
                  <c:v>41538</c:v>
                </c:pt>
                <c:pt idx="227">
                  <c:v>41540</c:v>
                </c:pt>
                <c:pt idx="228">
                  <c:v>41541</c:v>
                </c:pt>
                <c:pt idx="229">
                  <c:v>41542</c:v>
                </c:pt>
                <c:pt idx="230">
                  <c:v>41543</c:v>
                </c:pt>
                <c:pt idx="231">
                  <c:v>41544</c:v>
                </c:pt>
                <c:pt idx="232">
                  <c:v>41545</c:v>
                </c:pt>
                <c:pt idx="233">
                  <c:v>41547</c:v>
                </c:pt>
                <c:pt idx="234">
                  <c:v>41548</c:v>
                </c:pt>
                <c:pt idx="235">
                  <c:v>41549</c:v>
                </c:pt>
                <c:pt idx="236">
                  <c:v>41550</c:v>
                </c:pt>
                <c:pt idx="237">
                  <c:v>41551</c:v>
                </c:pt>
                <c:pt idx="238">
                  <c:v>41552</c:v>
                </c:pt>
                <c:pt idx="239">
                  <c:v>41554</c:v>
                </c:pt>
                <c:pt idx="240">
                  <c:v>41555</c:v>
                </c:pt>
                <c:pt idx="241">
                  <c:v>41556</c:v>
                </c:pt>
                <c:pt idx="242">
                  <c:v>41557</c:v>
                </c:pt>
                <c:pt idx="243">
                  <c:v>41558</c:v>
                </c:pt>
                <c:pt idx="244">
                  <c:v>41559</c:v>
                </c:pt>
                <c:pt idx="245">
                  <c:v>41561</c:v>
                </c:pt>
                <c:pt idx="246">
                  <c:v>41562</c:v>
                </c:pt>
                <c:pt idx="247">
                  <c:v>41563</c:v>
                </c:pt>
                <c:pt idx="248">
                  <c:v>41564</c:v>
                </c:pt>
                <c:pt idx="249">
                  <c:v>41565</c:v>
                </c:pt>
                <c:pt idx="250">
                  <c:v>41566</c:v>
                </c:pt>
                <c:pt idx="251">
                  <c:v>41568</c:v>
                </c:pt>
                <c:pt idx="252">
                  <c:v>41569</c:v>
                </c:pt>
                <c:pt idx="253">
                  <c:v>41570</c:v>
                </c:pt>
                <c:pt idx="254">
                  <c:v>41571</c:v>
                </c:pt>
                <c:pt idx="255">
                  <c:v>41572</c:v>
                </c:pt>
                <c:pt idx="256">
                  <c:v>41573</c:v>
                </c:pt>
                <c:pt idx="257">
                  <c:v>41575</c:v>
                </c:pt>
                <c:pt idx="258">
                  <c:v>41576</c:v>
                </c:pt>
                <c:pt idx="259">
                  <c:v>41577</c:v>
                </c:pt>
                <c:pt idx="260">
                  <c:v>41578</c:v>
                </c:pt>
                <c:pt idx="261">
                  <c:v>41579</c:v>
                </c:pt>
                <c:pt idx="262">
                  <c:v>41580</c:v>
                </c:pt>
                <c:pt idx="263">
                  <c:v>41582</c:v>
                </c:pt>
                <c:pt idx="264">
                  <c:v>41583</c:v>
                </c:pt>
                <c:pt idx="265">
                  <c:v>41584</c:v>
                </c:pt>
                <c:pt idx="266">
                  <c:v>41585</c:v>
                </c:pt>
                <c:pt idx="267">
                  <c:v>41586</c:v>
                </c:pt>
                <c:pt idx="268">
                  <c:v>41587</c:v>
                </c:pt>
                <c:pt idx="269">
                  <c:v>41589</c:v>
                </c:pt>
                <c:pt idx="270">
                  <c:v>41590</c:v>
                </c:pt>
                <c:pt idx="271">
                  <c:v>41591</c:v>
                </c:pt>
                <c:pt idx="272">
                  <c:v>41592</c:v>
                </c:pt>
                <c:pt idx="273">
                  <c:v>41593</c:v>
                </c:pt>
                <c:pt idx="274">
                  <c:v>41594</c:v>
                </c:pt>
                <c:pt idx="275">
                  <c:v>41596</c:v>
                </c:pt>
                <c:pt idx="276">
                  <c:v>41597</c:v>
                </c:pt>
                <c:pt idx="277">
                  <c:v>41598</c:v>
                </c:pt>
                <c:pt idx="278">
                  <c:v>41599</c:v>
                </c:pt>
                <c:pt idx="279">
                  <c:v>41600</c:v>
                </c:pt>
                <c:pt idx="280">
                  <c:v>41601</c:v>
                </c:pt>
                <c:pt idx="281">
                  <c:v>41603</c:v>
                </c:pt>
                <c:pt idx="282">
                  <c:v>41604</c:v>
                </c:pt>
                <c:pt idx="283">
                  <c:v>41605</c:v>
                </c:pt>
                <c:pt idx="284">
                  <c:v>41606</c:v>
                </c:pt>
                <c:pt idx="285">
                  <c:v>41607</c:v>
                </c:pt>
                <c:pt idx="286">
                  <c:v>41608</c:v>
                </c:pt>
                <c:pt idx="287">
                  <c:v>41610</c:v>
                </c:pt>
                <c:pt idx="288">
                  <c:v>41611</c:v>
                </c:pt>
                <c:pt idx="289">
                  <c:v>41612</c:v>
                </c:pt>
                <c:pt idx="290">
                  <c:v>41613</c:v>
                </c:pt>
                <c:pt idx="291">
                  <c:v>41614</c:v>
                </c:pt>
                <c:pt idx="292">
                  <c:v>41615</c:v>
                </c:pt>
                <c:pt idx="293">
                  <c:v>41617</c:v>
                </c:pt>
                <c:pt idx="294">
                  <c:v>41618</c:v>
                </c:pt>
                <c:pt idx="295">
                  <c:v>41619</c:v>
                </c:pt>
                <c:pt idx="296">
                  <c:v>41620</c:v>
                </c:pt>
                <c:pt idx="297">
                  <c:v>41621</c:v>
                </c:pt>
                <c:pt idx="298">
                  <c:v>41622</c:v>
                </c:pt>
                <c:pt idx="299">
                  <c:v>41624</c:v>
                </c:pt>
                <c:pt idx="300">
                  <c:v>41625</c:v>
                </c:pt>
                <c:pt idx="301">
                  <c:v>41626</c:v>
                </c:pt>
                <c:pt idx="302">
                  <c:v>41627</c:v>
                </c:pt>
                <c:pt idx="303">
                  <c:v>41628</c:v>
                </c:pt>
                <c:pt idx="304">
                  <c:v>41629</c:v>
                </c:pt>
                <c:pt idx="305">
                  <c:v>41631</c:v>
                </c:pt>
                <c:pt idx="306">
                  <c:v>41632</c:v>
                </c:pt>
                <c:pt idx="307">
                  <c:v>41633</c:v>
                </c:pt>
                <c:pt idx="308">
                  <c:v>41634</c:v>
                </c:pt>
                <c:pt idx="309">
                  <c:v>41635</c:v>
                </c:pt>
                <c:pt idx="310">
                  <c:v>41636</c:v>
                </c:pt>
                <c:pt idx="311">
                  <c:v>41638</c:v>
                </c:pt>
                <c:pt idx="312">
                  <c:v>41639</c:v>
                </c:pt>
                <c:pt idx="313">
                  <c:v>41640</c:v>
                </c:pt>
                <c:pt idx="314">
                  <c:v>41641</c:v>
                </c:pt>
                <c:pt idx="315">
                  <c:v>41642</c:v>
                </c:pt>
                <c:pt idx="316">
                  <c:v>41643</c:v>
                </c:pt>
                <c:pt idx="317">
                  <c:v>41645</c:v>
                </c:pt>
                <c:pt idx="318">
                  <c:v>41646</c:v>
                </c:pt>
                <c:pt idx="319">
                  <c:v>41647</c:v>
                </c:pt>
                <c:pt idx="320">
                  <c:v>41648</c:v>
                </c:pt>
                <c:pt idx="321">
                  <c:v>41649</c:v>
                </c:pt>
                <c:pt idx="322">
                  <c:v>41650</c:v>
                </c:pt>
                <c:pt idx="323">
                  <c:v>41652</c:v>
                </c:pt>
                <c:pt idx="324">
                  <c:v>41653</c:v>
                </c:pt>
                <c:pt idx="325">
                  <c:v>41654</c:v>
                </c:pt>
                <c:pt idx="326">
                  <c:v>41655</c:v>
                </c:pt>
                <c:pt idx="327">
                  <c:v>41656</c:v>
                </c:pt>
                <c:pt idx="328">
                  <c:v>41657</c:v>
                </c:pt>
                <c:pt idx="329">
                  <c:v>41659</c:v>
                </c:pt>
                <c:pt idx="330">
                  <c:v>41660</c:v>
                </c:pt>
                <c:pt idx="331">
                  <c:v>41661</c:v>
                </c:pt>
                <c:pt idx="332">
                  <c:v>41662</c:v>
                </c:pt>
                <c:pt idx="333">
                  <c:v>41663</c:v>
                </c:pt>
                <c:pt idx="334">
                  <c:v>41664</c:v>
                </c:pt>
                <c:pt idx="335">
                  <c:v>41666</c:v>
                </c:pt>
                <c:pt idx="336">
                  <c:v>41667</c:v>
                </c:pt>
                <c:pt idx="337">
                  <c:v>41668</c:v>
                </c:pt>
                <c:pt idx="338">
                  <c:v>41669</c:v>
                </c:pt>
                <c:pt idx="339">
                  <c:v>41670</c:v>
                </c:pt>
                <c:pt idx="340">
                  <c:v>41671</c:v>
                </c:pt>
                <c:pt idx="341">
                  <c:v>41673</c:v>
                </c:pt>
                <c:pt idx="342">
                  <c:v>41674</c:v>
                </c:pt>
                <c:pt idx="343">
                  <c:v>41675</c:v>
                </c:pt>
                <c:pt idx="344">
                  <c:v>41676</c:v>
                </c:pt>
                <c:pt idx="345">
                  <c:v>41677</c:v>
                </c:pt>
                <c:pt idx="346">
                  <c:v>41678</c:v>
                </c:pt>
                <c:pt idx="347">
                  <c:v>41680</c:v>
                </c:pt>
                <c:pt idx="348">
                  <c:v>41681</c:v>
                </c:pt>
                <c:pt idx="349">
                  <c:v>41682</c:v>
                </c:pt>
                <c:pt idx="350">
                  <c:v>41683</c:v>
                </c:pt>
                <c:pt idx="351">
                  <c:v>41684</c:v>
                </c:pt>
                <c:pt idx="352">
                  <c:v>41685</c:v>
                </c:pt>
                <c:pt idx="353">
                  <c:v>41687</c:v>
                </c:pt>
                <c:pt idx="354">
                  <c:v>41688</c:v>
                </c:pt>
                <c:pt idx="355">
                  <c:v>41689</c:v>
                </c:pt>
                <c:pt idx="356">
                  <c:v>41690</c:v>
                </c:pt>
                <c:pt idx="357">
                  <c:v>41691</c:v>
                </c:pt>
                <c:pt idx="358">
                  <c:v>41692</c:v>
                </c:pt>
                <c:pt idx="359">
                  <c:v>41694</c:v>
                </c:pt>
                <c:pt idx="360">
                  <c:v>41695</c:v>
                </c:pt>
                <c:pt idx="361">
                  <c:v>41696</c:v>
                </c:pt>
                <c:pt idx="362">
                  <c:v>41697</c:v>
                </c:pt>
                <c:pt idx="363">
                  <c:v>41698</c:v>
                </c:pt>
                <c:pt idx="364">
                  <c:v>41699</c:v>
                </c:pt>
                <c:pt idx="365">
                  <c:v>41701</c:v>
                </c:pt>
                <c:pt idx="366">
                  <c:v>41702</c:v>
                </c:pt>
                <c:pt idx="367">
                  <c:v>41703</c:v>
                </c:pt>
                <c:pt idx="368">
                  <c:v>41704</c:v>
                </c:pt>
                <c:pt idx="369">
                  <c:v>41705</c:v>
                </c:pt>
                <c:pt idx="370">
                  <c:v>41706</c:v>
                </c:pt>
                <c:pt idx="371">
                  <c:v>41708</c:v>
                </c:pt>
                <c:pt idx="372">
                  <c:v>41709</c:v>
                </c:pt>
                <c:pt idx="373">
                  <c:v>41710</c:v>
                </c:pt>
                <c:pt idx="374">
                  <c:v>41711</c:v>
                </c:pt>
                <c:pt idx="375">
                  <c:v>41712</c:v>
                </c:pt>
                <c:pt idx="376">
                  <c:v>41713</c:v>
                </c:pt>
                <c:pt idx="377">
                  <c:v>41715</c:v>
                </c:pt>
                <c:pt idx="378">
                  <c:v>41716</c:v>
                </c:pt>
                <c:pt idx="379">
                  <c:v>41717</c:v>
                </c:pt>
                <c:pt idx="380">
                  <c:v>41718</c:v>
                </c:pt>
                <c:pt idx="381">
                  <c:v>41719</c:v>
                </c:pt>
                <c:pt idx="382">
                  <c:v>41720</c:v>
                </c:pt>
                <c:pt idx="383">
                  <c:v>41722</c:v>
                </c:pt>
                <c:pt idx="384">
                  <c:v>41723</c:v>
                </c:pt>
                <c:pt idx="385">
                  <c:v>41724</c:v>
                </c:pt>
                <c:pt idx="386">
                  <c:v>41725</c:v>
                </c:pt>
                <c:pt idx="387">
                  <c:v>41726</c:v>
                </c:pt>
                <c:pt idx="388">
                  <c:v>41727</c:v>
                </c:pt>
                <c:pt idx="389">
                  <c:v>41729</c:v>
                </c:pt>
                <c:pt idx="390">
                  <c:v>41730</c:v>
                </c:pt>
                <c:pt idx="391">
                  <c:v>41731</c:v>
                </c:pt>
                <c:pt idx="392">
                  <c:v>41732</c:v>
                </c:pt>
                <c:pt idx="393">
                  <c:v>41733</c:v>
                </c:pt>
                <c:pt idx="394">
                  <c:v>41734</c:v>
                </c:pt>
                <c:pt idx="395">
                  <c:v>41736</c:v>
                </c:pt>
                <c:pt idx="396">
                  <c:v>41737</c:v>
                </c:pt>
                <c:pt idx="397">
                  <c:v>41738</c:v>
                </c:pt>
                <c:pt idx="398">
                  <c:v>41739</c:v>
                </c:pt>
                <c:pt idx="399">
                  <c:v>41740</c:v>
                </c:pt>
                <c:pt idx="400">
                  <c:v>41741</c:v>
                </c:pt>
                <c:pt idx="401">
                  <c:v>41743</c:v>
                </c:pt>
                <c:pt idx="402">
                  <c:v>41744</c:v>
                </c:pt>
                <c:pt idx="403">
                  <c:v>41745</c:v>
                </c:pt>
                <c:pt idx="404">
                  <c:v>41746</c:v>
                </c:pt>
                <c:pt idx="405">
                  <c:v>41747</c:v>
                </c:pt>
                <c:pt idx="406">
                  <c:v>41748</c:v>
                </c:pt>
                <c:pt idx="407">
                  <c:v>41750</c:v>
                </c:pt>
                <c:pt idx="408">
                  <c:v>41751</c:v>
                </c:pt>
                <c:pt idx="409">
                  <c:v>41752</c:v>
                </c:pt>
                <c:pt idx="410">
                  <c:v>41753</c:v>
                </c:pt>
                <c:pt idx="411">
                  <c:v>41754</c:v>
                </c:pt>
                <c:pt idx="412">
                  <c:v>41755</c:v>
                </c:pt>
                <c:pt idx="413">
                  <c:v>41757</c:v>
                </c:pt>
                <c:pt idx="414">
                  <c:v>41758</c:v>
                </c:pt>
                <c:pt idx="415">
                  <c:v>41759</c:v>
                </c:pt>
                <c:pt idx="416">
                  <c:v>41760</c:v>
                </c:pt>
                <c:pt idx="417">
                  <c:v>41761</c:v>
                </c:pt>
                <c:pt idx="418">
                  <c:v>41762</c:v>
                </c:pt>
                <c:pt idx="419">
                  <c:v>41764</c:v>
                </c:pt>
                <c:pt idx="420">
                  <c:v>41765</c:v>
                </c:pt>
                <c:pt idx="421">
                  <c:v>41766</c:v>
                </c:pt>
                <c:pt idx="422">
                  <c:v>41767</c:v>
                </c:pt>
                <c:pt idx="423">
                  <c:v>41768</c:v>
                </c:pt>
                <c:pt idx="424">
                  <c:v>41769</c:v>
                </c:pt>
                <c:pt idx="425">
                  <c:v>41771</c:v>
                </c:pt>
                <c:pt idx="426">
                  <c:v>41772</c:v>
                </c:pt>
                <c:pt idx="427">
                  <c:v>41773</c:v>
                </c:pt>
                <c:pt idx="428">
                  <c:v>41774</c:v>
                </c:pt>
                <c:pt idx="429">
                  <c:v>41775</c:v>
                </c:pt>
                <c:pt idx="430">
                  <c:v>41776</c:v>
                </c:pt>
                <c:pt idx="431">
                  <c:v>41778</c:v>
                </c:pt>
                <c:pt idx="432">
                  <c:v>41779</c:v>
                </c:pt>
                <c:pt idx="433">
                  <c:v>41780</c:v>
                </c:pt>
                <c:pt idx="434">
                  <c:v>41781</c:v>
                </c:pt>
                <c:pt idx="435">
                  <c:v>41782</c:v>
                </c:pt>
                <c:pt idx="436">
                  <c:v>41783</c:v>
                </c:pt>
                <c:pt idx="437">
                  <c:v>41785</c:v>
                </c:pt>
                <c:pt idx="438">
                  <c:v>41786</c:v>
                </c:pt>
                <c:pt idx="439">
                  <c:v>41787</c:v>
                </c:pt>
                <c:pt idx="440">
                  <c:v>41788</c:v>
                </c:pt>
                <c:pt idx="441">
                  <c:v>41789</c:v>
                </c:pt>
                <c:pt idx="442">
                  <c:v>41790</c:v>
                </c:pt>
                <c:pt idx="443">
                  <c:v>41792</c:v>
                </c:pt>
                <c:pt idx="444">
                  <c:v>41793</c:v>
                </c:pt>
                <c:pt idx="445">
                  <c:v>41794</c:v>
                </c:pt>
                <c:pt idx="446">
                  <c:v>41795</c:v>
                </c:pt>
                <c:pt idx="447">
                  <c:v>41796</c:v>
                </c:pt>
                <c:pt idx="448">
                  <c:v>41797</c:v>
                </c:pt>
                <c:pt idx="449">
                  <c:v>41799</c:v>
                </c:pt>
                <c:pt idx="450">
                  <c:v>41800</c:v>
                </c:pt>
                <c:pt idx="451">
                  <c:v>41801</c:v>
                </c:pt>
                <c:pt idx="452">
                  <c:v>41802</c:v>
                </c:pt>
                <c:pt idx="453">
                  <c:v>41803</c:v>
                </c:pt>
                <c:pt idx="454">
                  <c:v>41804</c:v>
                </c:pt>
                <c:pt idx="455">
                  <c:v>41806</c:v>
                </c:pt>
                <c:pt idx="456">
                  <c:v>41807</c:v>
                </c:pt>
                <c:pt idx="457">
                  <c:v>41808</c:v>
                </c:pt>
                <c:pt idx="458">
                  <c:v>41809</c:v>
                </c:pt>
                <c:pt idx="459">
                  <c:v>41810</c:v>
                </c:pt>
                <c:pt idx="460">
                  <c:v>41811</c:v>
                </c:pt>
                <c:pt idx="461">
                  <c:v>41813</c:v>
                </c:pt>
                <c:pt idx="462">
                  <c:v>41814</c:v>
                </c:pt>
                <c:pt idx="463">
                  <c:v>41815</c:v>
                </c:pt>
                <c:pt idx="464">
                  <c:v>41816</c:v>
                </c:pt>
                <c:pt idx="465">
                  <c:v>41817</c:v>
                </c:pt>
                <c:pt idx="466">
                  <c:v>41818</c:v>
                </c:pt>
                <c:pt idx="467">
                  <c:v>41820</c:v>
                </c:pt>
                <c:pt idx="468">
                  <c:v>41821</c:v>
                </c:pt>
                <c:pt idx="469">
                  <c:v>41822</c:v>
                </c:pt>
                <c:pt idx="470">
                  <c:v>41823</c:v>
                </c:pt>
                <c:pt idx="471">
                  <c:v>41824</c:v>
                </c:pt>
                <c:pt idx="472">
                  <c:v>41825</c:v>
                </c:pt>
                <c:pt idx="473">
                  <c:v>41827</c:v>
                </c:pt>
                <c:pt idx="474">
                  <c:v>41828</c:v>
                </c:pt>
                <c:pt idx="475">
                  <c:v>41829</c:v>
                </c:pt>
                <c:pt idx="476">
                  <c:v>41830</c:v>
                </c:pt>
                <c:pt idx="477">
                  <c:v>41831</c:v>
                </c:pt>
                <c:pt idx="478">
                  <c:v>41832</c:v>
                </c:pt>
                <c:pt idx="479">
                  <c:v>41834</c:v>
                </c:pt>
                <c:pt idx="480">
                  <c:v>41835</c:v>
                </c:pt>
                <c:pt idx="481">
                  <c:v>41836</c:v>
                </c:pt>
                <c:pt idx="482">
                  <c:v>41837</c:v>
                </c:pt>
                <c:pt idx="483">
                  <c:v>41838</c:v>
                </c:pt>
                <c:pt idx="484">
                  <c:v>41839</c:v>
                </c:pt>
                <c:pt idx="485">
                  <c:v>41841</c:v>
                </c:pt>
                <c:pt idx="486">
                  <c:v>41842</c:v>
                </c:pt>
                <c:pt idx="487">
                  <c:v>41843</c:v>
                </c:pt>
                <c:pt idx="488">
                  <c:v>41844</c:v>
                </c:pt>
                <c:pt idx="489">
                  <c:v>41845</c:v>
                </c:pt>
                <c:pt idx="490">
                  <c:v>41846</c:v>
                </c:pt>
                <c:pt idx="491">
                  <c:v>41848</c:v>
                </c:pt>
                <c:pt idx="492">
                  <c:v>41849</c:v>
                </c:pt>
                <c:pt idx="493">
                  <c:v>41850</c:v>
                </c:pt>
                <c:pt idx="494">
                  <c:v>41851</c:v>
                </c:pt>
                <c:pt idx="495">
                  <c:v>41852</c:v>
                </c:pt>
                <c:pt idx="496">
                  <c:v>41853</c:v>
                </c:pt>
                <c:pt idx="497">
                  <c:v>41855</c:v>
                </c:pt>
                <c:pt idx="498">
                  <c:v>41856</c:v>
                </c:pt>
                <c:pt idx="499">
                  <c:v>41857</c:v>
                </c:pt>
                <c:pt idx="500">
                  <c:v>41858</c:v>
                </c:pt>
                <c:pt idx="501">
                  <c:v>41859</c:v>
                </c:pt>
                <c:pt idx="502">
                  <c:v>41860</c:v>
                </c:pt>
                <c:pt idx="503">
                  <c:v>41862</c:v>
                </c:pt>
                <c:pt idx="504">
                  <c:v>41863</c:v>
                </c:pt>
                <c:pt idx="505">
                  <c:v>41864</c:v>
                </c:pt>
                <c:pt idx="506">
                  <c:v>41865</c:v>
                </c:pt>
                <c:pt idx="507">
                  <c:v>41866</c:v>
                </c:pt>
                <c:pt idx="508">
                  <c:v>41867</c:v>
                </c:pt>
                <c:pt idx="509">
                  <c:v>41869</c:v>
                </c:pt>
                <c:pt idx="510">
                  <c:v>41870</c:v>
                </c:pt>
                <c:pt idx="511">
                  <c:v>41871</c:v>
                </c:pt>
                <c:pt idx="512">
                  <c:v>41872</c:v>
                </c:pt>
                <c:pt idx="513">
                  <c:v>41873</c:v>
                </c:pt>
                <c:pt idx="514">
                  <c:v>41874</c:v>
                </c:pt>
                <c:pt idx="515">
                  <c:v>41876</c:v>
                </c:pt>
                <c:pt idx="516">
                  <c:v>41877</c:v>
                </c:pt>
                <c:pt idx="517">
                  <c:v>41878</c:v>
                </c:pt>
                <c:pt idx="518">
                  <c:v>41879</c:v>
                </c:pt>
                <c:pt idx="519">
                  <c:v>41880</c:v>
                </c:pt>
                <c:pt idx="520">
                  <c:v>41881</c:v>
                </c:pt>
                <c:pt idx="521">
                  <c:v>41883</c:v>
                </c:pt>
                <c:pt idx="522">
                  <c:v>41884</c:v>
                </c:pt>
                <c:pt idx="523">
                  <c:v>41885</c:v>
                </c:pt>
                <c:pt idx="524">
                  <c:v>41886</c:v>
                </c:pt>
                <c:pt idx="525">
                  <c:v>41887</c:v>
                </c:pt>
                <c:pt idx="526">
                  <c:v>41888</c:v>
                </c:pt>
                <c:pt idx="527">
                  <c:v>41890</c:v>
                </c:pt>
                <c:pt idx="528">
                  <c:v>41891</c:v>
                </c:pt>
                <c:pt idx="529">
                  <c:v>41892</c:v>
                </c:pt>
                <c:pt idx="530">
                  <c:v>41893</c:v>
                </c:pt>
                <c:pt idx="531">
                  <c:v>41894</c:v>
                </c:pt>
                <c:pt idx="532">
                  <c:v>41895</c:v>
                </c:pt>
                <c:pt idx="533">
                  <c:v>41897</c:v>
                </c:pt>
                <c:pt idx="534">
                  <c:v>41898</c:v>
                </c:pt>
                <c:pt idx="535">
                  <c:v>41899</c:v>
                </c:pt>
                <c:pt idx="536">
                  <c:v>41900</c:v>
                </c:pt>
                <c:pt idx="537">
                  <c:v>41901</c:v>
                </c:pt>
                <c:pt idx="538">
                  <c:v>41902</c:v>
                </c:pt>
                <c:pt idx="539">
                  <c:v>41904</c:v>
                </c:pt>
                <c:pt idx="540">
                  <c:v>41905</c:v>
                </c:pt>
                <c:pt idx="541">
                  <c:v>41906</c:v>
                </c:pt>
                <c:pt idx="542">
                  <c:v>41907</c:v>
                </c:pt>
                <c:pt idx="543">
                  <c:v>41908</c:v>
                </c:pt>
                <c:pt idx="544">
                  <c:v>41909</c:v>
                </c:pt>
                <c:pt idx="545">
                  <c:v>41911</c:v>
                </c:pt>
                <c:pt idx="546">
                  <c:v>41912</c:v>
                </c:pt>
                <c:pt idx="547">
                  <c:v>41913</c:v>
                </c:pt>
                <c:pt idx="548">
                  <c:v>41914</c:v>
                </c:pt>
                <c:pt idx="549">
                  <c:v>41915</c:v>
                </c:pt>
                <c:pt idx="550">
                  <c:v>41916</c:v>
                </c:pt>
                <c:pt idx="551">
                  <c:v>41918</c:v>
                </c:pt>
                <c:pt idx="552">
                  <c:v>41919</c:v>
                </c:pt>
                <c:pt idx="553">
                  <c:v>41920</c:v>
                </c:pt>
                <c:pt idx="554">
                  <c:v>41921</c:v>
                </c:pt>
                <c:pt idx="555">
                  <c:v>41922</c:v>
                </c:pt>
                <c:pt idx="556">
                  <c:v>41923</c:v>
                </c:pt>
                <c:pt idx="557">
                  <c:v>41925</c:v>
                </c:pt>
                <c:pt idx="558">
                  <c:v>41926</c:v>
                </c:pt>
                <c:pt idx="559">
                  <c:v>41927</c:v>
                </c:pt>
                <c:pt idx="560">
                  <c:v>41928</c:v>
                </c:pt>
                <c:pt idx="561">
                  <c:v>41929</c:v>
                </c:pt>
                <c:pt idx="562">
                  <c:v>41930</c:v>
                </c:pt>
                <c:pt idx="563">
                  <c:v>41932</c:v>
                </c:pt>
                <c:pt idx="564">
                  <c:v>41933</c:v>
                </c:pt>
                <c:pt idx="565">
                  <c:v>41934</c:v>
                </c:pt>
                <c:pt idx="566">
                  <c:v>41935</c:v>
                </c:pt>
                <c:pt idx="567">
                  <c:v>41936</c:v>
                </c:pt>
                <c:pt idx="568">
                  <c:v>41937</c:v>
                </c:pt>
                <c:pt idx="569">
                  <c:v>41939</c:v>
                </c:pt>
                <c:pt idx="570">
                  <c:v>41940</c:v>
                </c:pt>
                <c:pt idx="571">
                  <c:v>41941</c:v>
                </c:pt>
                <c:pt idx="572">
                  <c:v>41942</c:v>
                </c:pt>
                <c:pt idx="573">
                  <c:v>41943</c:v>
                </c:pt>
                <c:pt idx="574">
                  <c:v>41944</c:v>
                </c:pt>
                <c:pt idx="575">
                  <c:v>41946</c:v>
                </c:pt>
                <c:pt idx="576">
                  <c:v>41947</c:v>
                </c:pt>
                <c:pt idx="577">
                  <c:v>41948</c:v>
                </c:pt>
                <c:pt idx="578">
                  <c:v>41949</c:v>
                </c:pt>
                <c:pt idx="579">
                  <c:v>41950</c:v>
                </c:pt>
                <c:pt idx="580">
                  <c:v>41951</c:v>
                </c:pt>
                <c:pt idx="581">
                  <c:v>41953</c:v>
                </c:pt>
                <c:pt idx="582">
                  <c:v>41954</c:v>
                </c:pt>
                <c:pt idx="583">
                  <c:v>41955</c:v>
                </c:pt>
                <c:pt idx="584">
                  <c:v>41956</c:v>
                </c:pt>
                <c:pt idx="585">
                  <c:v>41957</c:v>
                </c:pt>
                <c:pt idx="586">
                  <c:v>41958</c:v>
                </c:pt>
                <c:pt idx="587">
                  <c:v>41960</c:v>
                </c:pt>
                <c:pt idx="588">
                  <c:v>41961</c:v>
                </c:pt>
                <c:pt idx="589">
                  <c:v>41962</c:v>
                </c:pt>
                <c:pt idx="590">
                  <c:v>41963</c:v>
                </c:pt>
                <c:pt idx="591">
                  <c:v>41964</c:v>
                </c:pt>
                <c:pt idx="592">
                  <c:v>41965</c:v>
                </c:pt>
                <c:pt idx="593">
                  <c:v>41967</c:v>
                </c:pt>
                <c:pt idx="594">
                  <c:v>41968</c:v>
                </c:pt>
                <c:pt idx="595">
                  <c:v>41969</c:v>
                </c:pt>
                <c:pt idx="596">
                  <c:v>41970</c:v>
                </c:pt>
                <c:pt idx="597">
                  <c:v>41971</c:v>
                </c:pt>
                <c:pt idx="598">
                  <c:v>41972</c:v>
                </c:pt>
                <c:pt idx="599">
                  <c:v>41974</c:v>
                </c:pt>
                <c:pt idx="600">
                  <c:v>41975</c:v>
                </c:pt>
                <c:pt idx="601">
                  <c:v>41976</c:v>
                </c:pt>
                <c:pt idx="602">
                  <c:v>41977</c:v>
                </c:pt>
                <c:pt idx="603">
                  <c:v>41978</c:v>
                </c:pt>
                <c:pt idx="604">
                  <c:v>41979</c:v>
                </c:pt>
                <c:pt idx="605">
                  <c:v>41981</c:v>
                </c:pt>
                <c:pt idx="606">
                  <c:v>41982</c:v>
                </c:pt>
                <c:pt idx="607">
                  <c:v>41983</c:v>
                </c:pt>
                <c:pt idx="608">
                  <c:v>41984</c:v>
                </c:pt>
                <c:pt idx="609">
                  <c:v>41985</c:v>
                </c:pt>
                <c:pt idx="610">
                  <c:v>41986</c:v>
                </c:pt>
                <c:pt idx="611">
                  <c:v>41988</c:v>
                </c:pt>
                <c:pt idx="612">
                  <c:v>41989</c:v>
                </c:pt>
                <c:pt idx="613">
                  <c:v>41990</c:v>
                </c:pt>
                <c:pt idx="614">
                  <c:v>41991</c:v>
                </c:pt>
                <c:pt idx="615">
                  <c:v>41992</c:v>
                </c:pt>
                <c:pt idx="616">
                  <c:v>41993</c:v>
                </c:pt>
                <c:pt idx="617">
                  <c:v>41995</c:v>
                </c:pt>
                <c:pt idx="618">
                  <c:v>41996</c:v>
                </c:pt>
                <c:pt idx="619">
                  <c:v>41997</c:v>
                </c:pt>
                <c:pt idx="620">
                  <c:v>41998</c:v>
                </c:pt>
              </c:numCache>
            </c:numRef>
          </c:xVal>
          <c:yVal>
            <c:numRef>
              <c:f>volume_total_Daily!$B$941:$B$1561</c:f>
              <c:numCache>
                <c:formatCode>_(* #,##0_);_(* \(#,##0\);_(* "-"_);_(@_)</c:formatCode>
                <c:ptCount val="621"/>
                <c:pt idx="0">
                  <c:v>137788.47</c:v>
                </c:pt>
                <c:pt idx="1">
                  <c:v>597293.90599999996</c:v>
                </c:pt>
                <c:pt idx="2">
                  <c:v>450882.69400000002</c:v>
                </c:pt>
                <c:pt idx="3">
                  <c:v>400839.71799999999</c:v>
                </c:pt>
                <c:pt idx="4">
                  <c:v>59869.96</c:v>
                </c:pt>
                <c:pt idx="5">
                  <c:v>360643.29700000002</c:v>
                </c:pt>
                <c:pt idx="6">
                  <c:v>338421.62800000003</c:v>
                </c:pt>
                <c:pt idx="7">
                  <c:v>250856.17700000011</c:v>
                </c:pt>
                <c:pt idx="8">
                  <c:v>257010.27800000011</c:v>
                </c:pt>
                <c:pt idx="9">
                  <c:v>381328.01</c:v>
                </c:pt>
                <c:pt idx="10">
                  <c:v>43844.096999999994</c:v>
                </c:pt>
                <c:pt idx="11">
                  <c:v>337983.78499999997</c:v>
                </c:pt>
                <c:pt idx="12">
                  <c:v>332590.81300000002</c:v>
                </c:pt>
                <c:pt idx="13">
                  <c:v>261924.45799999998</c:v>
                </c:pt>
                <c:pt idx="14">
                  <c:v>313323.85499999986</c:v>
                </c:pt>
                <c:pt idx="15">
                  <c:v>302048.40399999998</c:v>
                </c:pt>
                <c:pt idx="16">
                  <c:v>46053.962999999996</c:v>
                </c:pt>
                <c:pt idx="17">
                  <c:v>342038.23500000022</c:v>
                </c:pt>
                <c:pt idx="18">
                  <c:v>324002.576</c:v>
                </c:pt>
                <c:pt idx="19">
                  <c:v>271685.701</c:v>
                </c:pt>
                <c:pt idx="20">
                  <c:v>328175.72100000002</c:v>
                </c:pt>
                <c:pt idx="21">
                  <c:v>328664.08199999999</c:v>
                </c:pt>
                <c:pt idx="22">
                  <c:v>43078.810000000012</c:v>
                </c:pt>
                <c:pt idx="23">
                  <c:v>317178.15599999984</c:v>
                </c:pt>
                <c:pt idx="24">
                  <c:v>295215.33500000002</c:v>
                </c:pt>
                <c:pt idx="25">
                  <c:v>240016.93</c:v>
                </c:pt>
                <c:pt idx="26">
                  <c:v>168684.80299999999</c:v>
                </c:pt>
                <c:pt idx="27">
                  <c:v>643021.62100000004</c:v>
                </c:pt>
                <c:pt idx="28">
                  <c:v>135550.33199999965</c:v>
                </c:pt>
                <c:pt idx="29">
                  <c:v>473667.30900000001</c:v>
                </c:pt>
                <c:pt idx="30">
                  <c:v>518633.864</c:v>
                </c:pt>
                <c:pt idx="31">
                  <c:v>504181.53300000122</c:v>
                </c:pt>
                <c:pt idx="32">
                  <c:v>526980.21499999682</c:v>
                </c:pt>
                <c:pt idx="33">
                  <c:v>343788.79499999998</c:v>
                </c:pt>
                <c:pt idx="34">
                  <c:v>30743.495999999999</c:v>
                </c:pt>
                <c:pt idx="36">
                  <c:v>296253.16799999989</c:v>
                </c:pt>
                <c:pt idx="37">
                  <c:v>299687.4920000002</c:v>
                </c:pt>
                <c:pt idx="38">
                  <c:v>291997.51899999985</c:v>
                </c:pt>
                <c:pt idx="39">
                  <c:v>294496.84299999959</c:v>
                </c:pt>
                <c:pt idx="40">
                  <c:v>42791.184000000001</c:v>
                </c:pt>
                <c:pt idx="41">
                  <c:v>287514.77100000001</c:v>
                </c:pt>
                <c:pt idx="42">
                  <c:v>280593.07199999999</c:v>
                </c:pt>
                <c:pt idx="43">
                  <c:v>231766.39399999968</c:v>
                </c:pt>
                <c:pt idx="44">
                  <c:v>348839.29800000001</c:v>
                </c:pt>
                <c:pt idx="45">
                  <c:v>313294.40999999997</c:v>
                </c:pt>
                <c:pt idx="46">
                  <c:v>40395.932000000001</c:v>
                </c:pt>
                <c:pt idx="47">
                  <c:v>326583.02500000002</c:v>
                </c:pt>
                <c:pt idx="48">
                  <c:v>316255.22899999999</c:v>
                </c:pt>
                <c:pt idx="49">
                  <c:v>274175.20600000001</c:v>
                </c:pt>
                <c:pt idx="50">
                  <c:v>194649.84700000001</c:v>
                </c:pt>
                <c:pt idx="51">
                  <c:v>428892.16799999989</c:v>
                </c:pt>
                <c:pt idx="52">
                  <c:v>70930.185000000027</c:v>
                </c:pt>
                <c:pt idx="53">
                  <c:v>529950.29899999837</c:v>
                </c:pt>
                <c:pt idx="54">
                  <c:v>434275.86199999985</c:v>
                </c:pt>
                <c:pt idx="55">
                  <c:v>335359.01</c:v>
                </c:pt>
                <c:pt idx="56">
                  <c:v>330812.93699999998</c:v>
                </c:pt>
                <c:pt idx="57">
                  <c:v>365386.98300000129</c:v>
                </c:pt>
                <c:pt idx="58">
                  <c:v>56182.287000000004</c:v>
                </c:pt>
                <c:pt idx="59">
                  <c:v>377680.25400000002</c:v>
                </c:pt>
                <c:pt idx="60">
                  <c:v>350331.1930000002</c:v>
                </c:pt>
                <c:pt idx="61">
                  <c:v>284918.28999999998</c:v>
                </c:pt>
                <c:pt idx="62">
                  <c:v>378677.11799999984</c:v>
                </c:pt>
                <c:pt idx="63">
                  <c:v>383629.4</c:v>
                </c:pt>
                <c:pt idx="64">
                  <c:v>54006.064999999995</c:v>
                </c:pt>
                <c:pt idx="65">
                  <c:v>375611.49800000002</c:v>
                </c:pt>
                <c:pt idx="66">
                  <c:v>369325.94199999986</c:v>
                </c:pt>
                <c:pt idx="67">
                  <c:v>274797.36499999999</c:v>
                </c:pt>
                <c:pt idx="68">
                  <c:v>418761.69500000001</c:v>
                </c:pt>
                <c:pt idx="69">
                  <c:v>372175.61599999986</c:v>
                </c:pt>
                <c:pt idx="70">
                  <c:v>60274.923999999999</c:v>
                </c:pt>
                <c:pt idx="71">
                  <c:v>361705.43800000002</c:v>
                </c:pt>
                <c:pt idx="72">
                  <c:v>357455.57299999986</c:v>
                </c:pt>
                <c:pt idx="73">
                  <c:v>294539.00799999986</c:v>
                </c:pt>
                <c:pt idx="74">
                  <c:v>323626.16499999986</c:v>
                </c:pt>
                <c:pt idx="75">
                  <c:v>242550.54699999999</c:v>
                </c:pt>
                <c:pt idx="76">
                  <c:v>30012.656999999996</c:v>
                </c:pt>
                <c:pt idx="77">
                  <c:v>617829.36200000043</c:v>
                </c:pt>
                <c:pt idx="78">
                  <c:v>460084.288</c:v>
                </c:pt>
                <c:pt idx="79">
                  <c:v>377530.69400000002</c:v>
                </c:pt>
                <c:pt idx="80">
                  <c:v>405830.30799999984</c:v>
                </c:pt>
                <c:pt idx="81">
                  <c:v>401209.15899999859</c:v>
                </c:pt>
                <c:pt idx="82">
                  <c:v>39438.601999999999</c:v>
                </c:pt>
                <c:pt idx="83">
                  <c:v>316483.804</c:v>
                </c:pt>
                <c:pt idx="84">
                  <c:v>310224.29700000002</c:v>
                </c:pt>
                <c:pt idx="85">
                  <c:v>230095.38499999922</c:v>
                </c:pt>
                <c:pt idx="86">
                  <c:v>422233.24900000001</c:v>
                </c:pt>
                <c:pt idx="87">
                  <c:v>392238.43900000141</c:v>
                </c:pt>
                <c:pt idx="88">
                  <c:v>44492.864000000001</c:v>
                </c:pt>
                <c:pt idx="89">
                  <c:v>354113.4430000002</c:v>
                </c:pt>
                <c:pt idx="90">
                  <c:v>370096.68</c:v>
                </c:pt>
                <c:pt idx="91">
                  <c:v>293296.59700000001</c:v>
                </c:pt>
                <c:pt idx="92">
                  <c:v>380720.87099999993</c:v>
                </c:pt>
                <c:pt idx="93">
                  <c:v>362152.1930000002</c:v>
                </c:pt>
                <c:pt idx="94">
                  <c:v>53670.302000000003</c:v>
                </c:pt>
                <c:pt idx="95">
                  <c:v>439498.66899999959</c:v>
                </c:pt>
                <c:pt idx="96">
                  <c:v>349680.06300000002</c:v>
                </c:pt>
                <c:pt idx="97">
                  <c:v>305500.69400000002</c:v>
                </c:pt>
                <c:pt idx="98">
                  <c:v>339133.70799999993</c:v>
                </c:pt>
                <c:pt idx="99">
                  <c:v>375280.15699999989</c:v>
                </c:pt>
                <c:pt idx="100">
                  <c:v>53486.649000000005</c:v>
                </c:pt>
                <c:pt idx="101">
                  <c:v>305513.53899999999</c:v>
                </c:pt>
                <c:pt idx="102">
                  <c:v>163509.24800000011</c:v>
                </c:pt>
                <c:pt idx="103">
                  <c:v>660064.56900000002</c:v>
                </c:pt>
                <c:pt idx="104">
                  <c:v>536282.7899999962</c:v>
                </c:pt>
                <c:pt idx="105">
                  <c:v>501334.38900000002</c:v>
                </c:pt>
                <c:pt idx="106">
                  <c:v>77034.2</c:v>
                </c:pt>
                <c:pt idx="107">
                  <c:v>402047.39600000001</c:v>
                </c:pt>
                <c:pt idx="108">
                  <c:v>401953.27899999986</c:v>
                </c:pt>
                <c:pt idx="109">
                  <c:v>351347.53200000001</c:v>
                </c:pt>
                <c:pt idx="110">
                  <c:v>425695.59299999999</c:v>
                </c:pt>
                <c:pt idx="111">
                  <c:v>345526.46799999999</c:v>
                </c:pt>
                <c:pt idx="112">
                  <c:v>57851.303</c:v>
                </c:pt>
                <c:pt idx="113">
                  <c:v>513460.46299999999</c:v>
                </c:pt>
                <c:pt idx="114">
                  <c:v>503855.79800000001</c:v>
                </c:pt>
                <c:pt idx="115">
                  <c:v>493830.93300000153</c:v>
                </c:pt>
                <c:pt idx="116">
                  <c:v>560625.67899999896</c:v>
                </c:pt>
                <c:pt idx="117">
                  <c:v>215735.83599999998</c:v>
                </c:pt>
                <c:pt idx="118">
                  <c:v>58521.164999999994</c:v>
                </c:pt>
                <c:pt idx="119">
                  <c:v>480883.255</c:v>
                </c:pt>
                <c:pt idx="120">
                  <c:v>540690.43000000005</c:v>
                </c:pt>
                <c:pt idx="121">
                  <c:v>381740.27399999998</c:v>
                </c:pt>
                <c:pt idx="122">
                  <c:v>426732.15099999984</c:v>
                </c:pt>
                <c:pt idx="123">
                  <c:v>465029.83299999993</c:v>
                </c:pt>
                <c:pt idx="124">
                  <c:v>63303.693999999996</c:v>
                </c:pt>
                <c:pt idx="125">
                  <c:v>429625.96899999987</c:v>
                </c:pt>
                <c:pt idx="126">
                  <c:v>392531.11300000001</c:v>
                </c:pt>
                <c:pt idx="127">
                  <c:v>342886.05900000001</c:v>
                </c:pt>
                <c:pt idx="128">
                  <c:v>398338.37699999986</c:v>
                </c:pt>
                <c:pt idx="129">
                  <c:v>241592.24900000001</c:v>
                </c:pt>
                <c:pt idx="130">
                  <c:v>264626.46100000001</c:v>
                </c:pt>
                <c:pt idx="131">
                  <c:v>726116.95000000042</c:v>
                </c:pt>
                <c:pt idx="132">
                  <c:v>614459.43799999997</c:v>
                </c:pt>
                <c:pt idx="133">
                  <c:v>600281.95499999996</c:v>
                </c:pt>
                <c:pt idx="134">
                  <c:v>204970.25200000001</c:v>
                </c:pt>
                <c:pt idx="135">
                  <c:v>562303.92700000003</c:v>
                </c:pt>
                <c:pt idx="136">
                  <c:v>104499.23999999999</c:v>
                </c:pt>
                <c:pt idx="137">
                  <c:v>544220.53899999999</c:v>
                </c:pt>
                <c:pt idx="138">
                  <c:v>630815.35200000042</c:v>
                </c:pt>
                <c:pt idx="139">
                  <c:v>443480.86499999999</c:v>
                </c:pt>
                <c:pt idx="140">
                  <c:v>525844.72699999996</c:v>
                </c:pt>
                <c:pt idx="141">
                  <c:v>542492.60199999996</c:v>
                </c:pt>
                <c:pt idx="142">
                  <c:v>89683.930999999968</c:v>
                </c:pt>
                <c:pt idx="143">
                  <c:v>530345.91500000004</c:v>
                </c:pt>
                <c:pt idx="144">
                  <c:v>404923.04799999989</c:v>
                </c:pt>
                <c:pt idx="145">
                  <c:v>427029.68</c:v>
                </c:pt>
                <c:pt idx="146">
                  <c:v>449223.63400000002</c:v>
                </c:pt>
                <c:pt idx="147">
                  <c:v>583699.5</c:v>
                </c:pt>
                <c:pt idx="148">
                  <c:v>74517.222999999998</c:v>
                </c:pt>
                <c:pt idx="149">
                  <c:v>518534.61300000001</c:v>
                </c:pt>
                <c:pt idx="150">
                  <c:v>469216.28400000022</c:v>
                </c:pt>
                <c:pt idx="151">
                  <c:v>385038.97200000001</c:v>
                </c:pt>
                <c:pt idx="152">
                  <c:v>446540.29100000008</c:v>
                </c:pt>
                <c:pt idx="153">
                  <c:v>365332.049</c:v>
                </c:pt>
                <c:pt idx="154">
                  <c:v>56925.260999999999</c:v>
                </c:pt>
                <c:pt idx="155">
                  <c:v>769651.73600000003</c:v>
                </c:pt>
                <c:pt idx="156">
                  <c:v>547500.64099999936</c:v>
                </c:pt>
                <c:pt idx="157">
                  <c:v>461559.5</c:v>
                </c:pt>
                <c:pt idx="158">
                  <c:v>518033.58100000001</c:v>
                </c:pt>
                <c:pt idx="159">
                  <c:v>515731.49400000129</c:v>
                </c:pt>
                <c:pt idx="160">
                  <c:v>81080.996999999596</c:v>
                </c:pt>
                <c:pt idx="161">
                  <c:v>486187.05699999986</c:v>
                </c:pt>
                <c:pt idx="162">
                  <c:v>469381.00799999986</c:v>
                </c:pt>
                <c:pt idx="163">
                  <c:v>395644.89199999999</c:v>
                </c:pt>
                <c:pt idx="164">
                  <c:v>537114.43999999936</c:v>
                </c:pt>
                <c:pt idx="165">
                  <c:v>521870.1</c:v>
                </c:pt>
                <c:pt idx="166">
                  <c:v>86476.937999999878</c:v>
                </c:pt>
                <c:pt idx="167">
                  <c:v>537560.84800000244</c:v>
                </c:pt>
                <c:pt idx="168">
                  <c:v>513189.93000000028</c:v>
                </c:pt>
                <c:pt idx="169">
                  <c:v>433574.68699999986</c:v>
                </c:pt>
                <c:pt idx="170">
                  <c:v>479508.76199999999</c:v>
                </c:pt>
                <c:pt idx="171">
                  <c:v>516130.05300000001</c:v>
                </c:pt>
                <c:pt idx="172">
                  <c:v>88822.028999999995</c:v>
                </c:pt>
                <c:pt idx="173">
                  <c:v>574658.21100000001</c:v>
                </c:pt>
                <c:pt idx="174">
                  <c:v>502823.9</c:v>
                </c:pt>
                <c:pt idx="175">
                  <c:v>485945.33600000001</c:v>
                </c:pt>
                <c:pt idx="176">
                  <c:v>541104.576</c:v>
                </c:pt>
                <c:pt idx="177">
                  <c:v>542490.61199999996</c:v>
                </c:pt>
                <c:pt idx="178">
                  <c:v>93272.702999999878</c:v>
                </c:pt>
                <c:pt idx="179">
                  <c:v>512104.73400000122</c:v>
                </c:pt>
                <c:pt idx="180">
                  <c:v>517061.03600000002</c:v>
                </c:pt>
                <c:pt idx="181">
                  <c:v>344095.75</c:v>
                </c:pt>
                <c:pt idx="182">
                  <c:v>883945.25399999996</c:v>
                </c:pt>
                <c:pt idx="183">
                  <c:v>688747.38100000005</c:v>
                </c:pt>
                <c:pt idx="184">
                  <c:v>113317.42600000001</c:v>
                </c:pt>
                <c:pt idx="185">
                  <c:v>501894.16899999959</c:v>
                </c:pt>
                <c:pt idx="186">
                  <c:v>535130.43900000001</c:v>
                </c:pt>
                <c:pt idx="187">
                  <c:v>566400.93400000001</c:v>
                </c:pt>
                <c:pt idx="188">
                  <c:v>543576.37</c:v>
                </c:pt>
                <c:pt idx="189">
                  <c:v>490548.35</c:v>
                </c:pt>
                <c:pt idx="190">
                  <c:v>84817.846999999878</c:v>
                </c:pt>
                <c:pt idx="191">
                  <c:v>571209.23399999936</c:v>
                </c:pt>
                <c:pt idx="192">
                  <c:v>614291.43200000003</c:v>
                </c:pt>
                <c:pt idx="193">
                  <c:v>591969.83700000041</c:v>
                </c:pt>
                <c:pt idx="194">
                  <c:v>248131.35199999932</c:v>
                </c:pt>
                <c:pt idx="195">
                  <c:v>579154.83499999996</c:v>
                </c:pt>
                <c:pt idx="196">
                  <c:v>115085.667</c:v>
                </c:pt>
                <c:pt idx="197">
                  <c:v>579296.125</c:v>
                </c:pt>
                <c:pt idx="198">
                  <c:v>523004.91100000002</c:v>
                </c:pt>
                <c:pt idx="199">
                  <c:v>511005.07199999999</c:v>
                </c:pt>
                <c:pt idx="200">
                  <c:v>527909.16399999999</c:v>
                </c:pt>
                <c:pt idx="201">
                  <c:v>507491.20500000002</c:v>
                </c:pt>
                <c:pt idx="202">
                  <c:v>83366.396999999968</c:v>
                </c:pt>
                <c:pt idx="203">
                  <c:v>516082.9430000002</c:v>
                </c:pt>
                <c:pt idx="204">
                  <c:v>509436.04499999993</c:v>
                </c:pt>
                <c:pt idx="205">
                  <c:v>437262.14999999985</c:v>
                </c:pt>
                <c:pt idx="206">
                  <c:v>411071.41200000001</c:v>
                </c:pt>
                <c:pt idx="207">
                  <c:v>349966.51400000002</c:v>
                </c:pt>
                <c:pt idx="208">
                  <c:v>55838.490999999995</c:v>
                </c:pt>
                <c:pt idx="209">
                  <c:v>770069.24100000004</c:v>
                </c:pt>
                <c:pt idx="210">
                  <c:v>625966.62699999998</c:v>
                </c:pt>
                <c:pt idx="211">
                  <c:v>526389.98</c:v>
                </c:pt>
                <c:pt idx="212">
                  <c:v>503009.90100000001</c:v>
                </c:pt>
                <c:pt idx="213">
                  <c:v>531241.07299999695</c:v>
                </c:pt>
                <c:pt idx="214">
                  <c:v>72775.67100000038</c:v>
                </c:pt>
                <c:pt idx="215">
                  <c:v>540474.43599999999</c:v>
                </c:pt>
                <c:pt idx="216">
                  <c:v>550582.93799999997</c:v>
                </c:pt>
                <c:pt idx="217">
                  <c:v>617967.81599999999</c:v>
                </c:pt>
                <c:pt idx="218">
                  <c:v>687601.33100000245</c:v>
                </c:pt>
                <c:pt idx="219">
                  <c:v>684114.83299999998</c:v>
                </c:pt>
                <c:pt idx="220">
                  <c:v>218181.848</c:v>
                </c:pt>
                <c:pt idx="221">
                  <c:v>920763.59199999936</c:v>
                </c:pt>
                <c:pt idx="222">
                  <c:v>751083.89899999998</c:v>
                </c:pt>
                <c:pt idx="223">
                  <c:v>121693.1740000003</c:v>
                </c:pt>
                <c:pt idx="226">
                  <c:v>79253.524999999994</c:v>
                </c:pt>
                <c:pt idx="227">
                  <c:v>517549.45699999999</c:v>
                </c:pt>
                <c:pt idx="228">
                  <c:v>516015.25900000002</c:v>
                </c:pt>
                <c:pt idx="229">
                  <c:v>404566.46299999999</c:v>
                </c:pt>
                <c:pt idx="230">
                  <c:v>357207.98700000002</c:v>
                </c:pt>
                <c:pt idx="231">
                  <c:v>385639.93800000002</c:v>
                </c:pt>
                <c:pt idx="232">
                  <c:v>51048.062999999995</c:v>
                </c:pt>
                <c:pt idx="233">
                  <c:v>238058.52499999962</c:v>
                </c:pt>
                <c:pt idx="234">
                  <c:v>761607.57299999695</c:v>
                </c:pt>
                <c:pt idx="235">
                  <c:v>550430.43999999936</c:v>
                </c:pt>
                <c:pt idx="236">
                  <c:v>178307.84099999999</c:v>
                </c:pt>
                <c:pt idx="237">
                  <c:v>558790.28899999836</c:v>
                </c:pt>
                <c:pt idx="238">
                  <c:v>80781.929000000004</c:v>
                </c:pt>
                <c:pt idx="239">
                  <c:v>599513.02399999998</c:v>
                </c:pt>
                <c:pt idx="240">
                  <c:v>477651.20500000002</c:v>
                </c:pt>
                <c:pt idx="241">
                  <c:v>154584.033</c:v>
                </c:pt>
                <c:pt idx="242">
                  <c:v>477748.72600000002</c:v>
                </c:pt>
                <c:pt idx="243">
                  <c:v>587166.67599999695</c:v>
                </c:pt>
                <c:pt idx="244">
                  <c:v>70654.405999999988</c:v>
                </c:pt>
                <c:pt idx="245">
                  <c:v>511306.21</c:v>
                </c:pt>
                <c:pt idx="246">
                  <c:v>448215.96500000008</c:v>
                </c:pt>
                <c:pt idx="247">
                  <c:v>375910.88299999986</c:v>
                </c:pt>
                <c:pt idx="248">
                  <c:v>411314.39</c:v>
                </c:pt>
                <c:pt idx="249">
                  <c:v>397193.18799999985</c:v>
                </c:pt>
                <c:pt idx="250">
                  <c:v>46143.119000000006</c:v>
                </c:pt>
                <c:pt idx="251">
                  <c:v>491101.40299999999</c:v>
                </c:pt>
                <c:pt idx="252">
                  <c:v>426016.32400000002</c:v>
                </c:pt>
                <c:pt idx="253">
                  <c:v>352508.04499999993</c:v>
                </c:pt>
                <c:pt idx="254">
                  <c:v>399955.41700000002</c:v>
                </c:pt>
                <c:pt idx="255">
                  <c:v>392854.86199999985</c:v>
                </c:pt>
                <c:pt idx="256">
                  <c:v>57752.727999999996</c:v>
                </c:pt>
                <c:pt idx="257">
                  <c:v>389519.70299999986</c:v>
                </c:pt>
                <c:pt idx="258">
                  <c:v>341611.79000000021</c:v>
                </c:pt>
                <c:pt idx="259">
                  <c:v>259783.09899999999</c:v>
                </c:pt>
                <c:pt idx="260">
                  <c:v>204554.31099999999</c:v>
                </c:pt>
                <c:pt idx="261">
                  <c:v>765593.39</c:v>
                </c:pt>
                <c:pt idx="262">
                  <c:v>76925.829000000027</c:v>
                </c:pt>
                <c:pt idx="263">
                  <c:v>519318.53899999999</c:v>
                </c:pt>
                <c:pt idx="264">
                  <c:v>462152.44699999999</c:v>
                </c:pt>
                <c:pt idx="265">
                  <c:v>355981.02600000001</c:v>
                </c:pt>
                <c:pt idx="266">
                  <c:v>401960.478</c:v>
                </c:pt>
                <c:pt idx="267">
                  <c:v>386917.39</c:v>
                </c:pt>
                <c:pt idx="268">
                  <c:v>55298.958000000013</c:v>
                </c:pt>
                <c:pt idx="269">
                  <c:v>463218.52600000001</c:v>
                </c:pt>
                <c:pt idx="270">
                  <c:v>407999.54199999984</c:v>
                </c:pt>
                <c:pt idx="271">
                  <c:v>322698.42900000128</c:v>
                </c:pt>
                <c:pt idx="272">
                  <c:v>367418.179</c:v>
                </c:pt>
                <c:pt idx="273">
                  <c:v>410539.109</c:v>
                </c:pt>
                <c:pt idx="274">
                  <c:v>61055.630999999994</c:v>
                </c:pt>
                <c:pt idx="275">
                  <c:v>410685.91200000001</c:v>
                </c:pt>
                <c:pt idx="276">
                  <c:v>380143.69900000002</c:v>
                </c:pt>
                <c:pt idx="277">
                  <c:v>283099.06</c:v>
                </c:pt>
                <c:pt idx="278">
                  <c:v>417085.70699999999</c:v>
                </c:pt>
                <c:pt idx="279">
                  <c:v>391126.10600000003</c:v>
                </c:pt>
                <c:pt idx="280">
                  <c:v>54347.613000000005</c:v>
                </c:pt>
                <c:pt idx="281">
                  <c:v>364741.51699999999</c:v>
                </c:pt>
                <c:pt idx="282">
                  <c:v>381515.89199999999</c:v>
                </c:pt>
                <c:pt idx="283">
                  <c:v>297575.46000000002</c:v>
                </c:pt>
                <c:pt idx="284">
                  <c:v>341869.23800000001</c:v>
                </c:pt>
                <c:pt idx="285">
                  <c:v>258555.72200000001</c:v>
                </c:pt>
                <c:pt idx="286">
                  <c:v>41700.354000000043</c:v>
                </c:pt>
                <c:pt idx="287">
                  <c:v>666345.54099999997</c:v>
                </c:pt>
                <c:pt idx="288">
                  <c:v>481456.95899999986</c:v>
                </c:pt>
                <c:pt idx="289">
                  <c:v>366484.54699999985</c:v>
                </c:pt>
                <c:pt idx="290">
                  <c:v>418787.10699999984</c:v>
                </c:pt>
                <c:pt idx="291">
                  <c:v>396147.84299999959</c:v>
                </c:pt>
                <c:pt idx="292">
                  <c:v>45020.039000000004</c:v>
                </c:pt>
                <c:pt idx="293">
                  <c:v>386681.087</c:v>
                </c:pt>
                <c:pt idx="294">
                  <c:v>389482.05900000001</c:v>
                </c:pt>
                <c:pt idx="295">
                  <c:v>401006.92500000022</c:v>
                </c:pt>
                <c:pt idx="296">
                  <c:v>390126.25300000008</c:v>
                </c:pt>
                <c:pt idx="297">
                  <c:v>392267.1</c:v>
                </c:pt>
                <c:pt idx="298">
                  <c:v>60120.288</c:v>
                </c:pt>
                <c:pt idx="299">
                  <c:v>453832.49900000141</c:v>
                </c:pt>
                <c:pt idx="300">
                  <c:v>425585.15599999984</c:v>
                </c:pt>
                <c:pt idx="301">
                  <c:v>358735.89199999999</c:v>
                </c:pt>
                <c:pt idx="302">
                  <c:v>418041.75900000002</c:v>
                </c:pt>
                <c:pt idx="303">
                  <c:v>400646.70600000001</c:v>
                </c:pt>
                <c:pt idx="304">
                  <c:v>68690.021999999997</c:v>
                </c:pt>
                <c:pt idx="305">
                  <c:v>606704.24399999937</c:v>
                </c:pt>
                <c:pt idx="306">
                  <c:v>577818.02500000002</c:v>
                </c:pt>
                <c:pt idx="307">
                  <c:v>136752.48199999932</c:v>
                </c:pt>
                <c:pt idx="308">
                  <c:v>466975.25900000002</c:v>
                </c:pt>
                <c:pt idx="309">
                  <c:v>456924.22700000001</c:v>
                </c:pt>
                <c:pt idx="310">
                  <c:v>89654.602000000014</c:v>
                </c:pt>
                <c:pt idx="311">
                  <c:v>459378.58100000001</c:v>
                </c:pt>
                <c:pt idx="312">
                  <c:v>283630.61</c:v>
                </c:pt>
                <c:pt idx="313">
                  <c:v>166146.44200000001</c:v>
                </c:pt>
                <c:pt idx="314">
                  <c:v>748494.402</c:v>
                </c:pt>
                <c:pt idx="315">
                  <c:v>581443.19999999646</c:v>
                </c:pt>
                <c:pt idx="316">
                  <c:v>65349.342000000011</c:v>
                </c:pt>
                <c:pt idx="317">
                  <c:v>471087.84399999987</c:v>
                </c:pt>
                <c:pt idx="318">
                  <c:v>435139.66099999985</c:v>
                </c:pt>
                <c:pt idx="319">
                  <c:v>320849.65899999859</c:v>
                </c:pt>
                <c:pt idx="320">
                  <c:v>346923.70699999999</c:v>
                </c:pt>
                <c:pt idx="321">
                  <c:v>316577.42099999997</c:v>
                </c:pt>
                <c:pt idx="322">
                  <c:v>65314.206999999995</c:v>
                </c:pt>
                <c:pt idx="323">
                  <c:v>443725.56400000001</c:v>
                </c:pt>
                <c:pt idx="324">
                  <c:v>394315.95299999986</c:v>
                </c:pt>
                <c:pt idx="325">
                  <c:v>328601.679</c:v>
                </c:pt>
                <c:pt idx="326">
                  <c:v>378096.82400000002</c:v>
                </c:pt>
                <c:pt idx="327">
                  <c:v>417843.25099999999</c:v>
                </c:pt>
                <c:pt idx="328">
                  <c:v>61284.606</c:v>
                </c:pt>
                <c:pt idx="329">
                  <c:v>387917.75699999993</c:v>
                </c:pt>
                <c:pt idx="330">
                  <c:v>478215.87099999993</c:v>
                </c:pt>
                <c:pt idx="331">
                  <c:v>426879.967</c:v>
                </c:pt>
                <c:pt idx="332">
                  <c:v>480227.63699999999</c:v>
                </c:pt>
                <c:pt idx="333">
                  <c:v>554543.00199999998</c:v>
                </c:pt>
                <c:pt idx="334">
                  <c:v>130878.251</c:v>
                </c:pt>
                <c:pt idx="335">
                  <c:v>618387.54599999997</c:v>
                </c:pt>
                <c:pt idx="336">
                  <c:v>658841.098</c:v>
                </c:pt>
                <c:pt idx="337">
                  <c:v>418160.34899999859</c:v>
                </c:pt>
                <c:pt idx="338">
                  <c:v>34807.082000000002</c:v>
                </c:pt>
                <c:pt idx="340">
                  <c:v>295.32</c:v>
                </c:pt>
                <c:pt idx="341">
                  <c:v>667369.71799999836</c:v>
                </c:pt>
                <c:pt idx="342">
                  <c:v>369456.272</c:v>
                </c:pt>
                <c:pt idx="343">
                  <c:v>267010.55699999986</c:v>
                </c:pt>
                <c:pt idx="344">
                  <c:v>287954.16899999959</c:v>
                </c:pt>
                <c:pt idx="345">
                  <c:v>315124.7</c:v>
                </c:pt>
                <c:pt idx="346">
                  <c:v>38108.067999999999</c:v>
                </c:pt>
                <c:pt idx="347">
                  <c:v>287058.99900000141</c:v>
                </c:pt>
                <c:pt idx="348">
                  <c:v>380283.56300000002</c:v>
                </c:pt>
                <c:pt idx="349">
                  <c:v>296451.75300000008</c:v>
                </c:pt>
                <c:pt idx="350">
                  <c:v>332964.60099999985</c:v>
                </c:pt>
                <c:pt idx="351">
                  <c:v>393953.04499999993</c:v>
                </c:pt>
                <c:pt idx="352">
                  <c:v>37035.796999999999</c:v>
                </c:pt>
                <c:pt idx="353">
                  <c:v>374275.48000000021</c:v>
                </c:pt>
                <c:pt idx="354">
                  <c:v>370387.33199999999</c:v>
                </c:pt>
                <c:pt idx="355">
                  <c:v>308743.61</c:v>
                </c:pt>
                <c:pt idx="356">
                  <c:v>341110.821</c:v>
                </c:pt>
                <c:pt idx="357">
                  <c:v>441860.48300000129</c:v>
                </c:pt>
                <c:pt idx="358">
                  <c:v>47996.832000000002</c:v>
                </c:pt>
                <c:pt idx="359">
                  <c:v>381132.67199999985</c:v>
                </c:pt>
                <c:pt idx="360">
                  <c:v>392056.58500000002</c:v>
                </c:pt>
                <c:pt idx="361">
                  <c:v>339976.076</c:v>
                </c:pt>
                <c:pt idx="362">
                  <c:v>373937.087</c:v>
                </c:pt>
                <c:pt idx="363">
                  <c:v>308330.04599999986</c:v>
                </c:pt>
                <c:pt idx="364">
                  <c:v>103385.939</c:v>
                </c:pt>
                <c:pt idx="365">
                  <c:v>570940.75300000003</c:v>
                </c:pt>
                <c:pt idx="366">
                  <c:v>448791.00900000002</c:v>
                </c:pt>
                <c:pt idx="367">
                  <c:v>364811.69699999999</c:v>
                </c:pt>
                <c:pt idx="368">
                  <c:v>391163.92300000135</c:v>
                </c:pt>
                <c:pt idx="369">
                  <c:v>395166.40299999999</c:v>
                </c:pt>
                <c:pt idx="370">
                  <c:v>57359.994999999995</c:v>
                </c:pt>
                <c:pt idx="371">
                  <c:v>362443.48300000129</c:v>
                </c:pt>
                <c:pt idx="372">
                  <c:v>457841.03499999997</c:v>
                </c:pt>
                <c:pt idx="373">
                  <c:v>344235.57699999999</c:v>
                </c:pt>
                <c:pt idx="374">
                  <c:v>377168.42200000002</c:v>
                </c:pt>
                <c:pt idx="375">
                  <c:v>427511.55300000001</c:v>
                </c:pt>
                <c:pt idx="376">
                  <c:v>50152.05</c:v>
                </c:pt>
                <c:pt idx="377">
                  <c:v>409584.34399999987</c:v>
                </c:pt>
                <c:pt idx="378">
                  <c:v>401661.68599999999</c:v>
                </c:pt>
                <c:pt idx="379">
                  <c:v>357167.636</c:v>
                </c:pt>
                <c:pt idx="380">
                  <c:v>367290.83199999999</c:v>
                </c:pt>
                <c:pt idx="381">
                  <c:v>482807.45600000001</c:v>
                </c:pt>
                <c:pt idx="382">
                  <c:v>48077.275999999998</c:v>
                </c:pt>
                <c:pt idx="383">
                  <c:v>439044.17700000003</c:v>
                </c:pt>
                <c:pt idx="384">
                  <c:v>412274.93300000153</c:v>
                </c:pt>
                <c:pt idx="385">
                  <c:v>359387.58299999993</c:v>
                </c:pt>
                <c:pt idx="386">
                  <c:v>404223.75199999986</c:v>
                </c:pt>
                <c:pt idx="387">
                  <c:v>397177.55</c:v>
                </c:pt>
                <c:pt idx="388">
                  <c:v>54456.823000000004</c:v>
                </c:pt>
                <c:pt idx="389">
                  <c:v>284823.02100000001</c:v>
                </c:pt>
                <c:pt idx="390">
                  <c:v>726999.11100000003</c:v>
                </c:pt>
                <c:pt idx="391">
                  <c:v>439209.39500000002</c:v>
                </c:pt>
                <c:pt idx="392">
                  <c:v>450815.04799999989</c:v>
                </c:pt>
                <c:pt idx="393">
                  <c:v>449533.65199999989</c:v>
                </c:pt>
                <c:pt idx="394">
                  <c:v>59874.362000000001</c:v>
                </c:pt>
                <c:pt idx="395">
                  <c:v>428985.74200000003</c:v>
                </c:pt>
                <c:pt idx="396">
                  <c:v>423599.76400000002</c:v>
                </c:pt>
                <c:pt idx="397">
                  <c:v>359175.94500000001</c:v>
                </c:pt>
                <c:pt idx="398">
                  <c:v>336494.5</c:v>
                </c:pt>
                <c:pt idx="399">
                  <c:v>504198.054</c:v>
                </c:pt>
                <c:pt idx="400">
                  <c:v>52661.178</c:v>
                </c:pt>
                <c:pt idx="401">
                  <c:v>458521.86599999986</c:v>
                </c:pt>
                <c:pt idx="402">
                  <c:v>460384.59700000001</c:v>
                </c:pt>
                <c:pt idx="403">
                  <c:v>386522.89</c:v>
                </c:pt>
                <c:pt idx="404">
                  <c:v>422003.73599999998</c:v>
                </c:pt>
                <c:pt idx="405">
                  <c:v>408741.625</c:v>
                </c:pt>
                <c:pt idx="406">
                  <c:v>60531.321000000004</c:v>
                </c:pt>
                <c:pt idx="407">
                  <c:v>482040.84699999989</c:v>
                </c:pt>
                <c:pt idx="408">
                  <c:v>444180.40899999999</c:v>
                </c:pt>
                <c:pt idx="409">
                  <c:v>352841.79800000001</c:v>
                </c:pt>
                <c:pt idx="410">
                  <c:v>405445.36700000003</c:v>
                </c:pt>
                <c:pt idx="411">
                  <c:v>460361.83399999997</c:v>
                </c:pt>
                <c:pt idx="412">
                  <c:v>64358.140999999996</c:v>
                </c:pt>
                <c:pt idx="413">
                  <c:v>437886.6930000002</c:v>
                </c:pt>
                <c:pt idx="414">
                  <c:v>417292.84899999859</c:v>
                </c:pt>
                <c:pt idx="415">
                  <c:v>235980.99599999998</c:v>
                </c:pt>
                <c:pt idx="416">
                  <c:v>904635.18599999836</c:v>
                </c:pt>
                <c:pt idx="417">
                  <c:v>820103.85400000005</c:v>
                </c:pt>
                <c:pt idx="418">
                  <c:v>187767.14499999999</c:v>
                </c:pt>
                <c:pt idx="419">
                  <c:v>169325.511</c:v>
                </c:pt>
                <c:pt idx="420">
                  <c:v>216476.179</c:v>
                </c:pt>
                <c:pt idx="421">
                  <c:v>546041.53399999999</c:v>
                </c:pt>
                <c:pt idx="422">
                  <c:v>506758.56900000002</c:v>
                </c:pt>
                <c:pt idx="423">
                  <c:v>461720.66899999959</c:v>
                </c:pt>
                <c:pt idx="424">
                  <c:v>76461.290999999968</c:v>
                </c:pt>
                <c:pt idx="425">
                  <c:v>518718.18300000002</c:v>
                </c:pt>
                <c:pt idx="426">
                  <c:v>455468.15500000003</c:v>
                </c:pt>
                <c:pt idx="427">
                  <c:v>416797.39799999999</c:v>
                </c:pt>
                <c:pt idx="428">
                  <c:v>451820.31900000002</c:v>
                </c:pt>
                <c:pt idx="429">
                  <c:v>508582.65399999986</c:v>
                </c:pt>
                <c:pt idx="430">
                  <c:v>71514.611000000004</c:v>
                </c:pt>
                <c:pt idx="431">
                  <c:v>521838.55200000003</c:v>
                </c:pt>
                <c:pt idx="432">
                  <c:v>449052.19799999986</c:v>
                </c:pt>
                <c:pt idx="433">
                  <c:v>522142.80099999986</c:v>
                </c:pt>
                <c:pt idx="434">
                  <c:v>493977.22499999998</c:v>
                </c:pt>
                <c:pt idx="435">
                  <c:v>500802.59299999999</c:v>
                </c:pt>
                <c:pt idx="436">
                  <c:v>76194.732999999978</c:v>
                </c:pt>
                <c:pt idx="437">
                  <c:v>520204.10099999985</c:v>
                </c:pt>
                <c:pt idx="438">
                  <c:v>495869.78400000022</c:v>
                </c:pt>
                <c:pt idx="439">
                  <c:v>434367.44099999999</c:v>
                </c:pt>
                <c:pt idx="440">
                  <c:v>484193.15500000003</c:v>
                </c:pt>
                <c:pt idx="441">
                  <c:v>416493.08500000002</c:v>
                </c:pt>
                <c:pt idx="442">
                  <c:v>58423.835000000006</c:v>
                </c:pt>
                <c:pt idx="443">
                  <c:v>892644.88800000004</c:v>
                </c:pt>
                <c:pt idx="444">
                  <c:v>693590.61</c:v>
                </c:pt>
                <c:pt idx="445">
                  <c:v>563297.80599999998</c:v>
                </c:pt>
                <c:pt idx="446">
                  <c:v>703585.57199999888</c:v>
                </c:pt>
                <c:pt idx="447">
                  <c:v>250348.92299999998</c:v>
                </c:pt>
                <c:pt idx="448">
                  <c:v>95671.899000000005</c:v>
                </c:pt>
                <c:pt idx="449">
                  <c:v>597029.33799999999</c:v>
                </c:pt>
                <c:pt idx="450">
                  <c:v>507352.50099999999</c:v>
                </c:pt>
                <c:pt idx="451">
                  <c:v>537029.34800000244</c:v>
                </c:pt>
                <c:pt idx="452">
                  <c:v>514209.30799999984</c:v>
                </c:pt>
                <c:pt idx="453">
                  <c:v>554894.201</c:v>
                </c:pt>
                <c:pt idx="454">
                  <c:v>80062.20199999999</c:v>
                </c:pt>
                <c:pt idx="455">
                  <c:v>539114.11899999937</c:v>
                </c:pt>
                <c:pt idx="456">
                  <c:v>528346.82700000005</c:v>
                </c:pt>
                <c:pt idx="457">
                  <c:v>460039.45500000002</c:v>
                </c:pt>
                <c:pt idx="458">
                  <c:v>495157.04699999985</c:v>
                </c:pt>
                <c:pt idx="459">
                  <c:v>477543.136</c:v>
                </c:pt>
                <c:pt idx="460">
                  <c:v>78382.132000000012</c:v>
                </c:pt>
                <c:pt idx="461">
                  <c:v>559344.00600000005</c:v>
                </c:pt>
                <c:pt idx="462">
                  <c:v>533343.89899999998</c:v>
                </c:pt>
                <c:pt idx="463">
                  <c:v>464511.07299999986</c:v>
                </c:pt>
                <c:pt idx="464">
                  <c:v>506760.23900000122</c:v>
                </c:pt>
                <c:pt idx="465">
                  <c:v>572837.29799999646</c:v>
                </c:pt>
                <c:pt idx="466">
                  <c:v>82996.837</c:v>
                </c:pt>
                <c:pt idx="467">
                  <c:v>410889.50900000002</c:v>
                </c:pt>
                <c:pt idx="468">
                  <c:v>761885.76599999936</c:v>
                </c:pt>
                <c:pt idx="469">
                  <c:v>583632.41799999936</c:v>
                </c:pt>
                <c:pt idx="470">
                  <c:v>506761.41000000021</c:v>
                </c:pt>
                <c:pt idx="471">
                  <c:v>621085.04599999997</c:v>
                </c:pt>
                <c:pt idx="472">
                  <c:v>56513.657000000007</c:v>
                </c:pt>
                <c:pt idx="473">
                  <c:v>533471.16999999899</c:v>
                </c:pt>
                <c:pt idx="474">
                  <c:v>517316.386</c:v>
                </c:pt>
                <c:pt idx="475">
                  <c:v>427417.26199999999</c:v>
                </c:pt>
                <c:pt idx="476">
                  <c:v>458242.92599999998</c:v>
                </c:pt>
                <c:pt idx="477">
                  <c:v>648379.48499999836</c:v>
                </c:pt>
                <c:pt idx="478">
                  <c:v>78673.495999999999</c:v>
                </c:pt>
                <c:pt idx="479">
                  <c:v>601572.64399999997</c:v>
                </c:pt>
                <c:pt idx="480">
                  <c:v>599098.83200000005</c:v>
                </c:pt>
                <c:pt idx="481">
                  <c:v>512491.86300000001</c:v>
                </c:pt>
                <c:pt idx="482">
                  <c:v>552195.76999999897</c:v>
                </c:pt>
                <c:pt idx="483">
                  <c:v>546847.46400000004</c:v>
                </c:pt>
                <c:pt idx="484">
                  <c:v>87632.976999999999</c:v>
                </c:pt>
                <c:pt idx="485">
                  <c:v>630980.20399999898</c:v>
                </c:pt>
                <c:pt idx="486">
                  <c:v>606696.31799999997</c:v>
                </c:pt>
                <c:pt idx="487">
                  <c:v>473677.05599999987</c:v>
                </c:pt>
                <c:pt idx="488">
                  <c:v>532678.00800000003</c:v>
                </c:pt>
                <c:pt idx="489">
                  <c:v>555082.495</c:v>
                </c:pt>
                <c:pt idx="490">
                  <c:v>83845.164999999994</c:v>
                </c:pt>
                <c:pt idx="491">
                  <c:v>557058.4</c:v>
                </c:pt>
                <c:pt idx="492">
                  <c:v>527974.65099999937</c:v>
                </c:pt>
                <c:pt idx="493">
                  <c:v>508201.25</c:v>
                </c:pt>
                <c:pt idx="494">
                  <c:v>389622.06699999986</c:v>
                </c:pt>
                <c:pt idx="495">
                  <c:v>990809.07899999898</c:v>
                </c:pt>
                <c:pt idx="496">
                  <c:v>139091.56899999999</c:v>
                </c:pt>
                <c:pt idx="497">
                  <c:v>577721.23499999836</c:v>
                </c:pt>
                <c:pt idx="498">
                  <c:v>600837.79399999836</c:v>
                </c:pt>
                <c:pt idx="499">
                  <c:v>542897.78899999836</c:v>
                </c:pt>
                <c:pt idx="500">
                  <c:v>518769.06</c:v>
                </c:pt>
                <c:pt idx="501">
                  <c:v>465104.57299999986</c:v>
                </c:pt>
                <c:pt idx="502">
                  <c:v>69087.784</c:v>
                </c:pt>
                <c:pt idx="503">
                  <c:v>553897.46100000245</c:v>
                </c:pt>
                <c:pt idx="504">
                  <c:v>502940.527</c:v>
                </c:pt>
                <c:pt idx="505">
                  <c:v>518550.37099999993</c:v>
                </c:pt>
                <c:pt idx="506">
                  <c:v>557057.43700000003</c:v>
                </c:pt>
                <c:pt idx="507">
                  <c:v>185372.52799999999</c:v>
                </c:pt>
                <c:pt idx="508">
                  <c:v>72190.896999999968</c:v>
                </c:pt>
                <c:pt idx="509">
                  <c:v>453011.73400000122</c:v>
                </c:pt>
                <c:pt idx="510">
                  <c:v>474499.08299999993</c:v>
                </c:pt>
                <c:pt idx="511">
                  <c:v>355765.16199999989</c:v>
                </c:pt>
                <c:pt idx="512">
                  <c:v>452388.85099999985</c:v>
                </c:pt>
                <c:pt idx="513">
                  <c:v>494092.72700000001</c:v>
                </c:pt>
                <c:pt idx="514">
                  <c:v>55987.593999999997</c:v>
                </c:pt>
                <c:pt idx="515">
                  <c:v>458243.87900000002</c:v>
                </c:pt>
                <c:pt idx="516">
                  <c:v>485591.88699999999</c:v>
                </c:pt>
                <c:pt idx="517">
                  <c:v>434483.06199999986</c:v>
                </c:pt>
                <c:pt idx="518">
                  <c:v>464055</c:v>
                </c:pt>
                <c:pt idx="519">
                  <c:v>409073.7040000002</c:v>
                </c:pt>
                <c:pt idx="520">
                  <c:v>72754.771999999997</c:v>
                </c:pt>
                <c:pt idx="521">
                  <c:v>821275.91500000004</c:v>
                </c:pt>
                <c:pt idx="522">
                  <c:v>739540.90300000005</c:v>
                </c:pt>
                <c:pt idx="523">
                  <c:v>655738.66099999996</c:v>
                </c:pt>
                <c:pt idx="524">
                  <c:v>790570.38199999998</c:v>
                </c:pt>
                <c:pt idx="525">
                  <c:v>710622.91500000004</c:v>
                </c:pt>
                <c:pt idx="526">
                  <c:v>248766.035</c:v>
                </c:pt>
                <c:pt idx="529">
                  <c:v>273018.68400000001</c:v>
                </c:pt>
                <c:pt idx="530">
                  <c:v>465559.75799999986</c:v>
                </c:pt>
                <c:pt idx="531">
                  <c:v>456212.97400000022</c:v>
                </c:pt>
                <c:pt idx="532">
                  <c:v>44101.346000000012</c:v>
                </c:pt>
                <c:pt idx="533">
                  <c:v>408817.42200000002</c:v>
                </c:pt>
                <c:pt idx="534">
                  <c:v>416714.34699999989</c:v>
                </c:pt>
                <c:pt idx="535">
                  <c:v>368069.26400000002</c:v>
                </c:pt>
                <c:pt idx="536">
                  <c:v>376368.27500000002</c:v>
                </c:pt>
                <c:pt idx="537">
                  <c:v>376787.43199999997</c:v>
                </c:pt>
                <c:pt idx="538">
                  <c:v>54732.944000000003</c:v>
                </c:pt>
                <c:pt idx="539">
                  <c:v>448785.07799999986</c:v>
                </c:pt>
                <c:pt idx="540">
                  <c:v>449671.59</c:v>
                </c:pt>
                <c:pt idx="541">
                  <c:v>307189.70500000002</c:v>
                </c:pt>
                <c:pt idx="542">
                  <c:v>400885.10099999985</c:v>
                </c:pt>
                <c:pt idx="543">
                  <c:v>451668.68900000001</c:v>
                </c:pt>
                <c:pt idx="544">
                  <c:v>58359.786</c:v>
                </c:pt>
                <c:pt idx="545">
                  <c:v>394779.179</c:v>
                </c:pt>
                <c:pt idx="546">
                  <c:v>282812.45899999986</c:v>
                </c:pt>
                <c:pt idx="547">
                  <c:v>689979.95200000005</c:v>
                </c:pt>
                <c:pt idx="548">
                  <c:v>530073.26300000004</c:v>
                </c:pt>
                <c:pt idx="549">
                  <c:v>206273.62399999998</c:v>
                </c:pt>
                <c:pt idx="550">
                  <c:v>62198.13</c:v>
                </c:pt>
                <c:pt idx="551">
                  <c:v>504713.125</c:v>
                </c:pt>
                <c:pt idx="552">
                  <c:v>475762.08600000001</c:v>
                </c:pt>
                <c:pt idx="553">
                  <c:v>482552.30300000001</c:v>
                </c:pt>
                <c:pt idx="554">
                  <c:v>129187.48699999994</c:v>
                </c:pt>
                <c:pt idx="555">
                  <c:v>444684.05699999986</c:v>
                </c:pt>
                <c:pt idx="556">
                  <c:v>67573.429000000004</c:v>
                </c:pt>
                <c:pt idx="557">
                  <c:v>471152.34299999959</c:v>
                </c:pt>
                <c:pt idx="558">
                  <c:v>448819.35499999986</c:v>
                </c:pt>
                <c:pt idx="559">
                  <c:v>366069.65299999953</c:v>
                </c:pt>
                <c:pt idx="560">
                  <c:v>395307.01299999986</c:v>
                </c:pt>
                <c:pt idx="561">
                  <c:v>434762.29700000002</c:v>
                </c:pt>
                <c:pt idx="562">
                  <c:v>54657.255000000005</c:v>
                </c:pt>
                <c:pt idx="563">
                  <c:v>346526.37900000002</c:v>
                </c:pt>
                <c:pt idx="564">
                  <c:v>419443.72600000002</c:v>
                </c:pt>
                <c:pt idx="565">
                  <c:v>354046.43000000028</c:v>
                </c:pt>
                <c:pt idx="566">
                  <c:v>413308.04199999984</c:v>
                </c:pt>
                <c:pt idx="567">
                  <c:v>429938.80200000003</c:v>
                </c:pt>
                <c:pt idx="568">
                  <c:v>51669.148000000001</c:v>
                </c:pt>
                <c:pt idx="569">
                  <c:v>396494.54499999993</c:v>
                </c:pt>
                <c:pt idx="570">
                  <c:v>374509.8</c:v>
                </c:pt>
                <c:pt idx="571">
                  <c:v>349728.54300000001</c:v>
                </c:pt>
                <c:pt idx="572">
                  <c:v>369783.07500000001</c:v>
                </c:pt>
                <c:pt idx="573">
                  <c:v>284121.90899999999</c:v>
                </c:pt>
                <c:pt idx="574">
                  <c:v>88854.335999999996</c:v>
                </c:pt>
                <c:pt idx="575">
                  <c:v>575021.88</c:v>
                </c:pt>
                <c:pt idx="576">
                  <c:v>421064.01400000002</c:v>
                </c:pt>
                <c:pt idx="577">
                  <c:v>340586.83299999993</c:v>
                </c:pt>
                <c:pt idx="578">
                  <c:v>358923.11300000001</c:v>
                </c:pt>
                <c:pt idx="579">
                  <c:v>396644.99099999998</c:v>
                </c:pt>
                <c:pt idx="580">
                  <c:v>40644.698999999993</c:v>
                </c:pt>
                <c:pt idx="581">
                  <c:v>326397.40000000002</c:v>
                </c:pt>
                <c:pt idx="582">
                  <c:v>402180.80499999999</c:v>
                </c:pt>
                <c:pt idx="583">
                  <c:v>315394.66799999989</c:v>
                </c:pt>
                <c:pt idx="584">
                  <c:v>335082.17</c:v>
                </c:pt>
                <c:pt idx="585">
                  <c:v>371353.31199999986</c:v>
                </c:pt>
                <c:pt idx="586">
                  <c:v>39875.321000000004</c:v>
                </c:pt>
                <c:pt idx="587">
                  <c:v>343257.36099999986</c:v>
                </c:pt>
                <c:pt idx="588">
                  <c:v>366034.89</c:v>
                </c:pt>
                <c:pt idx="589">
                  <c:v>306012.06300000002</c:v>
                </c:pt>
                <c:pt idx="590">
                  <c:v>322651.13999999996</c:v>
                </c:pt>
                <c:pt idx="591">
                  <c:v>430230.179</c:v>
                </c:pt>
                <c:pt idx="592">
                  <c:v>42002.808000000012</c:v>
                </c:pt>
                <c:pt idx="593">
                  <c:v>355505.446</c:v>
                </c:pt>
                <c:pt idx="594">
                  <c:v>356567.55900000001</c:v>
                </c:pt>
                <c:pt idx="595">
                  <c:v>312541.37</c:v>
                </c:pt>
                <c:pt idx="596">
                  <c:v>340398.39199999999</c:v>
                </c:pt>
                <c:pt idx="597">
                  <c:v>273422.52500000002</c:v>
                </c:pt>
                <c:pt idx="598">
                  <c:v>30811.414000000001</c:v>
                </c:pt>
                <c:pt idx="599">
                  <c:v>593362.54399999999</c:v>
                </c:pt>
                <c:pt idx="600">
                  <c:v>388484.696</c:v>
                </c:pt>
                <c:pt idx="601">
                  <c:v>321979.74300000002</c:v>
                </c:pt>
                <c:pt idx="602">
                  <c:v>341632.07500000001</c:v>
                </c:pt>
                <c:pt idx="603">
                  <c:v>384908.99699999997</c:v>
                </c:pt>
                <c:pt idx="604">
                  <c:v>41516.404000000002</c:v>
                </c:pt>
                <c:pt idx="605">
                  <c:v>366658.35499999986</c:v>
                </c:pt>
                <c:pt idx="606">
                  <c:v>352645.27399999998</c:v>
                </c:pt>
                <c:pt idx="607">
                  <c:v>301024.56</c:v>
                </c:pt>
                <c:pt idx="608">
                  <c:v>398928.90899999999</c:v>
                </c:pt>
                <c:pt idx="609">
                  <c:v>393037.08100000001</c:v>
                </c:pt>
                <c:pt idx="610">
                  <c:v>41865.252</c:v>
                </c:pt>
                <c:pt idx="611">
                  <c:v>421519.78200000001</c:v>
                </c:pt>
                <c:pt idx="612">
                  <c:v>375538.80300000001</c:v>
                </c:pt>
                <c:pt idx="613">
                  <c:v>311056.09399999998</c:v>
                </c:pt>
                <c:pt idx="614">
                  <c:v>340045.59399999998</c:v>
                </c:pt>
                <c:pt idx="615">
                  <c:v>400964.571</c:v>
                </c:pt>
                <c:pt idx="616">
                  <c:v>55039.017</c:v>
                </c:pt>
                <c:pt idx="617">
                  <c:v>474358.14299999835</c:v>
                </c:pt>
                <c:pt idx="618">
                  <c:v>491090.68900000001</c:v>
                </c:pt>
                <c:pt idx="619">
                  <c:v>493863.53499999997</c:v>
                </c:pt>
                <c:pt idx="620">
                  <c:v>115332.99400000001</c:v>
                </c:pt>
              </c:numCache>
            </c:numRef>
          </c:yVal>
        </c:ser>
        <c:ser>
          <c:idx val="1"/>
          <c:order val="1"/>
          <c:tx>
            <c:v>예측</c:v>
          </c:tx>
          <c:spPr>
            <a:ln w="28575">
              <a:noFill/>
            </a:ln>
          </c:spPr>
          <c:marker>
            <c:symbol val="square"/>
            <c:size val="4"/>
          </c:marker>
          <c:xVal>
            <c:numRef>
              <c:f>volume_total_Daily!$A$941:$A$1561</c:f>
              <c:numCache>
                <c:formatCode>yyyy/mm/dd</c:formatCode>
                <c:ptCount val="621"/>
                <c:pt idx="0">
                  <c:v>41275</c:v>
                </c:pt>
                <c:pt idx="1">
                  <c:v>41276</c:v>
                </c:pt>
                <c:pt idx="2">
                  <c:v>41277</c:v>
                </c:pt>
                <c:pt idx="3">
                  <c:v>41278</c:v>
                </c:pt>
                <c:pt idx="4">
                  <c:v>41279</c:v>
                </c:pt>
                <c:pt idx="5">
                  <c:v>41281</c:v>
                </c:pt>
                <c:pt idx="6">
                  <c:v>41282</c:v>
                </c:pt>
                <c:pt idx="7">
                  <c:v>41283</c:v>
                </c:pt>
                <c:pt idx="8">
                  <c:v>41284</c:v>
                </c:pt>
                <c:pt idx="9">
                  <c:v>41285</c:v>
                </c:pt>
                <c:pt idx="10">
                  <c:v>41286</c:v>
                </c:pt>
                <c:pt idx="11">
                  <c:v>41288</c:v>
                </c:pt>
                <c:pt idx="12">
                  <c:v>41289</c:v>
                </c:pt>
                <c:pt idx="13">
                  <c:v>41290</c:v>
                </c:pt>
                <c:pt idx="14">
                  <c:v>41291</c:v>
                </c:pt>
                <c:pt idx="15">
                  <c:v>41292</c:v>
                </c:pt>
                <c:pt idx="16">
                  <c:v>41293</c:v>
                </c:pt>
                <c:pt idx="17">
                  <c:v>41295</c:v>
                </c:pt>
                <c:pt idx="18">
                  <c:v>41296</c:v>
                </c:pt>
                <c:pt idx="19">
                  <c:v>41297</c:v>
                </c:pt>
                <c:pt idx="20">
                  <c:v>41298</c:v>
                </c:pt>
                <c:pt idx="21">
                  <c:v>41299</c:v>
                </c:pt>
                <c:pt idx="22">
                  <c:v>41300</c:v>
                </c:pt>
                <c:pt idx="23">
                  <c:v>41302</c:v>
                </c:pt>
                <c:pt idx="24">
                  <c:v>41303</c:v>
                </c:pt>
                <c:pt idx="25">
                  <c:v>41304</c:v>
                </c:pt>
                <c:pt idx="26">
                  <c:v>41305</c:v>
                </c:pt>
                <c:pt idx="27">
                  <c:v>41306</c:v>
                </c:pt>
                <c:pt idx="28">
                  <c:v>41307</c:v>
                </c:pt>
                <c:pt idx="29">
                  <c:v>41309</c:v>
                </c:pt>
                <c:pt idx="30">
                  <c:v>41310</c:v>
                </c:pt>
                <c:pt idx="31">
                  <c:v>41311</c:v>
                </c:pt>
                <c:pt idx="32">
                  <c:v>41312</c:v>
                </c:pt>
                <c:pt idx="33">
                  <c:v>41313</c:v>
                </c:pt>
                <c:pt idx="34">
                  <c:v>41314</c:v>
                </c:pt>
                <c:pt idx="35">
                  <c:v>41316</c:v>
                </c:pt>
                <c:pt idx="36">
                  <c:v>41317</c:v>
                </c:pt>
                <c:pt idx="37">
                  <c:v>41318</c:v>
                </c:pt>
                <c:pt idx="38">
                  <c:v>41319</c:v>
                </c:pt>
                <c:pt idx="39">
                  <c:v>41320</c:v>
                </c:pt>
                <c:pt idx="40">
                  <c:v>41321</c:v>
                </c:pt>
                <c:pt idx="41">
                  <c:v>41323</c:v>
                </c:pt>
                <c:pt idx="42">
                  <c:v>41324</c:v>
                </c:pt>
                <c:pt idx="43">
                  <c:v>41325</c:v>
                </c:pt>
                <c:pt idx="44">
                  <c:v>41326</c:v>
                </c:pt>
                <c:pt idx="45">
                  <c:v>41327</c:v>
                </c:pt>
                <c:pt idx="46">
                  <c:v>41328</c:v>
                </c:pt>
                <c:pt idx="47">
                  <c:v>41330</c:v>
                </c:pt>
                <c:pt idx="48">
                  <c:v>41331</c:v>
                </c:pt>
                <c:pt idx="49">
                  <c:v>41332</c:v>
                </c:pt>
                <c:pt idx="50">
                  <c:v>41333</c:v>
                </c:pt>
                <c:pt idx="51">
                  <c:v>41334</c:v>
                </c:pt>
                <c:pt idx="52">
                  <c:v>41335</c:v>
                </c:pt>
                <c:pt idx="53">
                  <c:v>41337</c:v>
                </c:pt>
                <c:pt idx="54">
                  <c:v>41338</c:v>
                </c:pt>
                <c:pt idx="55">
                  <c:v>41339</c:v>
                </c:pt>
                <c:pt idx="56">
                  <c:v>41340</c:v>
                </c:pt>
                <c:pt idx="57">
                  <c:v>41341</c:v>
                </c:pt>
                <c:pt idx="58">
                  <c:v>41342</c:v>
                </c:pt>
                <c:pt idx="59">
                  <c:v>41344</c:v>
                </c:pt>
                <c:pt idx="60">
                  <c:v>41345</c:v>
                </c:pt>
                <c:pt idx="61">
                  <c:v>41346</c:v>
                </c:pt>
                <c:pt idx="62">
                  <c:v>41347</c:v>
                </c:pt>
                <c:pt idx="63">
                  <c:v>41348</c:v>
                </c:pt>
                <c:pt idx="64">
                  <c:v>41349</c:v>
                </c:pt>
                <c:pt idx="65">
                  <c:v>41351</c:v>
                </c:pt>
                <c:pt idx="66">
                  <c:v>41352</c:v>
                </c:pt>
                <c:pt idx="67">
                  <c:v>41353</c:v>
                </c:pt>
                <c:pt idx="68">
                  <c:v>41354</c:v>
                </c:pt>
                <c:pt idx="69">
                  <c:v>41355</c:v>
                </c:pt>
                <c:pt idx="70">
                  <c:v>41356</c:v>
                </c:pt>
                <c:pt idx="71">
                  <c:v>41358</c:v>
                </c:pt>
                <c:pt idx="72">
                  <c:v>41359</c:v>
                </c:pt>
                <c:pt idx="73">
                  <c:v>41360</c:v>
                </c:pt>
                <c:pt idx="74">
                  <c:v>41361</c:v>
                </c:pt>
                <c:pt idx="75">
                  <c:v>41362</c:v>
                </c:pt>
                <c:pt idx="76">
                  <c:v>41363</c:v>
                </c:pt>
                <c:pt idx="77">
                  <c:v>41365</c:v>
                </c:pt>
                <c:pt idx="78">
                  <c:v>41366</c:v>
                </c:pt>
                <c:pt idx="79">
                  <c:v>41367</c:v>
                </c:pt>
                <c:pt idx="80">
                  <c:v>41368</c:v>
                </c:pt>
                <c:pt idx="81">
                  <c:v>41369</c:v>
                </c:pt>
                <c:pt idx="82">
                  <c:v>41370</c:v>
                </c:pt>
                <c:pt idx="83">
                  <c:v>41372</c:v>
                </c:pt>
                <c:pt idx="84">
                  <c:v>41373</c:v>
                </c:pt>
                <c:pt idx="85">
                  <c:v>41374</c:v>
                </c:pt>
                <c:pt idx="86">
                  <c:v>41375</c:v>
                </c:pt>
                <c:pt idx="87">
                  <c:v>41376</c:v>
                </c:pt>
                <c:pt idx="88">
                  <c:v>41377</c:v>
                </c:pt>
                <c:pt idx="89">
                  <c:v>41379</c:v>
                </c:pt>
                <c:pt idx="90">
                  <c:v>41380</c:v>
                </c:pt>
                <c:pt idx="91">
                  <c:v>41381</c:v>
                </c:pt>
                <c:pt idx="92">
                  <c:v>41382</c:v>
                </c:pt>
                <c:pt idx="93">
                  <c:v>41383</c:v>
                </c:pt>
                <c:pt idx="94">
                  <c:v>41384</c:v>
                </c:pt>
                <c:pt idx="95">
                  <c:v>41386</c:v>
                </c:pt>
                <c:pt idx="96">
                  <c:v>41387</c:v>
                </c:pt>
                <c:pt idx="97">
                  <c:v>41388</c:v>
                </c:pt>
                <c:pt idx="98">
                  <c:v>41389</c:v>
                </c:pt>
                <c:pt idx="99">
                  <c:v>41390</c:v>
                </c:pt>
                <c:pt idx="100">
                  <c:v>41391</c:v>
                </c:pt>
                <c:pt idx="101">
                  <c:v>41393</c:v>
                </c:pt>
                <c:pt idx="102">
                  <c:v>41394</c:v>
                </c:pt>
                <c:pt idx="103">
                  <c:v>41395</c:v>
                </c:pt>
                <c:pt idx="104">
                  <c:v>41396</c:v>
                </c:pt>
                <c:pt idx="105">
                  <c:v>41397</c:v>
                </c:pt>
                <c:pt idx="106">
                  <c:v>41398</c:v>
                </c:pt>
                <c:pt idx="107">
                  <c:v>41400</c:v>
                </c:pt>
                <c:pt idx="108">
                  <c:v>41401</c:v>
                </c:pt>
                <c:pt idx="109">
                  <c:v>41402</c:v>
                </c:pt>
                <c:pt idx="110">
                  <c:v>41403</c:v>
                </c:pt>
                <c:pt idx="111">
                  <c:v>41404</c:v>
                </c:pt>
                <c:pt idx="112">
                  <c:v>41405</c:v>
                </c:pt>
                <c:pt idx="113">
                  <c:v>41407</c:v>
                </c:pt>
                <c:pt idx="114">
                  <c:v>41408</c:v>
                </c:pt>
                <c:pt idx="115">
                  <c:v>41409</c:v>
                </c:pt>
                <c:pt idx="116">
                  <c:v>41410</c:v>
                </c:pt>
                <c:pt idx="117">
                  <c:v>41411</c:v>
                </c:pt>
                <c:pt idx="118">
                  <c:v>41412</c:v>
                </c:pt>
                <c:pt idx="119">
                  <c:v>41414</c:v>
                </c:pt>
                <c:pt idx="120">
                  <c:v>41415</c:v>
                </c:pt>
                <c:pt idx="121">
                  <c:v>41416</c:v>
                </c:pt>
                <c:pt idx="122">
                  <c:v>41417</c:v>
                </c:pt>
                <c:pt idx="123">
                  <c:v>41418</c:v>
                </c:pt>
                <c:pt idx="124">
                  <c:v>41419</c:v>
                </c:pt>
                <c:pt idx="125">
                  <c:v>41421</c:v>
                </c:pt>
                <c:pt idx="126">
                  <c:v>41422</c:v>
                </c:pt>
                <c:pt idx="127">
                  <c:v>41423</c:v>
                </c:pt>
                <c:pt idx="128">
                  <c:v>41424</c:v>
                </c:pt>
                <c:pt idx="129">
                  <c:v>41425</c:v>
                </c:pt>
                <c:pt idx="130">
                  <c:v>41426</c:v>
                </c:pt>
                <c:pt idx="131">
                  <c:v>41428</c:v>
                </c:pt>
                <c:pt idx="132">
                  <c:v>41429</c:v>
                </c:pt>
                <c:pt idx="133">
                  <c:v>41430</c:v>
                </c:pt>
                <c:pt idx="134">
                  <c:v>41431</c:v>
                </c:pt>
                <c:pt idx="135">
                  <c:v>41432</c:v>
                </c:pt>
                <c:pt idx="136">
                  <c:v>41433</c:v>
                </c:pt>
                <c:pt idx="137">
                  <c:v>41435</c:v>
                </c:pt>
                <c:pt idx="138">
                  <c:v>41436</c:v>
                </c:pt>
                <c:pt idx="139">
                  <c:v>41437</c:v>
                </c:pt>
                <c:pt idx="140">
                  <c:v>41438</c:v>
                </c:pt>
                <c:pt idx="141">
                  <c:v>41439</c:v>
                </c:pt>
                <c:pt idx="142">
                  <c:v>41440</c:v>
                </c:pt>
                <c:pt idx="143">
                  <c:v>41442</c:v>
                </c:pt>
                <c:pt idx="144">
                  <c:v>41443</c:v>
                </c:pt>
                <c:pt idx="145">
                  <c:v>41444</c:v>
                </c:pt>
                <c:pt idx="146">
                  <c:v>41445</c:v>
                </c:pt>
                <c:pt idx="147">
                  <c:v>41446</c:v>
                </c:pt>
                <c:pt idx="148">
                  <c:v>41447</c:v>
                </c:pt>
                <c:pt idx="149">
                  <c:v>41449</c:v>
                </c:pt>
                <c:pt idx="150">
                  <c:v>41450</c:v>
                </c:pt>
                <c:pt idx="151">
                  <c:v>41451</c:v>
                </c:pt>
                <c:pt idx="152">
                  <c:v>41452</c:v>
                </c:pt>
                <c:pt idx="153">
                  <c:v>41453</c:v>
                </c:pt>
                <c:pt idx="154">
                  <c:v>41454</c:v>
                </c:pt>
                <c:pt idx="155">
                  <c:v>41456</c:v>
                </c:pt>
                <c:pt idx="156">
                  <c:v>41457</c:v>
                </c:pt>
                <c:pt idx="157">
                  <c:v>41458</c:v>
                </c:pt>
                <c:pt idx="158">
                  <c:v>41459</c:v>
                </c:pt>
                <c:pt idx="159">
                  <c:v>41460</c:v>
                </c:pt>
                <c:pt idx="160">
                  <c:v>41461</c:v>
                </c:pt>
                <c:pt idx="161">
                  <c:v>41463</c:v>
                </c:pt>
                <c:pt idx="162">
                  <c:v>41464</c:v>
                </c:pt>
                <c:pt idx="163">
                  <c:v>41465</c:v>
                </c:pt>
                <c:pt idx="164">
                  <c:v>41466</c:v>
                </c:pt>
                <c:pt idx="165">
                  <c:v>41467</c:v>
                </c:pt>
                <c:pt idx="166">
                  <c:v>41468</c:v>
                </c:pt>
                <c:pt idx="167">
                  <c:v>41470</c:v>
                </c:pt>
                <c:pt idx="168">
                  <c:v>41471</c:v>
                </c:pt>
                <c:pt idx="169">
                  <c:v>41472</c:v>
                </c:pt>
                <c:pt idx="170">
                  <c:v>41473</c:v>
                </c:pt>
                <c:pt idx="171">
                  <c:v>41474</c:v>
                </c:pt>
                <c:pt idx="172">
                  <c:v>41475</c:v>
                </c:pt>
                <c:pt idx="173">
                  <c:v>41477</c:v>
                </c:pt>
                <c:pt idx="174">
                  <c:v>41478</c:v>
                </c:pt>
                <c:pt idx="175">
                  <c:v>41479</c:v>
                </c:pt>
                <c:pt idx="176">
                  <c:v>41480</c:v>
                </c:pt>
                <c:pt idx="177">
                  <c:v>41481</c:v>
                </c:pt>
                <c:pt idx="178">
                  <c:v>41482</c:v>
                </c:pt>
                <c:pt idx="179">
                  <c:v>41484</c:v>
                </c:pt>
                <c:pt idx="180">
                  <c:v>41485</c:v>
                </c:pt>
                <c:pt idx="181">
                  <c:v>41486</c:v>
                </c:pt>
                <c:pt idx="182">
                  <c:v>41487</c:v>
                </c:pt>
                <c:pt idx="183">
                  <c:v>41488</c:v>
                </c:pt>
                <c:pt idx="184">
                  <c:v>41489</c:v>
                </c:pt>
                <c:pt idx="185">
                  <c:v>41491</c:v>
                </c:pt>
                <c:pt idx="186">
                  <c:v>41492</c:v>
                </c:pt>
                <c:pt idx="187">
                  <c:v>41493</c:v>
                </c:pt>
                <c:pt idx="188">
                  <c:v>41494</c:v>
                </c:pt>
                <c:pt idx="189">
                  <c:v>41495</c:v>
                </c:pt>
                <c:pt idx="190">
                  <c:v>41496</c:v>
                </c:pt>
                <c:pt idx="191">
                  <c:v>41498</c:v>
                </c:pt>
                <c:pt idx="192">
                  <c:v>41499</c:v>
                </c:pt>
                <c:pt idx="193">
                  <c:v>41500</c:v>
                </c:pt>
                <c:pt idx="194">
                  <c:v>41501</c:v>
                </c:pt>
                <c:pt idx="195">
                  <c:v>41502</c:v>
                </c:pt>
                <c:pt idx="196">
                  <c:v>41503</c:v>
                </c:pt>
                <c:pt idx="197">
                  <c:v>41505</c:v>
                </c:pt>
                <c:pt idx="198">
                  <c:v>41506</c:v>
                </c:pt>
                <c:pt idx="199">
                  <c:v>41507</c:v>
                </c:pt>
                <c:pt idx="200">
                  <c:v>41508</c:v>
                </c:pt>
                <c:pt idx="201">
                  <c:v>41509</c:v>
                </c:pt>
                <c:pt idx="202">
                  <c:v>41510</c:v>
                </c:pt>
                <c:pt idx="203">
                  <c:v>41512</c:v>
                </c:pt>
                <c:pt idx="204">
                  <c:v>41513</c:v>
                </c:pt>
                <c:pt idx="205">
                  <c:v>41514</c:v>
                </c:pt>
                <c:pt idx="206">
                  <c:v>41515</c:v>
                </c:pt>
                <c:pt idx="207">
                  <c:v>41516</c:v>
                </c:pt>
                <c:pt idx="208">
                  <c:v>41517</c:v>
                </c:pt>
                <c:pt idx="209">
                  <c:v>41519</c:v>
                </c:pt>
                <c:pt idx="210">
                  <c:v>41520</c:v>
                </c:pt>
                <c:pt idx="211">
                  <c:v>41521</c:v>
                </c:pt>
                <c:pt idx="212">
                  <c:v>41522</c:v>
                </c:pt>
                <c:pt idx="213">
                  <c:v>41523</c:v>
                </c:pt>
                <c:pt idx="214">
                  <c:v>41524</c:v>
                </c:pt>
                <c:pt idx="215">
                  <c:v>41526</c:v>
                </c:pt>
                <c:pt idx="216">
                  <c:v>41527</c:v>
                </c:pt>
                <c:pt idx="217">
                  <c:v>41528</c:v>
                </c:pt>
                <c:pt idx="218">
                  <c:v>41529</c:v>
                </c:pt>
                <c:pt idx="219">
                  <c:v>41530</c:v>
                </c:pt>
                <c:pt idx="220">
                  <c:v>41531</c:v>
                </c:pt>
                <c:pt idx="221">
                  <c:v>41533</c:v>
                </c:pt>
                <c:pt idx="222">
                  <c:v>41534</c:v>
                </c:pt>
                <c:pt idx="223">
                  <c:v>41535</c:v>
                </c:pt>
                <c:pt idx="224">
                  <c:v>41536</c:v>
                </c:pt>
                <c:pt idx="225">
                  <c:v>41537</c:v>
                </c:pt>
                <c:pt idx="226">
                  <c:v>41538</c:v>
                </c:pt>
                <c:pt idx="227">
                  <c:v>41540</c:v>
                </c:pt>
                <c:pt idx="228">
                  <c:v>41541</c:v>
                </c:pt>
                <c:pt idx="229">
                  <c:v>41542</c:v>
                </c:pt>
                <c:pt idx="230">
                  <c:v>41543</c:v>
                </c:pt>
                <c:pt idx="231">
                  <c:v>41544</c:v>
                </c:pt>
                <c:pt idx="232">
                  <c:v>41545</c:v>
                </c:pt>
                <c:pt idx="233">
                  <c:v>41547</c:v>
                </c:pt>
                <c:pt idx="234">
                  <c:v>41548</c:v>
                </c:pt>
                <c:pt idx="235">
                  <c:v>41549</c:v>
                </c:pt>
                <c:pt idx="236">
                  <c:v>41550</c:v>
                </c:pt>
                <c:pt idx="237">
                  <c:v>41551</c:v>
                </c:pt>
                <c:pt idx="238">
                  <c:v>41552</c:v>
                </c:pt>
                <c:pt idx="239">
                  <c:v>41554</c:v>
                </c:pt>
                <c:pt idx="240">
                  <c:v>41555</c:v>
                </c:pt>
                <c:pt idx="241">
                  <c:v>41556</c:v>
                </c:pt>
                <c:pt idx="242">
                  <c:v>41557</c:v>
                </c:pt>
                <c:pt idx="243">
                  <c:v>41558</c:v>
                </c:pt>
                <c:pt idx="244">
                  <c:v>41559</c:v>
                </c:pt>
                <c:pt idx="245">
                  <c:v>41561</c:v>
                </c:pt>
                <c:pt idx="246">
                  <c:v>41562</c:v>
                </c:pt>
                <c:pt idx="247">
                  <c:v>41563</c:v>
                </c:pt>
                <c:pt idx="248">
                  <c:v>41564</c:v>
                </c:pt>
                <c:pt idx="249">
                  <c:v>41565</c:v>
                </c:pt>
                <c:pt idx="250">
                  <c:v>41566</c:v>
                </c:pt>
                <c:pt idx="251">
                  <c:v>41568</c:v>
                </c:pt>
                <c:pt idx="252">
                  <c:v>41569</c:v>
                </c:pt>
                <c:pt idx="253">
                  <c:v>41570</c:v>
                </c:pt>
                <c:pt idx="254">
                  <c:v>41571</c:v>
                </c:pt>
                <c:pt idx="255">
                  <c:v>41572</c:v>
                </c:pt>
                <c:pt idx="256">
                  <c:v>41573</c:v>
                </c:pt>
                <c:pt idx="257">
                  <c:v>41575</c:v>
                </c:pt>
                <c:pt idx="258">
                  <c:v>41576</c:v>
                </c:pt>
                <c:pt idx="259">
                  <c:v>41577</c:v>
                </c:pt>
                <c:pt idx="260">
                  <c:v>41578</c:v>
                </c:pt>
                <c:pt idx="261">
                  <c:v>41579</c:v>
                </c:pt>
                <c:pt idx="262">
                  <c:v>41580</c:v>
                </c:pt>
                <c:pt idx="263">
                  <c:v>41582</c:v>
                </c:pt>
                <c:pt idx="264">
                  <c:v>41583</c:v>
                </c:pt>
                <c:pt idx="265">
                  <c:v>41584</c:v>
                </c:pt>
                <c:pt idx="266">
                  <c:v>41585</c:v>
                </c:pt>
                <c:pt idx="267">
                  <c:v>41586</c:v>
                </c:pt>
                <c:pt idx="268">
                  <c:v>41587</c:v>
                </c:pt>
                <c:pt idx="269">
                  <c:v>41589</c:v>
                </c:pt>
                <c:pt idx="270">
                  <c:v>41590</c:v>
                </c:pt>
                <c:pt idx="271">
                  <c:v>41591</c:v>
                </c:pt>
                <c:pt idx="272">
                  <c:v>41592</c:v>
                </c:pt>
                <c:pt idx="273">
                  <c:v>41593</c:v>
                </c:pt>
                <c:pt idx="274">
                  <c:v>41594</c:v>
                </c:pt>
                <c:pt idx="275">
                  <c:v>41596</c:v>
                </c:pt>
                <c:pt idx="276">
                  <c:v>41597</c:v>
                </c:pt>
                <c:pt idx="277">
                  <c:v>41598</c:v>
                </c:pt>
                <c:pt idx="278">
                  <c:v>41599</c:v>
                </c:pt>
                <c:pt idx="279">
                  <c:v>41600</c:v>
                </c:pt>
                <c:pt idx="280">
                  <c:v>41601</c:v>
                </c:pt>
                <c:pt idx="281">
                  <c:v>41603</c:v>
                </c:pt>
                <c:pt idx="282">
                  <c:v>41604</c:v>
                </c:pt>
                <c:pt idx="283">
                  <c:v>41605</c:v>
                </c:pt>
                <c:pt idx="284">
                  <c:v>41606</c:v>
                </c:pt>
                <c:pt idx="285">
                  <c:v>41607</c:v>
                </c:pt>
                <c:pt idx="286">
                  <c:v>41608</c:v>
                </c:pt>
                <c:pt idx="287">
                  <c:v>41610</c:v>
                </c:pt>
                <c:pt idx="288">
                  <c:v>41611</c:v>
                </c:pt>
                <c:pt idx="289">
                  <c:v>41612</c:v>
                </c:pt>
                <c:pt idx="290">
                  <c:v>41613</c:v>
                </c:pt>
                <c:pt idx="291">
                  <c:v>41614</c:v>
                </c:pt>
                <c:pt idx="292">
                  <c:v>41615</c:v>
                </c:pt>
                <c:pt idx="293">
                  <c:v>41617</c:v>
                </c:pt>
                <c:pt idx="294">
                  <c:v>41618</c:v>
                </c:pt>
                <c:pt idx="295">
                  <c:v>41619</c:v>
                </c:pt>
                <c:pt idx="296">
                  <c:v>41620</c:v>
                </c:pt>
                <c:pt idx="297">
                  <c:v>41621</c:v>
                </c:pt>
                <c:pt idx="298">
                  <c:v>41622</c:v>
                </c:pt>
                <c:pt idx="299">
                  <c:v>41624</c:v>
                </c:pt>
                <c:pt idx="300">
                  <c:v>41625</c:v>
                </c:pt>
                <c:pt idx="301">
                  <c:v>41626</c:v>
                </c:pt>
                <c:pt idx="302">
                  <c:v>41627</c:v>
                </c:pt>
                <c:pt idx="303">
                  <c:v>41628</c:v>
                </c:pt>
                <c:pt idx="304">
                  <c:v>41629</c:v>
                </c:pt>
                <c:pt idx="305">
                  <c:v>41631</c:v>
                </c:pt>
                <c:pt idx="306">
                  <c:v>41632</c:v>
                </c:pt>
                <c:pt idx="307">
                  <c:v>41633</c:v>
                </c:pt>
                <c:pt idx="308">
                  <c:v>41634</c:v>
                </c:pt>
                <c:pt idx="309">
                  <c:v>41635</c:v>
                </c:pt>
                <c:pt idx="310">
                  <c:v>41636</c:v>
                </c:pt>
                <c:pt idx="311">
                  <c:v>41638</c:v>
                </c:pt>
                <c:pt idx="312">
                  <c:v>41639</c:v>
                </c:pt>
                <c:pt idx="313">
                  <c:v>41640</c:v>
                </c:pt>
                <c:pt idx="314">
                  <c:v>41641</c:v>
                </c:pt>
                <c:pt idx="315">
                  <c:v>41642</c:v>
                </c:pt>
                <c:pt idx="316">
                  <c:v>41643</c:v>
                </c:pt>
                <c:pt idx="317">
                  <c:v>41645</c:v>
                </c:pt>
                <c:pt idx="318">
                  <c:v>41646</c:v>
                </c:pt>
                <c:pt idx="319">
                  <c:v>41647</c:v>
                </c:pt>
                <c:pt idx="320">
                  <c:v>41648</c:v>
                </c:pt>
                <c:pt idx="321">
                  <c:v>41649</c:v>
                </c:pt>
                <c:pt idx="322">
                  <c:v>41650</c:v>
                </c:pt>
                <c:pt idx="323">
                  <c:v>41652</c:v>
                </c:pt>
                <c:pt idx="324">
                  <c:v>41653</c:v>
                </c:pt>
                <c:pt idx="325">
                  <c:v>41654</c:v>
                </c:pt>
                <c:pt idx="326">
                  <c:v>41655</c:v>
                </c:pt>
                <c:pt idx="327">
                  <c:v>41656</c:v>
                </c:pt>
                <c:pt idx="328">
                  <c:v>41657</c:v>
                </c:pt>
                <c:pt idx="329">
                  <c:v>41659</c:v>
                </c:pt>
                <c:pt idx="330">
                  <c:v>41660</c:v>
                </c:pt>
                <c:pt idx="331">
                  <c:v>41661</c:v>
                </c:pt>
                <c:pt idx="332">
                  <c:v>41662</c:v>
                </c:pt>
                <c:pt idx="333">
                  <c:v>41663</c:v>
                </c:pt>
                <c:pt idx="334">
                  <c:v>41664</c:v>
                </c:pt>
                <c:pt idx="335">
                  <c:v>41666</c:v>
                </c:pt>
                <c:pt idx="336">
                  <c:v>41667</c:v>
                </c:pt>
                <c:pt idx="337">
                  <c:v>41668</c:v>
                </c:pt>
                <c:pt idx="338">
                  <c:v>41669</c:v>
                </c:pt>
                <c:pt idx="339">
                  <c:v>41670</c:v>
                </c:pt>
                <c:pt idx="340">
                  <c:v>41671</c:v>
                </c:pt>
                <c:pt idx="341">
                  <c:v>41673</c:v>
                </c:pt>
                <c:pt idx="342">
                  <c:v>41674</c:v>
                </c:pt>
                <c:pt idx="343">
                  <c:v>41675</c:v>
                </c:pt>
                <c:pt idx="344">
                  <c:v>41676</c:v>
                </c:pt>
                <c:pt idx="345">
                  <c:v>41677</c:v>
                </c:pt>
                <c:pt idx="346">
                  <c:v>41678</c:v>
                </c:pt>
                <c:pt idx="347">
                  <c:v>41680</c:v>
                </c:pt>
                <c:pt idx="348">
                  <c:v>41681</c:v>
                </c:pt>
                <c:pt idx="349">
                  <c:v>41682</c:v>
                </c:pt>
                <c:pt idx="350">
                  <c:v>41683</c:v>
                </c:pt>
                <c:pt idx="351">
                  <c:v>41684</c:v>
                </c:pt>
                <c:pt idx="352">
                  <c:v>41685</c:v>
                </c:pt>
                <c:pt idx="353">
                  <c:v>41687</c:v>
                </c:pt>
                <c:pt idx="354">
                  <c:v>41688</c:v>
                </c:pt>
                <c:pt idx="355">
                  <c:v>41689</c:v>
                </c:pt>
                <c:pt idx="356">
                  <c:v>41690</c:v>
                </c:pt>
                <c:pt idx="357">
                  <c:v>41691</c:v>
                </c:pt>
                <c:pt idx="358">
                  <c:v>41692</c:v>
                </c:pt>
                <c:pt idx="359">
                  <c:v>41694</c:v>
                </c:pt>
                <c:pt idx="360">
                  <c:v>41695</c:v>
                </c:pt>
                <c:pt idx="361">
                  <c:v>41696</c:v>
                </c:pt>
                <c:pt idx="362">
                  <c:v>41697</c:v>
                </c:pt>
                <c:pt idx="363">
                  <c:v>41698</c:v>
                </c:pt>
                <c:pt idx="364">
                  <c:v>41699</c:v>
                </c:pt>
                <c:pt idx="365">
                  <c:v>41701</c:v>
                </c:pt>
                <c:pt idx="366">
                  <c:v>41702</c:v>
                </c:pt>
                <c:pt idx="367">
                  <c:v>41703</c:v>
                </c:pt>
                <c:pt idx="368">
                  <c:v>41704</c:v>
                </c:pt>
                <c:pt idx="369">
                  <c:v>41705</c:v>
                </c:pt>
                <c:pt idx="370">
                  <c:v>41706</c:v>
                </c:pt>
                <c:pt idx="371">
                  <c:v>41708</c:v>
                </c:pt>
                <c:pt idx="372">
                  <c:v>41709</c:v>
                </c:pt>
                <c:pt idx="373">
                  <c:v>41710</c:v>
                </c:pt>
                <c:pt idx="374">
                  <c:v>41711</c:v>
                </c:pt>
                <c:pt idx="375">
                  <c:v>41712</c:v>
                </c:pt>
                <c:pt idx="376">
                  <c:v>41713</c:v>
                </c:pt>
                <c:pt idx="377">
                  <c:v>41715</c:v>
                </c:pt>
                <c:pt idx="378">
                  <c:v>41716</c:v>
                </c:pt>
                <c:pt idx="379">
                  <c:v>41717</c:v>
                </c:pt>
                <c:pt idx="380">
                  <c:v>41718</c:v>
                </c:pt>
                <c:pt idx="381">
                  <c:v>41719</c:v>
                </c:pt>
                <c:pt idx="382">
                  <c:v>41720</c:v>
                </c:pt>
                <c:pt idx="383">
                  <c:v>41722</c:v>
                </c:pt>
                <c:pt idx="384">
                  <c:v>41723</c:v>
                </c:pt>
                <c:pt idx="385">
                  <c:v>41724</c:v>
                </c:pt>
                <c:pt idx="386">
                  <c:v>41725</c:v>
                </c:pt>
                <c:pt idx="387">
                  <c:v>41726</c:v>
                </c:pt>
                <c:pt idx="388">
                  <c:v>41727</c:v>
                </c:pt>
                <c:pt idx="389">
                  <c:v>41729</c:v>
                </c:pt>
                <c:pt idx="390">
                  <c:v>41730</c:v>
                </c:pt>
                <c:pt idx="391">
                  <c:v>41731</c:v>
                </c:pt>
                <c:pt idx="392">
                  <c:v>41732</c:v>
                </c:pt>
                <c:pt idx="393">
                  <c:v>41733</c:v>
                </c:pt>
                <c:pt idx="394">
                  <c:v>41734</c:v>
                </c:pt>
                <c:pt idx="395">
                  <c:v>41736</c:v>
                </c:pt>
                <c:pt idx="396">
                  <c:v>41737</c:v>
                </c:pt>
                <c:pt idx="397">
                  <c:v>41738</c:v>
                </c:pt>
                <c:pt idx="398">
                  <c:v>41739</c:v>
                </c:pt>
                <c:pt idx="399">
                  <c:v>41740</c:v>
                </c:pt>
                <c:pt idx="400">
                  <c:v>41741</c:v>
                </c:pt>
                <c:pt idx="401">
                  <c:v>41743</c:v>
                </c:pt>
                <c:pt idx="402">
                  <c:v>41744</c:v>
                </c:pt>
                <c:pt idx="403">
                  <c:v>41745</c:v>
                </c:pt>
                <c:pt idx="404">
                  <c:v>41746</c:v>
                </c:pt>
                <c:pt idx="405">
                  <c:v>41747</c:v>
                </c:pt>
                <c:pt idx="406">
                  <c:v>41748</c:v>
                </c:pt>
                <c:pt idx="407">
                  <c:v>41750</c:v>
                </c:pt>
                <c:pt idx="408">
                  <c:v>41751</c:v>
                </c:pt>
                <c:pt idx="409">
                  <c:v>41752</c:v>
                </c:pt>
                <c:pt idx="410">
                  <c:v>41753</c:v>
                </c:pt>
                <c:pt idx="411">
                  <c:v>41754</c:v>
                </c:pt>
                <c:pt idx="412">
                  <c:v>41755</c:v>
                </c:pt>
                <c:pt idx="413">
                  <c:v>41757</c:v>
                </c:pt>
                <c:pt idx="414">
                  <c:v>41758</c:v>
                </c:pt>
                <c:pt idx="415">
                  <c:v>41759</c:v>
                </c:pt>
                <c:pt idx="416">
                  <c:v>41760</c:v>
                </c:pt>
                <c:pt idx="417">
                  <c:v>41761</c:v>
                </c:pt>
                <c:pt idx="418">
                  <c:v>41762</c:v>
                </c:pt>
                <c:pt idx="419">
                  <c:v>41764</c:v>
                </c:pt>
                <c:pt idx="420">
                  <c:v>41765</c:v>
                </c:pt>
                <c:pt idx="421">
                  <c:v>41766</c:v>
                </c:pt>
                <c:pt idx="422">
                  <c:v>41767</c:v>
                </c:pt>
                <c:pt idx="423">
                  <c:v>41768</c:v>
                </c:pt>
                <c:pt idx="424">
                  <c:v>41769</c:v>
                </c:pt>
                <c:pt idx="425">
                  <c:v>41771</c:v>
                </c:pt>
                <c:pt idx="426">
                  <c:v>41772</c:v>
                </c:pt>
                <c:pt idx="427">
                  <c:v>41773</c:v>
                </c:pt>
                <c:pt idx="428">
                  <c:v>41774</c:v>
                </c:pt>
                <c:pt idx="429">
                  <c:v>41775</c:v>
                </c:pt>
                <c:pt idx="430">
                  <c:v>41776</c:v>
                </c:pt>
                <c:pt idx="431">
                  <c:v>41778</c:v>
                </c:pt>
                <c:pt idx="432">
                  <c:v>41779</c:v>
                </c:pt>
                <c:pt idx="433">
                  <c:v>41780</c:v>
                </c:pt>
                <c:pt idx="434">
                  <c:v>41781</c:v>
                </c:pt>
                <c:pt idx="435">
                  <c:v>41782</c:v>
                </c:pt>
                <c:pt idx="436">
                  <c:v>41783</c:v>
                </c:pt>
                <c:pt idx="437">
                  <c:v>41785</c:v>
                </c:pt>
                <c:pt idx="438">
                  <c:v>41786</c:v>
                </c:pt>
                <c:pt idx="439">
                  <c:v>41787</c:v>
                </c:pt>
                <c:pt idx="440">
                  <c:v>41788</c:v>
                </c:pt>
                <c:pt idx="441">
                  <c:v>41789</c:v>
                </c:pt>
                <c:pt idx="442">
                  <c:v>41790</c:v>
                </c:pt>
                <c:pt idx="443">
                  <c:v>41792</c:v>
                </c:pt>
                <c:pt idx="444">
                  <c:v>41793</c:v>
                </c:pt>
                <c:pt idx="445">
                  <c:v>41794</c:v>
                </c:pt>
                <c:pt idx="446">
                  <c:v>41795</c:v>
                </c:pt>
                <c:pt idx="447">
                  <c:v>41796</c:v>
                </c:pt>
                <c:pt idx="448">
                  <c:v>41797</c:v>
                </c:pt>
                <c:pt idx="449">
                  <c:v>41799</c:v>
                </c:pt>
                <c:pt idx="450">
                  <c:v>41800</c:v>
                </c:pt>
                <c:pt idx="451">
                  <c:v>41801</c:v>
                </c:pt>
                <c:pt idx="452">
                  <c:v>41802</c:v>
                </c:pt>
                <c:pt idx="453">
                  <c:v>41803</c:v>
                </c:pt>
                <c:pt idx="454">
                  <c:v>41804</c:v>
                </c:pt>
                <c:pt idx="455">
                  <c:v>41806</c:v>
                </c:pt>
                <c:pt idx="456">
                  <c:v>41807</c:v>
                </c:pt>
                <c:pt idx="457">
                  <c:v>41808</c:v>
                </c:pt>
                <c:pt idx="458">
                  <c:v>41809</c:v>
                </c:pt>
                <c:pt idx="459">
                  <c:v>41810</c:v>
                </c:pt>
                <c:pt idx="460">
                  <c:v>41811</c:v>
                </c:pt>
                <c:pt idx="461">
                  <c:v>41813</c:v>
                </c:pt>
                <c:pt idx="462">
                  <c:v>41814</c:v>
                </c:pt>
                <c:pt idx="463">
                  <c:v>41815</c:v>
                </c:pt>
                <c:pt idx="464">
                  <c:v>41816</c:v>
                </c:pt>
                <c:pt idx="465">
                  <c:v>41817</c:v>
                </c:pt>
                <c:pt idx="466">
                  <c:v>41818</c:v>
                </c:pt>
                <c:pt idx="467">
                  <c:v>41820</c:v>
                </c:pt>
                <c:pt idx="468">
                  <c:v>41821</c:v>
                </c:pt>
                <c:pt idx="469">
                  <c:v>41822</c:v>
                </c:pt>
                <c:pt idx="470">
                  <c:v>41823</c:v>
                </c:pt>
                <c:pt idx="471">
                  <c:v>41824</c:v>
                </c:pt>
                <c:pt idx="472">
                  <c:v>41825</c:v>
                </c:pt>
                <c:pt idx="473">
                  <c:v>41827</c:v>
                </c:pt>
                <c:pt idx="474">
                  <c:v>41828</c:v>
                </c:pt>
                <c:pt idx="475">
                  <c:v>41829</c:v>
                </c:pt>
                <c:pt idx="476">
                  <c:v>41830</c:v>
                </c:pt>
                <c:pt idx="477">
                  <c:v>41831</c:v>
                </c:pt>
                <c:pt idx="478">
                  <c:v>41832</c:v>
                </c:pt>
                <c:pt idx="479">
                  <c:v>41834</c:v>
                </c:pt>
                <c:pt idx="480">
                  <c:v>41835</c:v>
                </c:pt>
                <c:pt idx="481">
                  <c:v>41836</c:v>
                </c:pt>
                <c:pt idx="482">
                  <c:v>41837</c:v>
                </c:pt>
                <c:pt idx="483">
                  <c:v>41838</c:v>
                </c:pt>
                <c:pt idx="484">
                  <c:v>41839</c:v>
                </c:pt>
                <c:pt idx="485">
                  <c:v>41841</c:v>
                </c:pt>
                <c:pt idx="486">
                  <c:v>41842</c:v>
                </c:pt>
                <c:pt idx="487">
                  <c:v>41843</c:v>
                </c:pt>
                <c:pt idx="488">
                  <c:v>41844</c:v>
                </c:pt>
                <c:pt idx="489">
                  <c:v>41845</c:v>
                </c:pt>
                <c:pt idx="490">
                  <c:v>41846</c:v>
                </c:pt>
                <c:pt idx="491">
                  <c:v>41848</c:v>
                </c:pt>
                <c:pt idx="492">
                  <c:v>41849</c:v>
                </c:pt>
                <c:pt idx="493">
                  <c:v>41850</c:v>
                </c:pt>
                <c:pt idx="494">
                  <c:v>41851</c:v>
                </c:pt>
                <c:pt idx="495">
                  <c:v>41852</c:v>
                </c:pt>
                <c:pt idx="496">
                  <c:v>41853</c:v>
                </c:pt>
                <c:pt idx="497">
                  <c:v>41855</c:v>
                </c:pt>
                <c:pt idx="498">
                  <c:v>41856</c:v>
                </c:pt>
                <c:pt idx="499">
                  <c:v>41857</c:v>
                </c:pt>
                <c:pt idx="500">
                  <c:v>41858</c:v>
                </c:pt>
                <c:pt idx="501">
                  <c:v>41859</c:v>
                </c:pt>
                <c:pt idx="502">
                  <c:v>41860</c:v>
                </c:pt>
                <c:pt idx="503">
                  <c:v>41862</c:v>
                </c:pt>
                <c:pt idx="504">
                  <c:v>41863</c:v>
                </c:pt>
                <c:pt idx="505">
                  <c:v>41864</c:v>
                </c:pt>
                <c:pt idx="506">
                  <c:v>41865</c:v>
                </c:pt>
                <c:pt idx="507">
                  <c:v>41866</c:v>
                </c:pt>
                <c:pt idx="508">
                  <c:v>41867</c:v>
                </c:pt>
                <c:pt idx="509">
                  <c:v>41869</c:v>
                </c:pt>
                <c:pt idx="510">
                  <c:v>41870</c:v>
                </c:pt>
                <c:pt idx="511">
                  <c:v>41871</c:v>
                </c:pt>
                <c:pt idx="512">
                  <c:v>41872</c:v>
                </c:pt>
                <c:pt idx="513">
                  <c:v>41873</c:v>
                </c:pt>
                <c:pt idx="514">
                  <c:v>41874</c:v>
                </c:pt>
                <c:pt idx="515">
                  <c:v>41876</c:v>
                </c:pt>
                <c:pt idx="516">
                  <c:v>41877</c:v>
                </c:pt>
                <c:pt idx="517">
                  <c:v>41878</c:v>
                </c:pt>
                <c:pt idx="518">
                  <c:v>41879</c:v>
                </c:pt>
                <c:pt idx="519">
                  <c:v>41880</c:v>
                </c:pt>
                <c:pt idx="520">
                  <c:v>41881</c:v>
                </c:pt>
                <c:pt idx="521">
                  <c:v>41883</c:v>
                </c:pt>
                <c:pt idx="522">
                  <c:v>41884</c:v>
                </c:pt>
                <c:pt idx="523">
                  <c:v>41885</c:v>
                </c:pt>
                <c:pt idx="524">
                  <c:v>41886</c:v>
                </c:pt>
                <c:pt idx="525">
                  <c:v>41887</c:v>
                </c:pt>
                <c:pt idx="526">
                  <c:v>41888</c:v>
                </c:pt>
                <c:pt idx="527">
                  <c:v>41890</c:v>
                </c:pt>
                <c:pt idx="528">
                  <c:v>41891</c:v>
                </c:pt>
                <c:pt idx="529">
                  <c:v>41892</c:v>
                </c:pt>
                <c:pt idx="530">
                  <c:v>41893</c:v>
                </c:pt>
                <c:pt idx="531">
                  <c:v>41894</c:v>
                </c:pt>
                <c:pt idx="532">
                  <c:v>41895</c:v>
                </c:pt>
                <c:pt idx="533">
                  <c:v>41897</c:v>
                </c:pt>
                <c:pt idx="534">
                  <c:v>41898</c:v>
                </c:pt>
                <c:pt idx="535">
                  <c:v>41899</c:v>
                </c:pt>
                <c:pt idx="536">
                  <c:v>41900</c:v>
                </c:pt>
                <c:pt idx="537">
                  <c:v>41901</c:v>
                </c:pt>
                <c:pt idx="538">
                  <c:v>41902</c:v>
                </c:pt>
                <c:pt idx="539">
                  <c:v>41904</c:v>
                </c:pt>
                <c:pt idx="540">
                  <c:v>41905</c:v>
                </c:pt>
                <c:pt idx="541">
                  <c:v>41906</c:v>
                </c:pt>
                <c:pt idx="542">
                  <c:v>41907</c:v>
                </c:pt>
                <c:pt idx="543">
                  <c:v>41908</c:v>
                </c:pt>
                <c:pt idx="544">
                  <c:v>41909</c:v>
                </c:pt>
                <c:pt idx="545">
                  <c:v>41911</c:v>
                </c:pt>
                <c:pt idx="546">
                  <c:v>41912</c:v>
                </c:pt>
                <c:pt idx="547">
                  <c:v>41913</c:v>
                </c:pt>
                <c:pt idx="548">
                  <c:v>41914</c:v>
                </c:pt>
                <c:pt idx="549">
                  <c:v>41915</c:v>
                </c:pt>
                <c:pt idx="550">
                  <c:v>41916</c:v>
                </c:pt>
                <c:pt idx="551">
                  <c:v>41918</c:v>
                </c:pt>
                <c:pt idx="552">
                  <c:v>41919</c:v>
                </c:pt>
                <c:pt idx="553">
                  <c:v>41920</c:v>
                </c:pt>
                <c:pt idx="554">
                  <c:v>41921</c:v>
                </c:pt>
                <c:pt idx="555">
                  <c:v>41922</c:v>
                </c:pt>
                <c:pt idx="556">
                  <c:v>41923</c:v>
                </c:pt>
                <c:pt idx="557">
                  <c:v>41925</c:v>
                </c:pt>
                <c:pt idx="558">
                  <c:v>41926</c:v>
                </c:pt>
                <c:pt idx="559">
                  <c:v>41927</c:v>
                </c:pt>
                <c:pt idx="560">
                  <c:v>41928</c:v>
                </c:pt>
                <c:pt idx="561">
                  <c:v>41929</c:v>
                </c:pt>
                <c:pt idx="562">
                  <c:v>41930</c:v>
                </c:pt>
                <c:pt idx="563">
                  <c:v>41932</c:v>
                </c:pt>
                <c:pt idx="564">
                  <c:v>41933</c:v>
                </c:pt>
                <c:pt idx="565">
                  <c:v>41934</c:v>
                </c:pt>
                <c:pt idx="566">
                  <c:v>41935</c:v>
                </c:pt>
                <c:pt idx="567">
                  <c:v>41936</c:v>
                </c:pt>
                <c:pt idx="568">
                  <c:v>41937</c:v>
                </c:pt>
                <c:pt idx="569">
                  <c:v>41939</c:v>
                </c:pt>
                <c:pt idx="570">
                  <c:v>41940</c:v>
                </c:pt>
                <c:pt idx="571">
                  <c:v>41941</c:v>
                </c:pt>
                <c:pt idx="572">
                  <c:v>41942</c:v>
                </c:pt>
                <c:pt idx="573">
                  <c:v>41943</c:v>
                </c:pt>
                <c:pt idx="574">
                  <c:v>41944</c:v>
                </c:pt>
                <c:pt idx="575">
                  <c:v>41946</c:v>
                </c:pt>
                <c:pt idx="576">
                  <c:v>41947</c:v>
                </c:pt>
                <c:pt idx="577">
                  <c:v>41948</c:v>
                </c:pt>
                <c:pt idx="578">
                  <c:v>41949</c:v>
                </c:pt>
                <c:pt idx="579">
                  <c:v>41950</c:v>
                </c:pt>
                <c:pt idx="580">
                  <c:v>41951</c:v>
                </c:pt>
                <c:pt idx="581">
                  <c:v>41953</c:v>
                </c:pt>
                <c:pt idx="582">
                  <c:v>41954</c:v>
                </c:pt>
                <c:pt idx="583">
                  <c:v>41955</c:v>
                </c:pt>
                <c:pt idx="584">
                  <c:v>41956</c:v>
                </c:pt>
                <c:pt idx="585">
                  <c:v>41957</c:v>
                </c:pt>
                <c:pt idx="586">
                  <c:v>41958</c:v>
                </c:pt>
                <c:pt idx="587">
                  <c:v>41960</c:v>
                </c:pt>
                <c:pt idx="588">
                  <c:v>41961</c:v>
                </c:pt>
                <c:pt idx="589">
                  <c:v>41962</c:v>
                </c:pt>
                <c:pt idx="590">
                  <c:v>41963</c:v>
                </c:pt>
                <c:pt idx="591">
                  <c:v>41964</c:v>
                </c:pt>
                <c:pt idx="592">
                  <c:v>41965</c:v>
                </c:pt>
                <c:pt idx="593">
                  <c:v>41967</c:v>
                </c:pt>
                <c:pt idx="594">
                  <c:v>41968</c:v>
                </c:pt>
                <c:pt idx="595">
                  <c:v>41969</c:v>
                </c:pt>
                <c:pt idx="596">
                  <c:v>41970</c:v>
                </c:pt>
                <c:pt idx="597">
                  <c:v>41971</c:v>
                </c:pt>
                <c:pt idx="598">
                  <c:v>41972</c:v>
                </c:pt>
                <c:pt idx="599">
                  <c:v>41974</c:v>
                </c:pt>
                <c:pt idx="600">
                  <c:v>41975</c:v>
                </c:pt>
                <c:pt idx="601">
                  <c:v>41976</c:v>
                </c:pt>
                <c:pt idx="602">
                  <c:v>41977</c:v>
                </c:pt>
                <c:pt idx="603">
                  <c:v>41978</c:v>
                </c:pt>
                <c:pt idx="604">
                  <c:v>41979</c:v>
                </c:pt>
                <c:pt idx="605">
                  <c:v>41981</c:v>
                </c:pt>
                <c:pt idx="606">
                  <c:v>41982</c:v>
                </c:pt>
                <c:pt idx="607">
                  <c:v>41983</c:v>
                </c:pt>
                <c:pt idx="608">
                  <c:v>41984</c:v>
                </c:pt>
                <c:pt idx="609">
                  <c:v>41985</c:v>
                </c:pt>
                <c:pt idx="610">
                  <c:v>41986</c:v>
                </c:pt>
                <c:pt idx="611">
                  <c:v>41988</c:v>
                </c:pt>
                <c:pt idx="612">
                  <c:v>41989</c:v>
                </c:pt>
                <c:pt idx="613">
                  <c:v>41990</c:v>
                </c:pt>
                <c:pt idx="614">
                  <c:v>41991</c:v>
                </c:pt>
                <c:pt idx="615">
                  <c:v>41992</c:v>
                </c:pt>
                <c:pt idx="616">
                  <c:v>41993</c:v>
                </c:pt>
                <c:pt idx="617">
                  <c:v>41995</c:v>
                </c:pt>
                <c:pt idx="618">
                  <c:v>41996</c:v>
                </c:pt>
                <c:pt idx="619">
                  <c:v>41997</c:v>
                </c:pt>
                <c:pt idx="620">
                  <c:v>41998</c:v>
                </c:pt>
              </c:numCache>
            </c:numRef>
          </c:xVal>
          <c:yVal>
            <c:numRef>
              <c:f>volume_total_Daily!$C$941:$C$1561</c:f>
              <c:numCache>
                <c:formatCode>_(* #,##0_);_(* \(#,##0\);_(* "-"_);_(@_)</c:formatCode>
                <c:ptCount val="621"/>
                <c:pt idx="0">
                  <c:v>138400.38235909501</c:v>
                </c:pt>
                <c:pt idx="1">
                  <c:v>563520.95169164694</c:v>
                </c:pt>
                <c:pt idx="2">
                  <c:v>441296.74882000964</c:v>
                </c:pt>
                <c:pt idx="3">
                  <c:v>372992.772135871</c:v>
                </c:pt>
                <c:pt idx="4">
                  <c:v>17104.710357535649</c:v>
                </c:pt>
                <c:pt idx="5">
                  <c:v>357758.80331030022</c:v>
                </c:pt>
                <c:pt idx="6">
                  <c:v>342207.94083496003</c:v>
                </c:pt>
                <c:pt idx="7">
                  <c:v>290533.60402109259</c:v>
                </c:pt>
                <c:pt idx="8">
                  <c:v>289707.79762571701</c:v>
                </c:pt>
                <c:pt idx="9">
                  <c:v>363513.22825444984</c:v>
                </c:pt>
                <c:pt idx="10">
                  <c:v>29023.957217668401</c:v>
                </c:pt>
                <c:pt idx="11">
                  <c:v>349945.95898720401</c:v>
                </c:pt>
                <c:pt idx="12">
                  <c:v>350283.17720645783</c:v>
                </c:pt>
                <c:pt idx="13">
                  <c:v>291675.31193591584</c:v>
                </c:pt>
                <c:pt idx="14">
                  <c:v>313105.75569826801</c:v>
                </c:pt>
                <c:pt idx="15">
                  <c:v>339374.61294109985</c:v>
                </c:pt>
                <c:pt idx="16">
                  <c:v>18245.673937600892</c:v>
                </c:pt>
                <c:pt idx="17">
                  <c:v>334746.81717436586</c:v>
                </c:pt>
                <c:pt idx="18">
                  <c:v>339983.12270550989</c:v>
                </c:pt>
                <c:pt idx="19">
                  <c:v>302836.15262551385</c:v>
                </c:pt>
                <c:pt idx="20">
                  <c:v>324943.86344550102</c:v>
                </c:pt>
                <c:pt idx="21">
                  <c:v>333450.80449844286</c:v>
                </c:pt>
                <c:pt idx="22">
                  <c:v>32957.076094898213</c:v>
                </c:pt>
                <c:pt idx="23">
                  <c:v>348341.72333634528</c:v>
                </c:pt>
                <c:pt idx="24">
                  <c:v>332686.16710859683</c:v>
                </c:pt>
                <c:pt idx="25">
                  <c:v>280082.98900585802</c:v>
                </c:pt>
                <c:pt idx="26">
                  <c:v>223107.06475386801</c:v>
                </c:pt>
                <c:pt idx="27">
                  <c:v>624769.66956075688</c:v>
                </c:pt>
                <c:pt idx="28">
                  <c:v>68448.1233965094</c:v>
                </c:pt>
                <c:pt idx="29">
                  <c:v>473468.81077876902</c:v>
                </c:pt>
                <c:pt idx="30">
                  <c:v>563922.63257308898</c:v>
                </c:pt>
                <c:pt idx="31">
                  <c:v>512080.74296675384</c:v>
                </c:pt>
                <c:pt idx="32">
                  <c:v>543555.69235892699</c:v>
                </c:pt>
                <c:pt idx="33">
                  <c:v>449755.53228651528</c:v>
                </c:pt>
                <c:pt idx="34">
                  <c:v>15068.114618224799</c:v>
                </c:pt>
                <c:pt idx="35">
                  <c:v>0</c:v>
                </c:pt>
                <c:pt idx="36">
                  <c:v>343715.68144490686</c:v>
                </c:pt>
                <c:pt idx="37">
                  <c:v>280613.05187407503</c:v>
                </c:pt>
                <c:pt idx="38">
                  <c:v>313571.46617141698</c:v>
                </c:pt>
                <c:pt idx="39">
                  <c:v>326646.5824288032</c:v>
                </c:pt>
                <c:pt idx="40">
                  <c:v>-3980.5030203476199</c:v>
                </c:pt>
                <c:pt idx="41">
                  <c:v>322580.77197895502</c:v>
                </c:pt>
                <c:pt idx="42">
                  <c:v>313196.0317811002</c:v>
                </c:pt>
                <c:pt idx="43">
                  <c:v>246250.21418267</c:v>
                </c:pt>
                <c:pt idx="44">
                  <c:v>309023.34197525057</c:v>
                </c:pt>
                <c:pt idx="45">
                  <c:v>309371.39084484486</c:v>
                </c:pt>
                <c:pt idx="46">
                  <c:v>-5379.5317073463657</c:v>
                </c:pt>
                <c:pt idx="47">
                  <c:v>309776.64718928089</c:v>
                </c:pt>
                <c:pt idx="48">
                  <c:v>314428.528873345</c:v>
                </c:pt>
                <c:pt idx="49">
                  <c:v>321148.93523323553</c:v>
                </c:pt>
                <c:pt idx="50">
                  <c:v>290861.88519444386</c:v>
                </c:pt>
                <c:pt idx="51">
                  <c:v>280975.34879441326</c:v>
                </c:pt>
                <c:pt idx="52">
                  <c:v>41168.627329962175</c:v>
                </c:pt>
                <c:pt idx="53">
                  <c:v>489613.48345642898</c:v>
                </c:pt>
                <c:pt idx="54">
                  <c:v>426928.012723113</c:v>
                </c:pt>
                <c:pt idx="55">
                  <c:v>371572.50481836702</c:v>
                </c:pt>
                <c:pt idx="56">
                  <c:v>379531.87976787699</c:v>
                </c:pt>
                <c:pt idx="57">
                  <c:v>380875.46025660902</c:v>
                </c:pt>
                <c:pt idx="58">
                  <c:v>57666.190880873342</c:v>
                </c:pt>
                <c:pt idx="59">
                  <c:v>375586.47017330729</c:v>
                </c:pt>
                <c:pt idx="60">
                  <c:v>381702.06019676302</c:v>
                </c:pt>
                <c:pt idx="61">
                  <c:v>324343.93850101641</c:v>
                </c:pt>
                <c:pt idx="62">
                  <c:v>358020.2811598042</c:v>
                </c:pt>
                <c:pt idx="63">
                  <c:v>385044.974785798</c:v>
                </c:pt>
                <c:pt idx="64">
                  <c:v>40593.676753821885</c:v>
                </c:pt>
                <c:pt idx="65">
                  <c:v>375307.58937855222</c:v>
                </c:pt>
                <c:pt idx="66">
                  <c:v>369563.726876222</c:v>
                </c:pt>
                <c:pt idx="67">
                  <c:v>300093.38146304601</c:v>
                </c:pt>
                <c:pt idx="68">
                  <c:v>361767.34770199639</c:v>
                </c:pt>
                <c:pt idx="69">
                  <c:v>380194.67940324498</c:v>
                </c:pt>
                <c:pt idx="70">
                  <c:v>39081.017152794397</c:v>
                </c:pt>
                <c:pt idx="71">
                  <c:v>367085.68552456499</c:v>
                </c:pt>
                <c:pt idx="72">
                  <c:v>350543.01335724886</c:v>
                </c:pt>
                <c:pt idx="73">
                  <c:v>299288.78182052786</c:v>
                </c:pt>
                <c:pt idx="74">
                  <c:v>301172.62921194441</c:v>
                </c:pt>
                <c:pt idx="75">
                  <c:v>299954.70802752901</c:v>
                </c:pt>
                <c:pt idx="76">
                  <c:v>40637.257702944902</c:v>
                </c:pt>
                <c:pt idx="77">
                  <c:v>560507.59882076795</c:v>
                </c:pt>
                <c:pt idx="78">
                  <c:v>423253.69986916601</c:v>
                </c:pt>
                <c:pt idx="79">
                  <c:v>374194.85818279686</c:v>
                </c:pt>
                <c:pt idx="80">
                  <c:v>394751.09265776799</c:v>
                </c:pt>
                <c:pt idx="81">
                  <c:v>391851.05715513439</c:v>
                </c:pt>
                <c:pt idx="82">
                  <c:v>37244.725991452775</c:v>
                </c:pt>
                <c:pt idx="83">
                  <c:v>384866.25596195093</c:v>
                </c:pt>
                <c:pt idx="84">
                  <c:v>370718.22724554286</c:v>
                </c:pt>
                <c:pt idx="85">
                  <c:v>295082.47515854699</c:v>
                </c:pt>
                <c:pt idx="86">
                  <c:v>358472.75219931401</c:v>
                </c:pt>
                <c:pt idx="87">
                  <c:v>382369.15905851685</c:v>
                </c:pt>
                <c:pt idx="88">
                  <c:v>40752.941463544194</c:v>
                </c:pt>
                <c:pt idx="89">
                  <c:v>372546.45132192702</c:v>
                </c:pt>
                <c:pt idx="90">
                  <c:v>385185.13250037201</c:v>
                </c:pt>
                <c:pt idx="91">
                  <c:v>345614.130226593</c:v>
                </c:pt>
                <c:pt idx="92">
                  <c:v>366086.87744019402</c:v>
                </c:pt>
                <c:pt idx="93">
                  <c:v>393234.28751957254</c:v>
                </c:pt>
                <c:pt idx="94">
                  <c:v>46694.955172607595</c:v>
                </c:pt>
                <c:pt idx="95">
                  <c:v>384111.45320427202</c:v>
                </c:pt>
                <c:pt idx="96">
                  <c:v>371970.18598285899</c:v>
                </c:pt>
                <c:pt idx="97">
                  <c:v>342041.31574181886</c:v>
                </c:pt>
                <c:pt idx="98">
                  <c:v>349687.9719416392</c:v>
                </c:pt>
                <c:pt idx="99">
                  <c:v>352830.36190779164</c:v>
                </c:pt>
                <c:pt idx="100">
                  <c:v>50487.040740799996</c:v>
                </c:pt>
                <c:pt idx="101">
                  <c:v>328899.94862028485</c:v>
                </c:pt>
                <c:pt idx="102">
                  <c:v>241615.53381662598</c:v>
                </c:pt>
                <c:pt idx="103">
                  <c:v>594997.79245641211</c:v>
                </c:pt>
                <c:pt idx="104">
                  <c:v>540728.45086838841</c:v>
                </c:pt>
                <c:pt idx="105">
                  <c:v>520273.872188751</c:v>
                </c:pt>
                <c:pt idx="106">
                  <c:v>62793.674276957703</c:v>
                </c:pt>
                <c:pt idx="107">
                  <c:v>453373.03046377603</c:v>
                </c:pt>
                <c:pt idx="108">
                  <c:v>422000.44550644886</c:v>
                </c:pt>
                <c:pt idx="109">
                  <c:v>387460.78143096535</c:v>
                </c:pt>
                <c:pt idx="110">
                  <c:v>411901.92502694501</c:v>
                </c:pt>
                <c:pt idx="111">
                  <c:v>397270.39775255084</c:v>
                </c:pt>
                <c:pt idx="112">
                  <c:v>89851.589299916202</c:v>
                </c:pt>
                <c:pt idx="113">
                  <c:v>432502.72839234286</c:v>
                </c:pt>
                <c:pt idx="114">
                  <c:v>437904.99758935627</c:v>
                </c:pt>
                <c:pt idx="115">
                  <c:v>466683.57876002399</c:v>
                </c:pt>
                <c:pt idx="116">
                  <c:v>555803.7526726739</c:v>
                </c:pt>
                <c:pt idx="117">
                  <c:v>217903.00855015899</c:v>
                </c:pt>
                <c:pt idx="118">
                  <c:v>110278.745562097</c:v>
                </c:pt>
                <c:pt idx="119">
                  <c:v>433456.48119080398</c:v>
                </c:pt>
                <c:pt idx="120">
                  <c:v>427225.28076536203</c:v>
                </c:pt>
                <c:pt idx="121">
                  <c:v>394474.10856664903</c:v>
                </c:pt>
                <c:pt idx="122">
                  <c:v>429050.71469210566</c:v>
                </c:pt>
                <c:pt idx="123">
                  <c:v>455484.86093602399</c:v>
                </c:pt>
                <c:pt idx="124">
                  <c:v>125924.21484547447</c:v>
                </c:pt>
                <c:pt idx="125">
                  <c:v>452624.05586162501</c:v>
                </c:pt>
                <c:pt idx="126">
                  <c:v>439005.34382579383</c:v>
                </c:pt>
                <c:pt idx="127">
                  <c:v>363359.80488863686</c:v>
                </c:pt>
                <c:pt idx="128">
                  <c:v>370314.12992830999</c:v>
                </c:pt>
                <c:pt idx="129">
                  <c:v>320338.85044049699</c:v>
                </c:pt>
                <c:pt idx="130">
                  <c:v>258353.1155844178</c:v>
                </c:pt>
                <c:pt idx="131">
                  <c:v>571561.21001935587</c:v>
                </c:pt>
                <c:pt idx="132">
                  <c:v>622711.80337454204</c:v>
                </c:pt>
                <c:pt idx="133">
                  <c:v>551448.80697387503</c:v>
                </c:pt>
                <c:pt idx="134">
                  <c:v>257032.92091137398</c:v>
                </c:pt>
                <c:pt idx="135">
                  <c:v>586554.65106761421</c:v>
                </c:pt>
                <c:pt idx="136">
                  <c:v>189333.26243513901</c:v>
                </c:pt>
                <c:pt idx="137">
                  <c:v>512985.468906703</c:v>
                </c:pt>
                <c:pt idx="138">
                  <c:v>523866.32545735</c:v>
                </c:pt>
                <c:pt idx="139">
                  <c:v>478124.22839730402</c:v>
                </c:pt>
                <c:pt idx="140">
                  <c:v>509891.37606530183</c:v>
                </c:pt>
                <c:pt idx="141">
                  <c:v>518353.37785893859</c:v>
                </c:pt>
                <c:pt idx="142">
                  <c:v>144834.10172172711</c:v>
                </c:pt>
                <c:pt idx="143">
                  <c:v>473537.90223364899</c:v>
                </c:pt>
                <c:pt idx="144">
                  <c:v>458985.82824862801</c:v>
                </c:pt>
                <c:pt idx="145">
                  <c:v>427991.05192720052</c:v>
                </c:pt>
                <c:pt idx="146">
                  <c:v>433038.5533977212</c:v>
                </c:pt>
                <c:pt idx="147">
                  <c:v>493304.52517251798</c:v>
                </c:pt>
                <c:pt idx="148">
                  <c:v>130584.05900644734</c:v>
                </c:pt>
                <c:pt idx="149">
                  <c:v>489560.528703655</c:v>
                </c:pt>
                <c:pt idx="150">
                  <c:v>466858.98400477628</c:v>
                </c:pt>
                <c:pt idx="151">
                  <c:v>396286.31864755502</c:v>
                </c:pt>
                <c:pt idx="152">
                  <c:v>416549.5660896062</c:v>
                </c:pt>
                <c:pt idx="153">
                  <c:v>426429.44154572702</c:v>
                </c:pt>
                <c:pt idx="154">
                  <c:v>143777.22033831401</c:v>
                </c:pt>
                <c:pt idx="155">
                  <c:v>691139.34153242444</c:v>
                </c:pt>
                <c:pt idx="156">
                  <c:v>553745.76873512741</c:v>
                </c:pt>
                <c:pt idx="157">
                  <c:v>505753.72091500001</c:v>
                </c:pt>
                <c:pt idx="158">
                  <c:v>499886.75263522001</c:v>
                </c:pt>
                <c:pt idx="159">
                  <c:v>492588.14919387299</c:v>
                </c:pt>
                <c:pt idx="160">
                  <c:v>121736.094650103</c:v>
                </c:pt>
                <c:pt idx="161">
                  <c:v>487043.405336631</c:v>
                </c:pt>
                <c:pt idx="162">
                  <c:v>475888.41926357633</c:v>
                </c:pt>
                <c:pt idx="163">
                  <c:v>406736.80970565189</c:v>
                </c:pt>
                <c:pt idx="164">
                  <c:v>457938.17779024108</c:v>
                </c:pt>
                <c:pt idx="165">
                  <c:v>484616.64938742522</c:v>
                </c:pt>
                <c:pt idx="166">
                  <c:v>105251.15602555108</c:v>
                </c:pt>
                <c:pt idx="167">
                  <c:v>485316.98651167727</c:v>
                </c:pt>
                <c:pt idx="168">
                  <c:v>491535.71464188898</c:v>
                </c:pt>
                <c:pt idx="169">
                  <c:v>450992.21567100822</c:v>
                </c:pt>
                <c:pt idx="170">
                  <c:v>483327.73728866584</c:v>
                </c:pt>
                <c:pt idx="171">
                  <c:v>509190.69397534186</c:v>
                </c:pt>
                <c:pt idx="172">
                  <c:v>120029.142682801</c:v>
                </c:pt>
                <c:pt idx="173">
                  <c:v>516135.23331285012</c:v>
                </c:pt>
                <c:pt idx="174">
                  <c:v>507684.32128452422</c:v>
                </c:pt>
                <c:pt idx="175">
                  <c:v>461938.71094619401</c:v>
                </c:pt>
                <c:pt idx="176">
                  <c:v>498932.501140957</c:v>
                </c:pt>
                <c:pt idx="177">
                  <c:v>507815.882933794</c:v>
                </c:pt>
                <c:pt idx="178">
                  <c:v>141815.40037730301</c:v>
                </c:pt>
                <c:pt idx="179">
                  <c:v>526095.28479420836</c:v>
                </c:pt>
                <c:pt idx="180">
                  <c:v>500669.3015916532</c:v>
                </c:pt>
                <c:pt idx="181">
                  <c:v>373675.09925017029</c:v>
                </c:pt>
                <c:pt idx="182">
                  <c:v>710669.48221741302</c:v>
                </c:pt>
                <c:pt idx="183">
                  <c:v>625643.13924571103</c:v>
                </c:pt>
                <c:pt idx="184">
                  <c:v>196504.303743014</c:v>
                </c:pt>
                <c:pt idx="185">
                  <c:v>558882.88431393891</c:v>
                </c:pt>
                <c:pt idx="186">
                  <c:v>532211.89917878038</c:v>
                </c:pt>
                <c:pt idx="187">
                  <c:v>487369.87246918859</c:v>
                </c:pt>
                <c:pt idx="188">
                  <c:v>513421.5402089752</c:v>
                </c:pt>
                <c:pt idx="189">
                  <c:v>533103.93288516742</c:v>
                </c:pt>
                <c:pt idx="190">
                  <c:v>152822.75678848999</c:v>
                </c:pt>
                <c:pt idx="191">
                  <c:v>529403.34325217444</c:v>
                </c:pt>
                <c:pt idx="192">
                  <c:v>581441.03048001905</c:v>
                </c:pt>
                <c:pt idx="193">
                  <c:v>523269.97670994501</c:v>
                </c:pt>
                <c:pt idx="194">
                  <c:v>277032.49675117398</c:v>
                </c:pt>
                <c:pt idx="195">
                  <c:v>570305.41008196003</c:v>
                </c:pt>
                <c:pt idx="196">
                  <c:v>159888.16171791998</c:v>
                </c:pt>
                <c:pt idx="197">
                  <c:v>520062.39836614684</c:v>
                </c:pt>
                <c:pt idx="198">
                  <c:v>481111.59312420787</c:v>
                </c:pt>
                <c:pt idx="199">
                  <c:v>486840.44296637084</c:v>
                </c:pt>
                <c:pt idx="200">
                  <c:v>512838.23611528799</c:v>
                </c:pt>
                <c:pt idx="201">
                  <c:v>503762.71514089522</c:v>
                </c:pt>
                <c:pt idx="202">
                  <c:v>139641.568074276</c:v>
                </c:pt>
                <c:pt idx="203">
                  <c:v>497342.45740105602</c:v>
                </c:pt>
                <c:pt idx="204">
                  <c:v>474151.96687486686</c:v>
                </c:pt>
                <c:pt idx="205">
                  <c:v>421535.79309541098</c:v>
                </c:pt>
                <c:pt idx="206">
                  <c:v>416382.51878647995</c:v>
                </c:pt>
                <c:pt idx="207">
                  <c:v>409827.83416033699</c:v>
                </c:pt>
                <c:pt idx="208">
                  <c:v>54178.5730444578</c:v>
                </c:pt>
                <c:pt idx="209">
                  <c:v>624239.12566426001</c:v>
                </c:pt>
                <c:pt idx="210">
                  <c:v>591713.34715303441</c:v>
                </c:pt>
                <c:pt idx="211">
                  <c:v>533525.38358722744</c:v>
                </c:pt>
                <c:pt idx="212">
                  <c:v>529329.12607851194</c:v>
                </c:pt>
                <c:pt idx="213">
                  <c:v>523964.72297143686</c:v>
                </c:pt>
                <c:pt idx="214">
                  <c:v>148597.56287187568</c:v>
                </c:pt>
                <c:pt idx="215">
                  <c:v>592687.06219597708</c:v>
                </c:pt>
                <c:pt idx="216">
                  <c:v>591012.30402863305</c:v>
                </c:pt>
                <c:pt idx="217">
                  <c:v>581133.3936032874</c:v>
                </c:pt>
                <c:pt idx="218">
                  <c:v>679029.31815945101</c:v>
                </c:pt>
                <c:pt idx="219">
                  <c:v>722327.84650801704</c:v>
                </c:pt>
                <c:pt idx="220">
                  <c:v>215978.42468012532</c:v>
                </c:pt>
                <c:pt idx="221">
                  <c:v>879608.45950156997</c:v>
                </c:pt>
                <c:pt idx="222">
                  <c:v>788185.31979702844</c:v>
                </c:pt>
                <c:pt idx="223">
                  <c:v>116354.8369394247</c:v>
                </c:pt>
                <c:pt idx="224">
                  <c:v>0</c:v>
                </c:pt>
                <c:pt idx="225">
                  <c:v>0</c:v>
                </c:pt>
                <c:pt idx="226">
                  <c:v>88827.442487201755</c:v>
                </c:pt>
                <c:pt idx="227">
                  <c:v>493366.50773863745</c:v>
                </c:pt>
                <c:pt idx="228">
                  <c:v>480092.93011716596</c:v>
                </c:pt>
                <c:pt idx="229">
                  <c:v>377625.08281688759</c:v>
                </c:pt>
                <c:pt idx="230">
                  <c:v>384286.37274187</c:v>
                </c:pt>
                <c:pt idx="231">
                  <c:v>378751.81612948503</c:v>
                </c:pt>
                <c:pt idx="232">
                  <c:v>39612.116440845784</c:v>
                </c:pt>
                <c:pt idx="233">
                  <c:v>279196.75277778559</c:v>
                </c:pt>
                <c:pt idx="234">
                  <c:v>657277.96825272485</c:v>
                </c:pt>
                <c:pt idx="235">
                  <c:v>489988.59549641801</c:v>
                </c:pt>
                <c:pt idx="236">
                  <c:v>184914.00891441101</c:v>
                </c:pt>
                <c:pt idx="237">
                  <c:v>527870.08718237199</c:v>
                </c:pt>
                <c:pt idx="238">
                  <c:v>103004.39052602</c:v>
                </c:pt>
                <c:pt idx="239">
                  <c:v>565409.322203352</c:v>
                </c:pt>
                <c:pt idx="240">
                  <c:v>510196.87719119189</c:v>
                </c:pt>
                <c:pt idx="241">
                  <c:v>191396.973068505</c:v>
                </c:pt>
                <c:pt idx="242">
                  <c:v>469621.03193066397</c:v>
                </c:pt>
                <c:pt idx="243">
                  <c:v>476911.58644068398</c:v>
                </c:pt>
                <c:pt idx="244">
                  <c:v>79957.858967205757</c:v>
                </c:pt>
                <c:pt idx="245">
                  <c:v>450608.13339834299</c:v>
                </c:pt>
                <c:pt idx="246">
                  <c:v>430826.02017052629</c:v>
                </c:pt>
                <c:pt idx="247">
                  <c:v>396978.40045225422</c:v>
                </c:pt>
                <c:pt idx="248">
                  <c:v>423293.47920354822</c:v>
                </c:pt>
                <c:pt idx="249">
                  <c:v>433573.39805306093</c:v>
                </c:pt>
                <c:pt idx="250">
                  <c:v>51106.822935193297</c:v>
                </c:pt>
                <c:pt idx="251">
                  <c:v>434875.51101348893</c:v>
                </c:pt>
                <c:pt idx="252">
                  <c:v>434571.963758456</c:v>
                </c:pt>
                <c:pt idx="253">
                  <c:v>402222.95494480699</c:v>
                </c:pt>
                <c:pt idx="254">
                  <c:v>421358.04749301902</c:v>
                </c:pt>
                <c:pt idx="255">
                  <c:v>437847.13922410703</c:v>
                </c:pt>
                <c:pt idx="256">
                  <c:v>56196.952757369843</c:v>
                </c:pt>
                <c:pt idx="257">
                  <c:v>400269.56103838986</c:v>
                </c:pt>
                <c:pt idx="258">
                  <c:v>378426.11261800601</c:v>
                </c:pt>
                <c:pt idx="259">
                  <c:v>322849.78531268722</c:v>
                </c:pt>
                <c:pt idx="260">
                  <c:v>266264.17360558599</c:v>
                </c:pt>
                <c:pt idx="261">
                  <c:v>654107.39596708142</c:v>
                </c:pt>
                <c:pt idx="262">
                  <c:v>37754.490310239999</c:v>
                </c:pt>
                <c:pt idx="263">
                  <c:v>486091.53968175827</c:v>
                </c:pt>
                <c:pt idx="264">
                  <c:v>457382.05174893083</c:v>
                </c:pt>
                <c:pt idx="265">
                  <c:v>400046.29376667528</c:v>
                </c:pt>
                <c:pt idx="266">
                  <c:v>404675.9565937352</c:v>
                </c:pt>
                <c:pt idx="267">
                  <c:v>425421.91781470599</c:v>
                </c:pt>
                <c:pt idx="268">
                  <c:v>46249.277991656876</c:v>
                </c:pt>
                <c:pt idx="269">
                  <c:v>408692.52003052202</c:v>
                </c:pt>
                <c:pt idx="270">
                  <c:v>409041.01462616422</c:v>
                </c:pt>
                <c:pt idx="271">
                  <c:v>369139.07797446987</c:v>
                </c:pt>
                <c:pt idx="272">
                  <c:v>391592.20025080699</c:v>
                </c:pt>
                <c:pt idx="273">
                  <c:v>413200.97382148</c:v>
                </c:pt>
                <c:pt idx="274">
                  <c:v>35334.359558593213</c:v>
                </c:pt>
                <c:pt idx="275">
                  <c:v>404343.02319731598</c:v>
                </c:pt>
                <c:pt idx="276">
                  <c:v>403138.16551743401</c:v>
                </c:pt>
                <c:pt idx="277">
                  <c:v>335091.05770235689</c:v>
                </c:pt>
                <c:pt idx="278">
                  <c:v>393235.53547886346</c:v>
                </c:pt>
                <c:pt idx="279">
                  <c:v>414852.00481162622</c:v>
                </c:pt>
                <c:pt idx="280">
                  <c:v>33989.560737457803</c:v>
                </c:pt>
                <c:pt idx="281">
                  <c:v>406914.131120409</c:v>
                </c:pt>
                <c:pt idx="282">
                  <c:v>386219.74756809685</c:v>
                </c:pt>
                <c:pt idx="283">
                  <c:v>325819.5534090852</c:v>
                </c:pt>
                <c:pt idx="284">
                  <c:v>328349.07638207596</c:v>
                </c:pt>
                <c:pt idx="285">
                  <c:v>333343.68268863799</c:v>
                </c:pt>
                <c:pt idx="286">
                  <c:v>-8975.6361509156905</c:v>
                </c:pt>
                <c:pt idx="287">
                  <c:v>490294.69892637659</c:v>
                </c:pt>
                <c:pt idx="288">
                  <c:v>477447.70135693584</c:v>
                </c:pt>
                <c:pt idx="289">
                  <c:v>422036.68662625499</c:v>
                </c:pt>
                <c:pt idx="290">
                  <c:v>426437.39623739599</c:v>
                </c:pt>
                <c:pt idx="291">
                  <c:v>428090.39178600087</c:v>
                </c:pt>
                <c:pt idx="292">
                  <c:v>45097.831275047043</c:v>
                </c:pt>
                <c:pt idx="293">
                  <c:v>414863.80389189901</c:v>
                </c:pt>
                <c:pt idx="294">
                  <c:v>384765.19854396122</c:v>
                </c:pt>
                <c:pt idx="295">
                  <c:v>357750.52785993653</c:v>
                </c:pt>
                <c:pt idx="296">
                  <c:v>376545.25804128189</c:v>
                </c:pt>
                <c:pt idx="297">
                  <c:v>415186.40968496382</c:v>
                </c:pt>
                <c:pt idx="298">
                  <c:v>23776.436782209119</c:v>
                </c:pt>
                <c:pt idx="299">
                  <c:v>408736.99169736553</c:v>
                </c:pt>
                <c:pt idx="300">
                  <c:v>409963.05135660589</c:v>
                </c:pt>
                <c:pt idx="301">
                  <c:v>403757.81499643164</c:v>
                </c:pt>
                <c:pt idx="302">
                  <c:v>423967.17603739159</c:v>
                </c:pt>
                <c:pt idx="303">
                  <c:v>418087.89263647201</c:v>
                </c:pt>
                <c:pt idx="304">
                  <c:v>75435.114282356371</c:v>
                </c:pt>
                <c:pt idx="305">
                  <c:v>560244.27879725897</c:v>
                </c:pt>
                <c:pt idx="306">
                  <c:v>509588.646571627</c:v>
                </c:pt>
                <c:pt idx="307">
                  <c:v>199893.085780781</c:v>
                </c:pt>
                <c:pt idx="308">
                  <c:v>450397.912210182</c:v>
                </c:pt>
                <c:pt idx="309">
                  <c:v>450945.58553065022</c:v>
                </c:pt>
                <c:pt idx="310">
                  <c:v>65950.317506037478</c:v>
                </c:pt>
                <c:pt idx="311">
                  <c:v>465548.62883640052</c:v>
                </c:pt>
                <c:pt idx="312">
                  <c:v>320319.70201663789</c:v>
                </c:pt>
                <c:pt idx="313">
                  <c:v>189279.56734365661</c:v>
                </c:pt>
                <c:pt idx="314">
                  <c:v>689715.24960984499</c:v>
                </c:pt>
                <c:pt idx="315">
                  <c:v>572484.49637407798</c:v>
                </c:pt>
                <c:pt idx="316">
                  <c:v>32901.205601135734</c:v>
                </c:pt>
                <c:pt idx="317">
                  <c:v>445721.1761193932</c:v>
                </c:pt>
                <c:pt idx="318">
                  <c:v>423240.66647415084</c:v>
                </c:pt>
                <c:pt idx="319">
                  <c:v>361353.522266999</c:v>
                </c:pt>
                <c:pt idx="320">
                  <c:v>376797.45764941722</c:v>
                </c:pt>
                <c:pt idx="321">
                  <c:v>371714.85335886799</c:v>
                </c:pt>
                <c:pt idx="322">
                  <c:v>34853.287195525874</c:v>
                </c:pt>
                <c:pt idx="323">
                  <c:v>391299.67125302</c:v>
                </c:pt>
                <c:pt idx="324">
                  <c:v>393212.28301839728</c:v>
                </c:pt>
                <c:pt idx="325">
                  <c:v>362444.66468186222</c:v>
                </c:pt>
                <c:pt idx="326">
                  <c:v>410448.50014140201</c:v>
                </c:pt>
                <c:pt idx="327">
                  <c:v>433684.897674368</c:v>
                </c:pt>
                <c:pt idx="328">
                  <c:v>49061.733076691584</c:v>
                </c:pt>
                <c:pt idx="329">
                  <c:v>429417.65042838489</c:v>
                </c:pt>
                <c:pt idx="330">
                  <c:v>470921.22676014586</c:v>
                </c:pt>
                <c:pt idx="331">
                  <c:v>444007.80000955402</c:v>
                </c:pt>
                <c:pt idx="332">
                  <c:v>483050.68306843005</c:v>
                </c:pt>
                <c:pt idx="333">
                  <c:v>552763.59714747337</c:v>
                </c:pt>
                <c:pt idx="334">
                  <c:v>116414.14438995</c:v>
                </c:pt>
                <c:pt idx="335">
                  <c:v>550813.18287803198</c:v>
                </c:pt>
                <c:pt idx="336">
                  <c:v>562501.62954790692</c:v>
                </c:pt>
                <c:pt idx="337">
                  <c:v>441607.78382028086</c:v>
                </c:pt>
                <c:pt idx="338">
                  <c:v>72924.357298195595</c:v>
                </c:pt>
                <c:pt idx="339">
                  <c:v>0</c:v>
                </c:pt>
                <c:pt idx="340">
                  <c:v>0</c:v>
                </c:pt>
                <c:pt idx="341">
                  <c:v>488355.90157655702</c:v>
                </c:pt>
                <c:pt idx="342">
                  <c:v>425480.57004199002</c:v>
                </c:pt>
                <c:pt idx="343">
                  <c:v>371050.61239860189</c:v>
                </c:pt>
                <c:pt idx="344">
                  <c:v>383127.02259581402</c:v>
                </c:pt>
                <c:pt idx="345">
                  <c:v>377813.97506009886</c:v>
                </c:pt>
                <c:pt idx="346">
                  <c:v>-18401.15162782371</c:v>
                </c:pt>
                <c:pt idx="347">
                  <c:v>338039.76523108099</c:v>
                </c:pt>
                <c:pt idx="348">
                  <c:v>376231.45926864899</c:v>
                </c:pt>
                <c:pt idx="349">
                  <c:v>330852.27977249608</c:v>
                </c:pt>
                <c:pt idx="350">
                  <c:v>358951.47378052358</c:v>
                </c:pt>
                <c:pt idx="351">
                  <c:v>383561.58699474903</c:v>
                </c:pt>
                <c:pt idx="352">
                  <c:v>-7027.7938628594302</c:v>
                </c:pt>
                <c:pt idx="353">
                  <c:v>408217.39093933586</c:v>
                </c:pt>
                <c:pt idx="354">
                  <c:v>403498.30509832199</c:v>
                </c:pt>
                <c:pt idx="355">
                  <c:v>368090.47981985641</c:v>
                </c:pt>
                <c:pt idx="356">
                  <c:v>366082.26941496035</c:v>
                </c:pt>
                <c:pt idx="357">
                  <c:v>416556.75018423301</c:v>
                </c:pt>
                <c:pt idx="358">
                  <c:v>25964.834365072715</c:v>
                </c:pt>
                <c:pt idx="359">
                  <c:v>407053.557911949</c:v>
                </c:pt>
                <c:pt idx="360">
                  <c:v>388133.86647327628</c:v>
                </c:pt>
                <c:pt idx="361">
                  <c:v>337151.91967184178</c:v>
                </c:pt>
                <c:pt idx="362">
                  <c:v>406451.09215134184</c:v>
                </c:pt>
                <c:pt idx="363">
                  <c:v>242326.39231972999</c:v>
                </c:pt>
                <c:pt idx="364">
                  <c:v>105582.5747549123</c:v>
                </c:pt>
                <c:pt idx="365">
                  <c:v>545832.85561642947</c:v>
                </c:pt>
                <c:pt idx="366">
                  <c:v>496376.44125027186</c:v>
                </c:pt>
                <c:pt idx="367">
                  <c:v>414204.855180452</c:v>
                </c:pt>
                <c:pt idx="368">
                  <c:v>420461.29593026702</c:v>
                </c:pt>
                <c:pt idx="369">
                  <c:v>426543.42658217688</c:v>
                </c:pt>
                <c:pt idx="370">
                  <c:v>10480.315120882058</c:v>
                </c:pt>
                <c:pt idx="371">
                  <c:v>382412.96209833486</c:v>
                </c:pt>
                <c:pt idx="372">
                  <c:v>418816.20894774399</c:v>
                </c:pt>
                <c:pt idx="373">
                  <c:v>377420.57765807601</c:v>
                </c:pt>
                <c:pt idx="374">
                  <c:v>403521.057983534</c:v>
                </c:pt>
                <c:pt idx="375">
                  <c:v>429212.16597901902</c:v>
                </c:pt>
                <c:pt idx="376">
                  <c:v>21626.467072155821</c:v>
                </c:pt>
                <c:pt idx="377">
                  <c:v>429238.88383627101</c:v>
                </c:pt>
                <c:pt idx="378">
                  <c:v>425545.25375664164</c:v>
                </c:pt>
                <c:pt idx="379">
                  <c:v>390587.14632931259</c:v>
                </c:pt>
                <c:pt idx="380">
                  <c:v>383838.047469154</c:v>
                </c:pt>
                <c:pt idx="381">
                  <c:v>439294.64091264986</c:v>
                </c:pt>
                <c:pt idx="382">
                  <c:v>26729.239183740799</c:v>
                </c:pt>
                <c:pt idx="383">
                  <c:v>426474.90643027797</c:v>
                </c:pt>
                <c:pt idx="384">
                  <c:v>431985.87901408703</c:v>
                </c:pt>
                <c:pt idx="385">
                  <c:v>381011.37518394802</c:v>
                </c:pt>
                <c:pt idx="386">
                  <c:v>391428.14270306489</c:v>
                </c:pt>
                <c:pt idx="387">
                  <c:v>405918.50582410145</c:v>
                </c:pt>
                <c:pt idx="388">
                  <c:v>41101.012362078203</c:v>
                </c:pt>
                <c:pt idx="389">
                  <c:v>311790.73798485199</c:v>
                </c:pt>
                <c:pt idx="390">
                  <c:v>605550.15014792804</c:v>
                </c:pt>
                <c:pt idx="391">
                  <c:v>468957.01151491498</c:v>
                </c:pt>
                <c:pt idx="392">
                  <c:v>462430.13486964186</c:v>
                </c:pt>
                <c:pt idx="393">
                  <c:v>463648.12431265198</c:v>
                </c:pt>
                <c:pt idx="394">
                  <c:v>24487.002580429798</c:v>
                </c:pt>
                <c:pt idx="395">
                  <c:v>425800.14265898464</c:v>
                </c:pt>
                <c:pt idx="396">
                  <c:v>425637.45376668603</c:v>
                </c:pt>
                <c:pt idx="397">
                  <c:v>385238.44375629589</c:v>
                </c:pt>
                <c:pt idx="398">
                  <c:v>386304.11784303183</c:v>
                </c:pt>
                <c:pt idx="399">
                  <c:v>444855.31309104501</c:v>
                </c:pt>
                <c:pt idx="400">
                  <c:v>20875.000211594899</c:v>
                </c:pt>
                <c:pt idx="401">
                  <c:v>449139.23380896566</c:v>
                </c:pt>
                <c:pt idx="402">
                  <c:v>438341.22141646798</c:v>
                </c:pt>
                <c:pt idx="403">
                  <c:v>409023.67916667397</c:v>
                </c:pt>
                <c:pt idx="404">
                  <c:v>434943.10117629386</c:v>
                </c:pt>
                <c:pt idx="405">
                  <c:v>453060.37832268089</c:v>
                </c:pt>
                <c:pt idx="406">
                  <c:v>31119.354573119897</c:v>
                </c:pt>
                <c:pt idx="407">
                  <c:v>450280.61390041799</c:v>
                </c:pt>
                <c:pt idx="408">
                  <c:v>444397.008042756</c:v>
                </c:pt>
                <c:pt idx="409">
                  <c:v>413457.91443078441</c:v>
                </c:pt>
                <c:pt idx="410">
                  <c:v>446144.81999752286</c:v>
                </c:pt>
                <c:pt idx="411">
                  <c:v>451684.37936179101</c:v>
                </c:pt>
                <c:pt idx="412">
                  <c:v>55271.1369990522</c:v>
                </c:pt>
                <c:pt idx="413">
                  <c:v>412363.89080588386</c:v>
                </c:pt>
                <c:pt idx="414">
                  <c:v>392949.73908353044</c:v>
                </c:pt>
                <c:pt idx="415">
                  <c:v>262663.54901976022</c:v>
                </c:pt>
                <c:pt idx="416">
                  <c:v>843625.141961282</c:v>
                </c:pt>
                <c:pt idx="417">
                  <c:v>805608.87503599143</c:v>
                </c:pt>
                <c:pt idx="418">
                  <c:v>263272.16800272785</c:v>
                </c:pt>
                <c:pt idx="419">
                  <c:v>252095.809819007</c:v>
                </c:pt>
                <c:pt idx="420">
                  <c:v>223366.020569138</c:v>
                </c:pt>
                <c:pt idx="421">
                  <c:v>531637.873595529</c:v>
                </c:pt>
                <c:pt idx="422">
                  <c:v>471582.84598843759</c:v>
                </c:pt>
                <c:pt idx="423">
                  <c:v>468071.96862186899</c:v>
                </c:pt>
                <c:pt idx="424">
                  <c:v>61487.171583261719</c:v>
                </c:pt>
                <c:pt idx="425">
                  <c:v>469262.06554758397</c:v>
                </c:pt>
                <c:pt idx="426">
                  <c:v>484592.04628881998</c:v>
                </c:pt>
                <c:pt idx="427">
                  <c:v>442369.898392334</c:v>
                </c:pt>
                <c:pt idx="428">
                  <c:v>462538.57734867098</c:v>
                </c:pt>
                <c:pt idx="429">
                  <c:v>493678.66387898184</c:v>
                </c:pt>
                <c:pt idx="430">
                  <c:v>71203.897737405205</c:v>
                </c:pt>
                <c:pt idx="431">
                  <c:v>488259.96060795622</c:v>
                </c:pt>
                <c:pt idx="432">
                  <c:v>461901.62872313539</c:v>
                </c:pt>
                <c:pt idx="433">
                  <c:v>451923.19128539902</c:v>
                </c:pt>
                <c:pt idx="434">
                  <c:v>484532.87860593764</c:v>
                </c:pt>
                <c:pt idx="435">
                  <c:v>511959.31667881022</c:v>
                </c:pt>
                <c:pt idx="436">
                  <c:v>78585.917932994518</c:v>
                </c:pt>
                <c:pt idx="437">
                  <c:v>493543.50576241186</c:v>
                </c:pt>
                <c:pt idx="438">
                  <c:v>484025.40517421201</c:v>
                </c:pt>
                <c:pt idx="439">
                  <c:v>427088.67812594527</c:v>
                </c:pt>
                <c:pt idx="440">
                  <c:v>437655.549070607</c:v>
                </c:pt>
                <c:pt idx="441">
                  <c:v>463069.1283900917</c:v>
                </c:pt>
                <c:pt idx="442">
                  <c:v>75418.570733916102</c:v>
                </c:pt>
                <c:pt idx="443">
                  <c:v>877298.25106273941</c:v>
                </c:pt>
                <c:pt idx="444">
                  <c:v>663982.17043792503</c:v>
                </c:pt>
                <c:pt idx="445">
                  <c:v>357858.96315130801</c:v>
                </c:pt>
                <c:pt idx="446">
                  <c:v>690232.20403011399</c:v>
                </c:pt>
                <c:pt idx="447">
                  <c:v>327766.67977789399</c:v>
                </c:pt>
                <c:pt idx="448">
                  <c:v>142800.317637475</c:v>
                </c:pt>
                <c:pt idx="449">
                  <c:v>612740.51366623945</c:v>
                </c:pt>
                <c:pt idx="450">
                  <c:v>517613.28924392036</c:v>
                </c:pt>
                <c:pt idx="451">
                  <c:v>494388.89835038164</c:v>
                </c:pt>
                <c:pt idx="452">
                  <c:v>533525.90342705243</c:v>
                </c:pt>
                <c:pt idx="453">
                  <c:v>548427.41990148299</c:v>
                </c:pt>
                <c:pt idx="454">
                  <c:v>108797.3538679453</c:v>
                </c:pt>
                <c:pt idx="455">
                  <c:v>510780.24448303622</c:v>
                </c:pt>
                <c:pt idx="456">
                  <c:v>516717.219595787</c:v>
                </c:pt>
                <c:pt idx="457">
                  <c:v>483266.35890469496</c:v>
                </c:pt>
                <c:pt idx="458">
                  <c:v>500703.31933127198</c:v>
                </c:pt>
                <c:pt idx="459">
                  <c:v>500812.59612237022</c:v>
                </c:pt>
                <c:pt idx="460">
                  <c:v>89376.398017333006</c:v>
                </c:pt>
                <c:pt idx="461">
                  <c:v>506801.07273355999</c:v>
                </c:pt>
                <c:pt idx="462">
                  <c:v>510013.28236958908</c:v>
                </c:pt>
                <c:pt idx="463">
                  <c:v>457805.74770267686</c:v>
                </c:pt>
                <c:pt idx="464">
                  <c:v>462132.68670023559</c:v>
                </c:pt>
                <c:pt idx="465">
                  <c:v>472918.94548843801</c:v>
                </c:pt>
                <c:pt idx="466">
                  <c:v>96350.435931960048</c:v>
                </c:pt>
                <c:pt idx="467">
                  <c:v>390094.32220977428</c:v>
                </c:pt>
                <c:pt idx="468">
                  <c:v>688465.37474498688</c:v>
                </c:pt>
                <c:pt idx="469">
                  <c:v>554510.89052438305</c:v>
                </c:pt>
                <c:pt idx="470">
                  <c:v>549442.95881014946</c:v>
                </c:pt>
                <c:pt idx="471">
                  <c:v>577467.01839322643</c:v>
                </c:pt>
                <c:pt idx="472">
                  <c:v>95435.085956027906</c:v>
                </c:pt>
                <c:pt idx="473">
                  <c:v>555536.60721395188</c:v>
                </c:pt>
                <c:pt idx="474">
                  <c:v>541521.74378367211</c:v>
                </c:pt>
                <c:pt idx="475">
                  <c:v>516446.29469188798</c:v>
                </c:pt>
                <c:pt idx="476">
                  <c:v>524259.50498075201</c:v>
                </c:pt>
                <c:pt idx="477">
                  <c:v>562654.06255163345</c:v>
                </c:pt>
                <c:pt idx="478">
                  <c:v>120380.034566423</c:v>
                </c:pt>
                <c:pt idx="479">
                  <c:v>550515.76352910895</c:v>
                </c:pt>
                <c:pt idx="480">
                  <c:v>543006.79242186691</c:v>
                </c:pt>
                <c:pt idx="481">
                  <c:v>509717.24168800522</c:v>
                </c:pt>
                <c:pt idx="482">
                  <c:v>536347.38087855699</c:v>
                </c:pt>
                <c:pt idx="483">
                  <c:v>557667.50480696803</c:v>
                </c:pt>
                <c:pt idx="484">
                  <c:v>114578.736622082</c:v>
                </c:pt>
                <c:pt idx="485">
                  <c:v>569159.08028995397</c:v>
                </c:pt>
                <c:pt idx="486">
                  <c:v>561323.08158647211</c:v>
                </c:pt>
                <c:pt idx="487">
                  <c:v>510971.32829343301</c:v>
                </c:pt>
                <c:pt idx="488">
                  <c:v>525889.85179255204</c:v>
                </c:pt>
                <c:pt idx="489">
                  <c:v>573230.71885251941</c:v>
                </c:pt>
                <c:pt idx="490">
                  <c:v>86281.367292530413</c:v>
                </c:pt>
                <c:pt idx="491">
                  <c:v>575526.736107604</c:v>
                </c:pt>
                <c:pt idx="492">
                  <c:v>535138.52304335102</c:v>
                </c:pt>
                <c:pt idx="493">
                  <c:v>500222.11491994601</c:v>
                </c:pt>
                <c:pt idx="494">
                  <c:v>470381.817387591</c:v>
                </c:pt>
                <c:pt idx="495">
                  <c:v>869116.10453879286</c:v>
                </c:pt>
                <c:pt idx="496">
                  <c:v>219668.348158849</c:v>
                </c:pt>
                <c:pt idx="497">
                  <c:v>627342.24912268098</c:v>
                </c:pt>
                <c:pt idx="498">
                  <c:v>593031.19184951892</c:v>
                </c:pt>
                <c:pt idx="499">
                  <c:v>494161.24173135177</c:v>
                </c:pt>
                <c:pt idx="500">
                  <c:v>480525.11030692299</c:v>
                </c:pt>
                <c:pt idx="501">
                  <c:v>506957.31405595085</c:v>
                </c:pt>
                <c:pt idx="502">
                  <c:v>58090.857028137201</c:v>
                </c:pt>
                <c:pt idx="503">
                  <c:v>480738.67875343829</c:v>
                </c:pt>
                <c:pt idx="504">
                  <c:v>483588.81153225002</c:v>
                </c:pt>
                <c:pt idx="505">
                  <c:v>484190.31198799086</c:v>
                </c:pt>
                <c:pt idx="506">
                  <c:v>556465.65814457496</c:v>
                </c:pt>
                <c:pt idx="507">
                  <c:v>248612.91150264535</c:v>
                </c:pt>
                <c:pt idx="508">
                  <c:v>55265.772206925401</c:v>
                </c:pt>
                <c:pt idx="509">
                  <c:v>498356.07413522899</c:v>
                </c:pt>
                <c:pt idx="510">
                  <c:v>461668.74599718989</c:v>
                </c:pt>
                <c:pt idx="511">
                  <c:v>393129.46653206722</c:v>
                </c:pt>
                <c:pt idx="512">
                  <c:v>433344.88128710201</c:v>
                </c:pt>
                <c:pt idx="513">
                  <c:v>471100.09296559676</c:v>
                </c:pt>
                <c:pt idx="514">
                  <c:v>36211.6890630165</c:v>
                </c:pt>
                <c:pt idx="515">
                  <c:v>506061.96518366196</c:v>
                </c:pt>
                <c:pt idx="516">
                  <c:v>477530.05518021522</c:v>
                </c:pt>
                <c:pt idx="517">
                  <c:v>420607.21885528357</c:v>
                </c:pt>
                <c:pt idx="518">
                  <c:v>432662.23188586597</c:v>
                </c:pt>
                <c:pt idx="519">
                  <c:v>467686.35771915689</c:v>
                </c:pt>
                <c:pt idx="520">
                  <c:v>60525.367359421543</c:v>
                </c:pt>
                <c:pt idx="521">
                  <c:v>833544.84625731513</c:v>
                </c:pt>
                <c:pt idx="522">
                  <c:v>754834.63131152501</c:v>
                </c:pt>
                <c:pt idx="523">
                  <c:v>704598.89273573644</c:v>
                </c:pt>
                <c:pt idx="524">
                  <c:v>803872.96556079411</c:v>
                </c:pt>
                <c:pt idx="525">
                  <c:v>697320.33143920742</c:v>
                </c:pt>
                <c:pt idx="526">
                  <c:v>182512.63696933762</c:v>
                </c:pt>
                <c:pt idx="527">
                  <c:v>0</c:v>
                </c:pt>
                <c:pt idx="528">
                  <c:v>0</c:v>
                </c:pt>
                <c:pt idx="529">
                  <c:v>273018.68400000001</c:v>
                </c:pt>
                <c:pt idx="530">
                  <c:v>465559.75799999986</c:v>
                </c:pt>
                <c:pt idx="531">
                  <c:v>439702.09465176798</c:v>
                </c:pt>
                <c:pt idx="532">
                  <c:v>20688.9118536389</c:v>
                </c:pt>
                <c:pt idx="533">
                  <c:v>433348.02574221522</c:v>
                </c:pt>
                <c:pt idx="534">
                  <c:v>427961.62862655486</c:v>
                </c:pt>
                <c:pt idx="535">
                  <c:v>386952.11881399085</c:v>
                </c:pt>
                <c:pt idx="536">
                  <c:v>411872.51674570685</c:v>
                </c:pt>
                <c:pt idx="537">
                  <c:v>434815.04906578758</c:v>
                </c:pt>
                <c:pt idx="538">
                  <c:v>5385.5605968079753</c:v>
                </c:pt>
                <c:pt idx="539">
                  <c:v>427403.51110495999</c:v>
                </c:pt>
                <c:pt idx="540">
                  <c:v>430409.83896005253</c:v>
                </c:pt>
                <c:pt idx="541">
                  <c:v>397626.17428393598</c:v>
                </c:pt>
                <c:pt idx="542">
                  <c:v>420794.54719465133</c:v>
                </c:pt>
                <c:pt idx="543">
                  <c:v>417650.59540656698</c:v>
                </c:pt>
                <c:pt idx="544">
                  <c:v>24128.601648126696</c:v>
                </c:pt>
                <c:pt idx="545">
                  <c:v>375707.00882078015</c:v>
                </c:pt>
                <c:pt idx="546">
                  <c:v>287439.27096561401</c:v>
                </c:pt>
                <c:pt idx="547">
                  <c:v>628586.08302364242</c:v>
                </c:pt>
                <c:pt idx="548">
                  <c:v>586291.20525948389</c:v>
                </c:pt>
                <c:pt idx="549">
                  <c:v>196141.31276558214</c:v>
                </c:pt>
                <c:pt idx="550">
                  <c:v>39416.686810549203</c:v>
                </c:pt>
                <c:pt idx="551">
                  <c:v>499003.43155839801</c:v>
                </c:pt>
                <c:pt idx="552">
                  <c:v>519899.23579758184</c:v>
                </c:pt>
                <c:pt idx="553">
                  <c:v>439973.18280787399</c:v>
                </c:pt>
                <c:pt idx="554">
                  <c:v>176747.92755256998</c:v>
                </c:pt>
                <c:pt idx="555">
                  <c:v>441214.4310923462</c:v>
                </c:pt>
                <c:pt idx="556">
                  <c:v>40994.003768175775</c:v>
                </c:pt>
                <c:pt idx="557">
                  <c:v>432773.85789737484</c:v>
                </c:pt>
                <c:pt idx="558">
                  <c:v>425573.62891931599</c:v>
                </c:pt>
                <c:pt idx="559">
                  <c:v>391690.8294470472</c:v>
                </c:pt>
                <c:pt idx="560">
                  <c:v>400563.52348221827</c:v>
                </c:pt>
                <c:pt idx="561">
                  <c:v>416598.85269527684</c:v>
                </c:pt>
                <c:pt idx="562">
                  <c:v>7411.2993028410365</c:v>
                </c:pt>
                <c:pt idx="563">
                  <c:v>373771.61288493389</c:v>
                </c:pt>
                <c:pt idx="564">
                  <c:v>405964.258185371</c:v>
                </c:pt>
                <c:pt idx="565">
                  <c:v>373854.28452344541</c:v>
                </c:pt>
                <c:pt idx="566">
                  <c:v>399649.15424985893</c:v>
                </c:pt>
                <c:pt idx="567">
                  <c:v>422690.81114225299</c:v>
                </c:pt>
                <c:pt idx="568">
                  <c:v>8265.3116987615431</c:v>
                </c:pt>
                <c:pt idx="569">
                  <c:v>408177.31498858199</c:v>
                </c:pt>
                <c:pt idx="570">
                  <c:v>394926.65278534015</c:v>
                </c:pt>
                <c:pt idx="571">
                  <c:v>335875.3238702942</c:v>
                </c:pt>
                <c:pt idx="572">
                  <c:v>333184.56718238402</c:v>
                </c:pt>
                <c:pt idx="573">
                  <c:v>269679.06685823126</c:v>
                </c:pt>
                <c:pt idx="574">
                  <c:v>147280.331191462</c:v>
                </c:pt>
                <c:pt idx="575">
                  <c:v>479144.31958197645</c:v>
                </c:pt>
                <c:pt idx="576">
                  <c:v>463894.956551168</c:v>
                </c:pt>
                <c:pt idx="577">
                  <c:v>394953.23766012129</c:v>
                </c:pt>
                <c:pt idx="578">
                  <c:v>396805.30011576001</c:v>
                </c:pt>
                <c:pt idx="579">
                  <c:v>397524.1197460292</c:v>
                </c:pt>
                <c:pt idx="580">
                  <c:v>-1616.89289566356</c:v>
                </c:pt>
                <c:pt idx="581">
                  <c:v>357232.98377433699</c:v>
                </c:pt>
                <c:pt idx="582">
                  <c:v>386173.5268008252</c:v>
                </c:pt>
                <c:pt idx="583">
                  <c:v>342401.91610941035</c:v>
                </c:pt>
                <c:pt idx="584">
                  <c:v>364596.53338358138</c:v>
                </c:pt>
                <c:pt idx="585">
                  <c:v>391853.04363827122</c:v>
                </c:pt>
                <c:pt idx="586">
                  <c:v>-12266.888538466585</c:v>
                </c:pt>
                <c:pt idx="587">
                  <c:v>378564.22947213822</c:v>
                </c:pt>
                <c:pt idx="588">
                  <c:v>375048.54548132641</c:v>
                </c:pt>
                <c:pt idx="589">
                  <c:v>346086.61325075186</c:v>
                </c:pt>
                <c:pt idx="590">
                  <c:v>339682.68653563393</c:v>
                </c:pt>
                <c:pt idx="591">
                  <c:v>393440.64466600685</c:v>
                </c:pt>
                <c:pt idx="592">
                  <c:v>-14236.247538854948</c:v>
                </c:pt>
                <c:pt idx="593">
                  <c:v>393622.34866781993</c:v>
                </c:pt>
                <c:pt idx="594">
                  <c:v>371063.78372310998</c:v>
                </c:pt>
                <c:pt idx="595">
                  <c:v>314331.76731491601</c:v>
                </c:pt>
                <c:pt idx="596">
                  <c:v>319614.36836780986</c:v>
                </c:pt>
                <c:pt idx="597">
                  <c:v>317025.21391477535</c:v>
                </c:pt>
                <c:pt idx="598">
                  <c:v>-6603.9082520808097</c:v>
                </c:pt>
                <c:pt idx="599">
                  <c:v>576162.70556985645</c:v>
                </c:pt>
                <c:pt idx="600">
                  <c:v>438461.68221833685</c:v>
                </c:pt>
                <c:pt idx="601">
                  <c:v>367748.675215667</c:v>
                </c:pt>
                <c:pt idx="602">
                  <c:v>389513.39889349259</c:v>
                </c:pt>
                <c:pt idx="603">
                  <c:v>378955.29035383608</c:v>
                </c:pt>
                <c:pt idx="604">
                  <c:v>-8855.6173336620595</c:v>
                </c:pt>
                <c:pt idx="605">
                  <c:v>378850.58567125897</c:v>
                </c:pt>
                <c:pt idx="606">
                  <c:v>379538.33456705441</c:v>
                </c:pt>
                <c:pt idx="607">
                  <c:v>310189.15400002996</c:v>
                </c:pt>
                <c:pt idx="608">
                  <c:v>367415.31434978021</c:v>
                </c:pt>
                <c:pt idx="609">
                  <c:v>385450.9897451392</c:v>
                </c:pt>
                <c:pt idx="610">
                  <c:v>-6550.3059765888911</c:v>
                </c:pt>
                <c:pt idx="611">
                  <c:v>366798.00824005401</c:v>
                </c:pt>
                <c:pt idx="612">
                  <c:v>375844.57859632402</c:v>
                </c:pt>
                <c:pt idx="613">
                  <c:v>325206.20119192422</c:v>
                </c:pt>
                <c:pt idx="614">
                  <c:v>389171.18433929002</c:v>
                </c:pt>
                <c:pt idx="615">
                  <c:v>420622.57577211701</c:v>
                </c:pt>
                <c:pt idx="616">
                  <c:v>26366.372172941297</c:v>
                </c:pt>
                <c:pt idx="617">
                  <c:v>433013.05789863953</c:v>
                </c:pt>
                <c:pt idx="618">
                  <c:v>528107.20447569899</c:v>
                </c:pt>
                <c:pt idx="619">
                  <c:v>443452.30441199022</c:v>
                </c:pt>
                <c:pt idx="620">
                  <c:v>192601.340006477</c:v>
                </c:pt>
              </c:numCache>
            </c:numRef>
          </c:yVal>
        </c:ser>
        <c:axId val="101636352"/>
        <c:axId val="101535744"/>
      </c:scatterChart>
      <c:valAx>
        <c:axId val="101636352"/>
        <c:scaling>
          <c:orientation val="minMax"/>
        </c:scaling>
        <c:axPos val="b"/>
        <c:numFmt formatCode="yyyy/mm/dd" sourceLinked="1"/>
        <c:tickLblPos val="low"/>
        <c:crossAx val="101535744"/>
        <c:crosses val="autoZero"/>
        <c:crossBetween val="midCat"/>
      </c:valAx>
      <c:valAx>
        <c:axId val="101535744"/>
        <c:scaling>
          <c:orientation val="minMax"/>
        </c:scaling>
        <c:axPos val="l"/>
        <c:majorGridlines/>
        <c:numFmt formatCode="_(* #,##0_);_(* \(#,##0\);_(* &quot;-&quot;_);_(@_)" sourceLinked="1"/>
        <c:tickLblPos val="nextTo"/>
        <c:crossAx val="101636352"/>
        <c:crosses val="autoZero"/>
        <c:crossBetween val="midCat"/>
      </c:valAx>
    </c:plotArea>
    <c:legend>
      <c:legendPos val="r"/>
      <c:layout/>
    </c:legend>
    <c:plotVisOnly val="1"/>
    <c:dispBlanksAs val="gap"/>
  </c:chart>
  <c:externalData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lrMapOvr bg1="lt1" tx1="dk1" bg2="lt2" tx2="dk2" accent1="accent1" accent2="accent2" accent3="accent3" accent4="accent4" accent5="accent5" accent6="accent6" hlink="hlink" folHlink="folHlink"/>
  <c:chart>
    <c:plotArea>
      <c:layout/>
      <c:lineChart>
        <c:grouping val="standard"/>
        <c:ser>
          <c:idx val="0"/>
          <c:order val="0"/>
          <c:tx>
            <c:strRef>
              <c:f>Cass_Bottle!$C$1</c:f>
              <c:strCache>
                <c:ptCount val="1"/>
                <c:pt idx="0">
                  <c:v>실적</c:v>
                </c:pt>
              </c:strCache>
            </c:strRef>
          </c:tx>
          <c:marker>
            <c:symbol val="diamond"/>
            <c:size val="5"/>
          </c:marker>
          <c:cat>
            <c:numRef>
              <c:f>Cass_Bottle!$B$2:$B$19</c:f>
              <c:numCache>
                <c:formatCode>yyyy/mm/dd</c:formatCode>
                <c:ptCount val="18"/>
                <c:pt idx="0">
                  <c:v>41875</c:v>
                </c:pt>
                <c:pt idx="1">
                  <c:v>41882</c:v>
                </c:pt>
                <c:pt idx="2">
                  <c:v>41889</c:v>
                </c:pt>
                <c:pt idx="3">
                  <c:v>41896</c:v>
                </c:pt>
                <c:pt idx="4">
                  <c:v>41903</c:v>
                </c:pt>
                <c:pt idx="5">
                  <c:v>41910</c:v>
                </c:pt>
                <c:pt idx="6">
                  <c:v>41917</c:v>
                </c:pt>
                <c:pt idx="7">
                  <c:v>41924</c:v>
                </c:pt>
                <c:pt idx="8">
                  <c:v>41931</c:v>
                </c:pt>
                <c:pt idx="9">
                  <c:v>41938</c:v>
                </c:pt>
                <c:pt idx="10">
                  <c:v>41945</c:v>
                </c:pt>
                <c:pt idx="11">
                  <c:v>41952</c:v>
                </c:pt>
                <c:pt idx="12">
                  <c:v>41959</c:v>
                </c:pt>
                <c:pt idx="13">
                  <c:v>41966</c:v>
                </c:pt>
                <c:pt idx="14">
                  <c:v>41973</c:v>
                </c:pt>
                <c:pt idx="15">
                  <c:v>41980</c:v>
                </c:pt>
                <c:pt idx="16">
                  <c:v>41987</c:v>
                </c:pt>
                <c:pt idx="17">
                  <c:v>41994</c:v>
                </c:pt>
              </c:numCache>
            </c:numRef>
          </c:cat>
          <c:val>
            <c:numRef>
              <c:f>Cass_Bottle!$C$2:$C$19</c:f>
              <c:numCache>
                <c:formatCode>_(* #,##0_);_(* \(#,##0\);_(* "-"_);_(@_)</c:formatCode>
                <c:ptCount val="18"/>
                <c:pt idx="0">
                  <c:v>841822.88</c:v>
                </c:pt>
                <c:pt idx="1">
                  <c:v>1475222.308</c:v>
                </c:pt>
                <c:pt idx="2">
                  <c:v>520044.48000000021</c:v>
                </c:pt>
                <c:pt idx="3">
                  <c:v>799640.92599999998</c:v>
                </c:pt>
                <c:pt idx="4">
                  <c:v>847358.41200000001</c:v>
                </c:pt>
                <c:pt idx="5">
                  <c:v>873207.45400000003</c:v>
                </c:pt>
                <c:pt idx="6">
                  <c:v>849917.11</c:v>
                </c:pt>
                <c:pt idx="7">
                  <c:v>892747.49600000004</c:v>
                </c:pt>
                <c:pt idx="8">
                  <c:v>817902.35400000005</c:v>
                </c:pt>
                <c:pt idx="9">
                  <c:v>723472.06799999997</c:v>
                </c:pt>
                <c:pt idx="10">
                  <c:v>914860.11800000002</c:v>
                </c:pt>
                <c:pt idx="11">
                  <c:v>740230.65399999998</c:v>
                </c:pt>
                <c:pt idx="12">
                  <c:v>743098.78199999896</c:v>
                </c:pt>
                <c:pt idx="13">
                  <c:v>676031.27199999837</c:v>
                </c:pt>
                <c:pt idx="14">
                  <c:v>877152.79799999774</c:v>
                </c:pt>
                <c:pt idx="15">
                  <c:v>789519.97399999888</c:v>
                </c:pt>
                <c:pt idx="16">
                  <c:v>821146.924</c:v>
                </c:pt>
                <c:pt idx="17">
                  <c:v>883311.54800000042</c:v>
                </c:pt>
              </c:numCache>
            </c:numRef>
          </c:val>
        </c:ser>
        <c:ser>
          <c:idx val="1"/>
          <c:order val="1"/>
          <c:tx>
            <c:strRef>
              <c:f>Cass_Bottle!$D$1</c:f>
              <c:strCache>
                <c:ptCount val="1"/>
                <c:pt idx="0">
                  <c:v>예측</c:v>
                </c:pt>
              </c:strCache>
            </c:strRef>
          </c:tx>
          <c:marker>
            <c:symbol val="square"/>
            <c:size val="5"/>
          </c:marker>
          <c:cat>
            <c:numRef>
              <c:f>Cass_Bottle!$B$2:$B$19</c:f>
              <c:numCache>
                <c:formatCode>yyyy/mm/dd</c:formatCode>
                <c:ptCount val="18"/>
                <c:pt idx="0">
                  <c:v>41875</c:v>
                </c:pt>
                <c:pt idx="1">
                  <c:v>41882</c:v>
                </c:pt>
                <c:pt idx="2">
                  <c:v>41889</c:v>
                </c:pt>
                <c:pt idx="3">
                  <c:v>41896</c:v>
                </c:pt>
                <c:pt idx="4">
                  <c:v>41903</c:v>
                </c:pt>
                <c:pt idx="5">
                  <c:v>41910</c:v>
                </c:pt>
                <c:pt idx="6">
                  <c:v>41917</c:v>
                </c:pt>
                <c:pt idx="7">
                  <c:v>41924</c:v>
                </c:pt>
                <c:pt idx="8">
                  <c:v>41931</c:v>
                </c:pt>
                <c:pt idx="9">
                  <c:v>41938</c:v>
                </c:pt>
                <c:pt idx="10">
                  <c:v>41945</c:v>
                </c:pt>
                <c:pt idx="11">
                  <c:v>41952</c:v>
                </c:pt>
                <c:pt idx="12">
                  <c:v>41959</c:v>
                </c:pt>
                <c:pt idx="13">
                  <c:v>41966</c:v>
                </c:pt>
                <c:pt idx="14">
                  <c:v>41973</c:v>
                </c:pt>
                <c:pt idx="15">
                  <c:v>41980</c:v>
                </c:pt>
                <c:pt idx="16">
                  <c:v>41987</c:v>
                </c:pt>
                <c:pt idx="17">
                  <c:v>41994</c:v>
                </c:pt>
              </c:numCache>
            </c:numRef>
          </c:cat>
          <c:val>
            <c:numRef>
              <c:f>Cass_Bottle!$D$2:$D$19</c:f>
              <c:numCache>
                <c:formatCode>_(* #,##0_);_(* \(#,##0\);_(* "-"_);_(@_)</c:formatCode>
                <c:ptCount val="18"/>
                <c:pt idx="0">
                  <c:v>893768.30132536404</c:v>
                </c:pt>
                <c:pt idx="1">
                  <c:v>1480397.3598963101</c:v>
                </c:pt>
                <c:pt idx="2">
                  <c:v>488360.65567282698</c:v>
                </c:pt>
                <c:pt idx="3">
                  <c:v>832514.54242384899</c:v>
                </c:pt>
                <c:pt idx="4">
                  <c:v>819796.48782158003</c:v>
                </c:pt>
                <c:pt idx="5">
                  <c:v>885188.34209171042</c:v>
                </c:pt>
                <c:pt idx="6">
                  <c:v>849996.28361115337</c:v>
                </c:pt>
                <c:pt idx="7">
                  <c:v>816591.15792566305</c:v>
                </c:pt>
                <c:pt idx="8">
                  <c:v>783627.65354853997</c:v>
                </c:pt>
                <c:pt idx="9">
                  <c:v>750271.73535838688</c:v>
                </c:pt>
                <c:pt idx="10">
                  <c:v>872820.85735855601</c:v>
                </c:pt>
                <c:pt idx="11">
                  <c:v>757209.22374531894</c:v>
                </c:pt>
                <c:pt idx="12">
                  <c:v>758556.86211904895</c:v>
                </c:pt>
                <c:pt idx="13">
                  <c:v>705561.0979092319</c:v>
                </c:pt>
                <c:pt idx="14">
                  <c:v>889856.55483341741</c:v>
                </c:pt>
                <c:pt idx="15">
                  <c:v>786705.25497675699</c:v>
                </c:pt>
                <c:pt idx="16">
                  <c:v>848957.29102225997</c:v>
                </c:pt>
                <c:pt idx="17">
                  <c:v>969933.32927005598</c:v>
                </c:pt>
              </c:numCache>
            </c:numRef>
          </c:val>
        </c:ser>
        <c:marker val="1"/>
        <c:axId val="102052608"/>
        <c:axId val="102054144"/>
      </c:lineChart>
      <c:dateAx>
        <c:axId val="102052608"/>
        <c:scaling>
          <c:orientation val="minMax"/>
        </c:scaling>
        <c:axPos val="b"/>
        <c:numFmt formatCode="yyyy/mm/dd" sourceLinked="1"/>
        <c:tickLblPos val="nextTo"/>
        <c:crossAx val="102054144"/>
        <c:crosses val="autoZero"/>
        <c:auto val="1"/>
        <c:lblOffset val="100"/>
        <c:baseTimeUnit val="days"/>
        <c:majorUnit val="7"/>
        <c:majorTimeUnit val="days"/>
      </c:dateAx>
      <c:valAx>
        <c:axId val="102054144"/>
        <c:scaling>
          <c:orientation val="minMax"/>
        </c:scaling>
        <c:axPos val="l"/>
        <c:majorGridlines/>
        <c:numFmt formatCode="_(* #,##0_);_(* \(#,##0\);_(* &quot;-&quot;_);_(@_)" sourceLinked="1"/>
        <c:tickLblPos val="nextTo"/>
        <c:crossAx val="10205260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7247801184980589"/>
          <c:y val="0.55891526618874265"/>
          <c:w val="0.11255139860037013"/>
          <c:h val="0.17992948642613893"/>
        </c:manualLayout>
      </c:layout>
    </c:legend>
    <c:plotVisOnly val="1"/>
    <c:dispBlanksAs val="gap"/>
  </c:chart>
  <c:externalData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ko-KR"/>
  <c:clrMapOvr bg1="lt1" tx1="dk1" bg2="lt2" tx2="dk2" accent1="accent1" accent2="accent2" accent3="accent3" accent4="accent4" accent5="accent5" accent6="accent6" hlink="hlink" folHlink="folHlink"/>
  <c:chart>
    <c:plotArea>
      <c:layout/>
      <c:scatterChart>
        <c:scatterStyle val="lineMarker"/>
        <c:ser>
          <c:idx val="0"/>
          <c:order val="0"/>
          <c:tx>
            <c:v>실적</c:v>
          </c:tx>
          <c:spPr>
            <a:ln w="28575">
              <a:noFill/>
            </a:ln>
          </c:spPr>
          <c:marker>
            <c:symbol val="diamond"/>
            <c:size val="6"/>
          </c:marker>
          <c:xVal>
            <c:numRef>
              <c:f>Cass_Bottle_Weekly!$A$160:$A$262</c:f>
              <c:numCache>
                <c:formatCode>yyyy/mm/dd</c:formatCode>
                <c:ptCount val="103"/>
                <c:pt idx="0">
                  <c:v>41280</c:v>
                </c:pt>
                <c:pt idx="1">
                  <c:v>41287</c:v>
                </c:pt>
                <c:pt idx="2">
                  <c:v>41294</c:v>
                </c:pt>
                <c:pt idx="3">
                  <c:v>41301</c:v>
                </c:pt>
                <c:pt idx="4">
                  <c:v>41308</c:v>
                </c:pt>
                <c:pt idx="5">
                  <c:v>41315</c:v>
                </c:pt>
                <c:pt idx="6">
                  <c:v>41322</c:v>
                </c:pt>
                <c:pt idx="7">
                  <c:v>41329</c:v>
                </c:pt>
                <c:pt idx="8">
                  <c:v>41336</c:v>
                </c:pt>
                <c:pt idx="9">
                  <c:v>41343</c:v>
                </c:pt>
                <c:pt idx="10">
                  <c:v>41350</c:v>
                </c:pt>
                <c:pt idx="11">
                  <c:v>41357</c:v>
                </c:pt>
                <c:pt idx="12">
                  <c:v>41364</c:v>
                </c:pt>
                <c:pt idx="13">
                  <c:v>41371</c:v>
                </c:pt>
                <c:pt idx="14">
                  <c:v>41378</c:v>
                </c:pt>
                <c:pt idx="15">
                  <c:v>41385</c:v>
                </c:pt>
                <c:pt idx="16">
                  <c:v>41392</c:v>
                </c:pt>
                <c:pt idx="17">
                  <c:v>41399</c:v>
                </c:pt>
                <c:pt idx="18">
                  <c:v>41406</c:v>
                </c:pt>
                <c:pt idx="19">
                  <c:v>41413</c:v>
                </c:pt>
                <c:pt idx="20">
                  <c:v>41420</c:v>
                </c:pt>
                <c:pt idx="21">
                  <c:v>41427</c:v>
                </c:pt>
                <c:pt idx="22">
                  <c:v>41434</c:v>
                </c:pt>
                <c:pt idx="23">
                  <c:v>41441</c:v>
                </c:pt>
                <c:pt idx="24">
                  <c:v>41448</c:v>
                </c:pt>
                <c:pt idx="25">
                  <c:v>41455</c:v>
                </c:pt>
                <c:pt idx="26">
                  <c:v>41462</c:v>
                </c:pt>
                <c:pt idx="27">
                  <c:v>41469</c:v>
                </c:pt>
                <c:pt idx="28">
                  <c:v>41476</c:v>
                </c:pt>
                <c:pt idx="29">
                  <c:v>41483</c:v>
                </c:pt>
                <c:pt idx="30">
                  <c:v>41490</c:v>
                </c:pt>
                <c:pt idx="31">
                  <c:v>41497</c:v>
                </c:pt>
                <c:pt idx="32">
                  <c:v>41504</c:v>
                </c:pt>
                <c:pt idx="33">
                  <c:v>41511</c:v>
                </c:pt>
                <c:pt idx="34">
                  <c:v>41518</c:v>
                </c:pt>
                <c:pt idx="35">
                  <c:v>41525</c:v>
                </c:pt>
                <c:pt idx="36">
                  <c:v>41532</c:v>
                </c:pt>
                <c:pt idx="37">
                  <c:v>41539</c:v>
                </c:pt>
                <c:pt idx="38">
                  <c:v>41546</c:v>
                </c:pt>
                <c:pt idx="39">
                  <c:v>41553</c:v>
                </c:pt>
                <c:pt idx="40">
                  <c:v>41560</c:v>
                </c:pt>
                <c:pt idx="41">
                  <c:v>41567</c:v>
                </c:pt>
                <c:pt idx="42">
                  <c:v>41574</c:v>
                </c:pt>
                <c:pt idx="43">
                  <c:v>41581</c:v>
                </c:pt>
                <c:pt idx="44">
                  <c:v>41588</c:v>
                </c:pt>
                <c:pt idx="45">
                  <c:v>41595</c:v>
                </c:pt>
                <c:pt idx="46">
                  <c:v>41602</c:v>
                </c:pt>
                <c:pt idx="47">
                  <c:v>41609</c:v>
                </c:pt>
                <c:pt idx="48">
                  <c:v>41616</c:v>
                </c:pt>
                <c:pt idx="49">
                  <c:v>41623</c:v>
                </c:pt>
                <c:pt idx="50">
                  <c:v>41630</c:v>
                </c:pt>
                <c:pt idx="51">
                  <c:v>41637</c:v>
                </c:pt>
                <c:pt idx="52">
                  <c:v>41644</c:v>
                </c:pt>
                <c:pt idx="53">
                  <c:v>41651</c:v>
                </c:pt>
                <c:pt idx="54">
                  <c:v>41658</c:v>
                </c:pt>
                <c:pt idx="55">
                  <c:v>41665</c:v>
                </c:pt>
                <c:pt idx="56">
                  <c:v>41672</c:v>
                </c:pt>
                <c:pt idx="57">
                  <c:v>41679</c:v>
                </c:pt>
                <c:pt idx="58">
                  <c:v>41686</c:v>
                </c:pt>
                <c:pt idx="59">
                  <c:v>41693</c:v>
                </c:pt>
                <c:pt idx="60">
                  <c:v>41700</c:v>
                </c:pt>
                <c:pt idx="61">
                  <c:v>41707</c:v>
                </c:pt>
                <c:pt idx="62">
                  <c:v>41714</c:v>
                </c:pt>
                <c:pt idx="63">
                  <c:v>41721</c:v>
                </c:pt>
                <c:pt idx="64">
                  <c:v>41728</c:v>
                </c:pt>
                <c:pt idx="65">
                  <c:v>41735</c:v>
                </c:pt>
                <c:pt idx="66">
                  <c:v>41742</c:v>
                </c:pt>
                <c:pt idx="67">
                  <c:v>41749</c:v>
                </c:pt>
                <c:pt idx="68">
                  <c:v>41756</c:v>
                </c:pt>
                <c:pt idx="69">
                  <c:v>41763</c:v>
                </c:pt>
                <c:pt idx="70">
                  <c:v>41770</c:v>
                </c:pt>
                <c:pt idx="71">
                  <c:v>41777</c:v>
                </c:pt>
                <c:pt idx="72">
                  <c:v>41784</c:v>
                </c:pt>
                <c:pt idx="73">
                  <c:v>41791</c:v>
                </c:pt>
                <c:pt idx="74">
                  <c:v>41798</c:v>
                </c:pt>
                <c:pt idx="75">
                  <c:v>41805</c:v>
                </c:pt>
                <c:pt idx="76">
                  <c:v>41812</c:v>
                </c:pt>
                <c:pt idx="77">
                  <c:v>41819</c:v>
                </c:pt>
                <c:pt idx="78">
                  <c:v>41826</c:v>
                </c:pt>
                <c:pt idx="79">
                  <c:v>41833</c:v>
                </c:pt>
                <c:pt idx="80">
                  <c:v>41840</c:v>
                </c:pt>
                <c:pt idx="81">
                  <c:v>41847</c:v>
                </c:pt>
                <c:pt idx="82">
                  <c:v>41854</c:v>
                </c:pt>
                <c:pt idx="83">
                  <c:v>41861</c:v>
                </c:pt>
                <c:pt idx="84">
                  <c:v>41868</c:v>
                </c:pt>
                <c:pt idx="85">
                  <c:v>41875</c:v>
                </c:pt>
                <c:pt idx="86">
                  <c:v>41882</c:v>
                </c:pt>
                <c:pt idx="87">
                  <c:v>41889</c:v>
                </c:pt>
                <c:pt idx="88">
                  <c:v>41896</c:v>
                </c:pt>
                <c:pt idx="89">
                  <c:v>41903</c:v>
                </c:pt>
                <c:pt idx="90">
                  <c:v>41910</c:v>
                </c:pt>
                <c:pt idx="91">
                  <c:v>41917</c:v>
                </c:pt>
                <c:pt idx="92">
                  <c:v>41924</c:v>
                </c:pt>
                <c:pt idx="93">
                  <c:v>41931</c:v>
                </c:pt>
                <c:pt idx="94">
                  <c:v>41938</c:v>
                </c:pt>
                <c:pt idx="95">
                  <c:v>41945</c:v>
                </c:pt>
                <c:pt idx="96">
                  <c:v>41952</c:v>
                </c:pt>
                <c:pt idx="97">
                  <c:v>41959</c:v>
                </c:pt>
                <c:pt idx="98">
                  <c:v>41966</c:v>
                </c:pt>
                <c:pt idx="99">
                  <c:v>41973</c:v>
                </c:pt>
                <c:pt idx="100">
                  <c:v>41980</c:v>
                </c:pt>
                <c:pt idx="101">
                  <c:v>41987</c:v>
                </c:pt>
                <c:pt idx="102">
                  <c:v>41994</c:v>
                </c:pt>
              </c:numCache>
            </c:numRef>
          </c:xVal>
          <c:yVal>
            <c:numRef>
              <c:f>Cass_Bottle_Weekly!$B$160:$B$262</c:f>
              <c:numCache>
                <c:formatCode>_(* #,##0_);_(* \(#,##0\);_(* "-"_);_(@_)</c:formatCode>
                <c:ptCount val="103"/>
                <c:pt idx="0">
                  <c:v>637622.19199999899</c:v>
                </c:pt>
                <c:pt idx="1">
                  <c:v>622463.26199999999</c:v>
                </c:pt>
                <c:pt idx="2">
                  <c:v>634730.076</c:v>
                </c:pt>
                <c:pt idx="3">
                  <c:v>672851.57799999812</c:v>
                </c:pt>
                <c:pt idx="4">
                  <c:v>857008.81400000001</c:v>
                </c:pt>
                <c:pt idx="5">
                  <c:v>481199.04399999999</c:v>
                </c:pt>
                <c:pt idx="6">
                  <c:v>596252.23800000001</c:v>
                </c:pt>
                <c:pt idx="7">
                  <c:v>603122.73</c:v>
                </c:pt>
                <c:pt idx="8">
                  <c:v>814741.84199999995</c:v>
                </c:pt>
                <c:pt idx="9">
                  <c:v>702806.75199999998</c:v>
                </c:pt>
                <c:pt idx="10">
                  <c:v>690507.89599999937</c:v>
                </c:pt>
                <c:pt idx="11">
                  <c:v>596146.78399999836</c:v>
                </c:pt>
                <c:pt idx="12">
                  <c:v>901134.46200000041</c:v>
                </c:pt>
                <c:pt idx="13">
                  <c:v>652542.71799999836</c:v>
                </c:pt>
                <c:pt idx="14">
                  <c:v>679181.99399999937</c:v>
                </c:pt>
                <c:pt idx="15">
                  <c:v>704468.728</c:v>
                </c:pt>
                <c:pt idx="16">
                  <c:v>855323.52399999998</c:v>
                </c:pt>
                <c:pt idx="17">
                  <c:v>736894.98199999996</c:v>
                </c:pt>
                <c:pt idx="18">
                  <c:v>844439.94000000041</c:v>
                </c:pt>
                <c:pt idx="19">
                  <c:v>858267.34400000004</c:v>
                </c:pt>
                <c:pt idx="20">
                  <c:v>749087.42</c:v>
                </c:pt>
                <c:pt idx="21">
                  <c:v>1019583.9460000016</c:v>
                </c:pt>
                <c:pt idx="22">
                  <c:v>989174.84199999995</c:v>
                </c:pt>
                <c:pt idx="23">
                  <c:v>909654.13399999996</c:v>
                </c:pt>
                <c:pt idx="24">
                  <c:v>821997.93400000001</c:v>
                </c:pt>
                <c:pt idx="25">
                  <c:v>1091161.8020000001</c:v>
                </c:pt>
                <c:pt idx="26">
                  <c:v>947103.57199999888</c:v>
                </c:pt>
                <c:pt idx="27">
                  <c:v>958283.11600000004</c:v>
                </c:pt>
                <c:pt idx="28">
                  <c:v>998677.81799999997</c:v>
                </c:pt>
                <c:pt idx="29">
                  <c:v>1099422.3500000001</c:v>
                </c:pt>
                <c:pt idx="30">
                  <c:v>920937.53799999936</c:v>
                </c:pt>
                <c:pt idx="31">
                  <c:v>1009212.8160000016</c:v>
                </c:pt>
                <c:pt idx="32">
                  <c:v>1039461.2139999989</c:v>
                </c:pt>
                <c:pt idx="33">
                  <c:v>880038.65800000005</c:v>
                </c:pt>
                <c:pt idx="34">
                  <c:v>1215280.3860000011</c:v>
                </c:pt>
                <c:pt idx="35">
                  <c:v>1214875.0960000001</c:v>
                </c:pt>
                <c:pt idx="36">
                  <c:v>735489.45400000003</c:v>
                </c:pt>
                <c:pt idx="37">
                  <c:v>894177.76599999936</c:v>
                </c:pt>
                <c:pt idx="38">
                  <c:v>950444.12399999937</c:v>
                </c:pt>
                <c:pt idx="39">
                  <c:v>958996.69799999811</c:v>
                </c:pt>
                <c:pt idx="40">
                  <c:v>881019.42200000002</c:v>
                </c:pt>
                <c:pt idx="41">
                  <c:v>870696.54799999937</c:v>
                </c:pt>
                <c:pt idx="42">
                  <c:v>836740.95400000003</c:v>
                </c:pt>
                <c:pt idx="43">
                  <c:v>898442.93599999999</c:v>
                </c:pt>
                <c:pt idx="44">
                  <c:v>841692.06</c:v>
                </c:pt>
                <c:pt idx="45">
                  <c:v>782061.44600000174</c:v>
                </c:pt>
                <c:pt idx="46">
                  <c:v>677954.53200000001</c:v>
                </c:pt>
                <c:pt idx="47">
                  <c:v>1014761.2719999983</c:v>
                </c:pt>
                <c:pt idx="48">
                  <c:v>870134.868000002</c:v>
                </c:pt>
                <c:pt idx="49">
                  <c:v>927459.74600000004</c:v>
                </c:pt>
                <c:pt idx="50">
                  <c:v>971323.576</c:v>
                </c:pt>
                <c:pt idx="51">
                  <c:v>957038.94200000004</c:v>
                </c:pt>
                <c:pt idx="52">
                  <c:v>803698.49399999937</c:v>
                </c:pt>
                <c:pt idx="53">
                  <c:v>814780.77599999786</c:v>
                </c:pt>
                <c:pt idx="54">
                  <c:v>918213.91599999997</c:v>
                </c:pt>
                <c:pt idx="55">
                  <c:v>663561.576</c:v>
                </c:pt>
                <c:pt idx="56">
                  <c:v>825505.68399999896</c:v>
                </c:pt>
                <c:pt idx="57">
                  <c:v>729242.652</c:v>
                </c:pt>
                <c:pt idx="58">
                  <c:v>770829.15800000005</c:v>
                </c:pt>
                <c:pt idx="59">
                  <c:v>740508.85800000187</c:v>
                </c:pt>
                <c:pt idx="60">
                  <c:v>944997.13199999998</c:v>
                </c:pt>
                <c:pt idx="61">
                  <c:v>826455.81400000001</c:v>
                </c:pt>
                <c:pt idx="62">
                  <c:v>856566.92</c:v>
                </c:pt>
                <c:pt idx="63">
                  <c:v>820446.58799999836</c:v>
                </c:pt>
                <c:pt idx="64">
                  <c:v>991043.94200000004</c:v>
                </c:pt>
                <c:pt idx="65">
                  <c:v>863994.13</c:v>
                </c:pt>
                <c:pt idx="66">
                  <c:v>890361.17599999812</c:v>
                </c:pt>
                <c:pt idx="67">
                  <c:v>882801.85800000187</c:v>
                </c:pt>
                <c:pt idx="68">
                  <c:v>1186252.6880000001</c:v>
                </c:pt>
                <c:pt idx="69">
                  <c:v>755625.26599999936</c:v>
                </c:pt>
                <c:pt idx="70">
                  <c:v>956613.35200000042</c:v>
                </c:pt>
                <c:pt idx="71">
                  <c:v>1004159.2799999974</c:v>
                </c:pt>
                <c:pt idx="72">
                  <c:v>903565.36000000045</c:v>
                </c:pt>
                <c:pt idx="73">
                  <c:v>1214756.9540000001</c:v>
                </c:pt>
                <c:pt idx="74">
                  <c:v>1079762.1740000001</c:v>
                </c:pt>
                <c:pt idx="75">
                  <c:v>1000141.76</c:v>
                </c:pt>
                <c:pt idx="76">
                  <c:v>1029714.522</c:v>
                </c:pt>
                <c:pt idx="77">
                  <c:v>1174123.746</c:v>
                </c:pt>
                <c:pt idx="78">
                  <c:v>1067560.8560000001</c:v>
                </c:pt>
                <c:pt idx="79">
                  <c:v>1122213.078</c:v>
                </c:pt>
                <c:pt idx="80">
                  <c:v>1127068.952</c:v>
                </c:pt>
                <c:pt idx="81">
                  <c:v>1166333.9620000001</c:v>
                </c:pt>
                <c:pt idx="82">
                  <c:v>1058355.8020000001</c:v>
                </c:pt>
                <c:pt idx="83">
                  <c:v>931220.89399999997</c:v>
                </c:pt>
                <c:pt idx="84">
                  <c:v>915537.93</c:v>
                </c:pt>
                <c:pt idx="85">
                  <c:v>841822.88</c:v>
                </c:pt>
                <c:pt idx="86">
                  <c:v>1475222.308</c:v>
                </c:pt>
                <c:pt idx="87">
                  <c:v>520044.48000000021</c:v>
                </c:pt>
                <c:pt idx="88">
                  <c:v>799640.92599999998</c:v>
                </c:pt>
                <c:pt idx="89">
                  <c:v>847358.41200000001</c:v>
                </c:pt>
                <c:pt idx="90">
                  <c:v>873207.45400000003</c:v>
                </c:pt>
                <c:pt idx="91">
                  <c:v>849917.11</c:v>
                </c:pt>
                <c:pt idx="92">
                  <c:v>892747.49600000004</c:v>
                </c:pt>
                <c:pt idx="93">
                  <c:v>817902.35400000005</c:v>
                </c:pt>
                <c:pt idx="94">
                  <c:v>723472.06799999997</c:v>
                </c:pt>
                <c:pt idx="95">
                  <c:v>914860.11800000002</c:v>
                </c:pt>
                <c:pt idx="96">
                  <c:v>740230.65399999998</c:v>
                </c:pt>
                <c:pt idx="97">
                  <c:v>743098.78199999896</c:v>
                </c:pt>
                <c:pt idx="98">
                  <c:v>676031.27199999837</c:v>
                </c:pt>
                <c:pt idx="99">
                  <c:v>877152.79799999774</c:v>
                </c:pt>
                <c:pt idx="100">
                  <c:v>789519.97399999888</c:v>
                </c:pt>
                <c:pt idx="101">
                  <c:v>821146.924</c:v>
                </c:pt>
                <c:pt idx="102">
                  <c:v>883311.54800000042</c:v>
                </c:pt>
              </c:numCache>
            </c:numRef>
          </c:yVal>
        </c:ser>
        <c:ser>
          <c:idx val="1"/>
          <c:order val="1"/>
          <c:tx>
            <c:v>예측</c:v>
          </c:tx>
          <c:spPr>
            <a:ln w="28575">
              <a:noFill/>
            </a:ln>
          </c:spPr>
          <c:marker>
            <c:symbol val="square"/>
            <c:size val="4"/>
          </c:marker>
          <c:xVal>
            <c:numRef>
              <c:f>Cass_Bottle_Weekly!$A$160:$A$262</c:f>
              <c:numCache>
                <c:formatCode>yyyy/mm/dd</c:formatCode>
                <c:ptCount val="103"/>
                <c:pt idx="0">
                  <c:v>41280</c:v>
                </c:pt>
                <c:pt idx="1">
                  <c:v>41287</c:v>
                </c:pt>
                <c:pt idx="2">
                  <c:v>41294</c:v>
                </c:pt>
                <c:pt idx="3">
                  <c:v>41301</c:v>
                </c:pt>
                <c:pt idx="4">
                  <c:v>41308</c:v>
                </c:pt>
                <c:pt idx="5">
                  <c:v>41315</c:v>
                </c:pt>
                <c:pt idx="6">
                  <c:v>41322</c:v>
                </c:pt>
                <c:pt idx="7">
                  <c:v>41329</c:v>
                </c:pt>
                <c:pt idx="8">
                  <c:v>41336</c:v>
                </c:pt>
                <c:pt idx="9">
                  <c:v>41343</c:v>
                </c:pt>
                <c:pt idx="10">
                  <c:v>41350</c:v>
                </c:pt>
                <c:pt idx="11">
                  <c:v>41357</c:v>
                </c:pt>
                <c:pt idx="12">
                  <c:v>41364</c:v>
                </c:pt>
                <c:pt idx="13">
                  <c:v>41371</c:v>
                </c:pt>
                <c:pt idx="14">
                  <c:v>41378</c:v>
                </c:pt>
                <c:pt idx="15">
                  <c:v>41385</c:v>
                </c:pt>
                <c:pt idx="16">
                  <c:v>41392</c:v>
                </c:pt>
                <c:pt idx="17">
                  <c:v>41399</c:v>
                </c:pt>
                <c:pt idx="18">
                  <c:v>41406</c:v>
                </c:pt>
                <c:pt idx="19">
                  <c:v>41413</c:v>
                </c:pt>
                <c:pt idx="20">
                  <c:v>41420</c:v>
                </c:pt>
                <c:pt idx="21">
                  <c:v>41427</c:v>
                </c:pt>
                <c:pt idx="22">
                  <c:v>41434</c:v>
                </c:pt>
                <c:pt idx="23">
                  <c:v>41441</c:v>
                </c:pt>
                <c:pt idx="24">
                  <c:v>41448</c:v>
                </c:pt>
                <c:pt idx="25">
                  <c:v>41455</c:v>
                </c:pt>
                <c:pt idx="26">
                  <c:v>41462</c:v>
                </c:pt>
                <c:pt idx="27">
                  <c:v>41469</c:v>
                </c:pt>
                <c:pt idx="28">
                  <c:v>41476</c:v>
                </c:pt>
                <c:pt idx="29">
                  <c:v>41483</c:v>
                </c:pt>
                <c:pt idx="30">
                  <c:v>41490</c:v>
                </c:pt>
                <c:pt idx="31">
                  <c:v>41497</c:v>
                </c:pt>
                <c:pt idx="32">
                  <c:v>41504</c:v>
                </c:pt>
                <c:pt idx="33">
                  <c:v>41511</c:v>
                </c:pt>
                <c:pt idx="34">
                  <c:v>41518</c:v>
                </c:pt>
                <c:pt idx="35">
                  <c:v>41525</c:v>
                </c:pt>
                <c:pt idx="36">
                  <c:v>41532</c:v>
                </c:pt>
                <c:pt idx="37">
                  <c:v>41539</c:v>
                </c:pt>
                <c:pt idx="38">
                  <c:v>41546</c:v>
                </c:pt>
                <c:pt idx="39">
                  <c:v>41553</c:v>
                </c:pt>
                <c:pt idx="40">
                  <c:v>41560</c:v>
                </c:pt>
                <c:pt idx="41">
                  <c:v>41567</c:v>
                </c:pt>
                <c:pt idx="42">
                  <c:v>41574</c:v>
                </c:pt>
                <c:pt idx="43">
                  <c:v>41581</c:v>
                </c:pt>
                <c:pt idx="44">
                  <c:v>41588</c:v>
                </c:pt>
                <c:pt idx="45">
                  <c:v>41595</c:v>
                </c:pt>
                <c:pt idx="46">
                  <c:v>41602</c:v>
                </c:pt>
                <c:pt idx="47">
                  <c:v>41609</c:v>
                </c:pt>
                <c:pt idx="48">
                  <c:v>41616</c:v>
                </c:pt>
                <c:pt idx="49">
                  <c:v>41623</c:v>
                </c:pt>
                <c:pt idx="50">
                  <c:v>41630</c:v>
                </c:pt>
                <c:pt idx="51">
                  <c:v>41637</c:v>
                </c:pt>
                <c:pt idx="52">
                  <c:v>41644</c:v>
                </c:pt>
                <c:pt idx="53">
                  <c:v>41651</c:v>
                </c:pt>
                <c:pt idx="54">
                  <c:v>41658</c:v>
                </c:pt>
                <c:pt idx="55">
                  <c:v>41665</c:v>
                </c:pt>
                <c:pt idx="56">
                  <c:v>41672</c:v>
                </c:pt>
                <c:pt idx="57">
                  <c:v>41679</c:v>
                </c:pt>
                <c:pt idx="58">
                  <c:v>41686</c:v>
                </c:pt>
                <c:pt idx="59">
                  <c:v>41693</c:v>
                </c:pt>
                <c:pt idx="60">
                  <c:v>41700</c:v>
                </c:pt>
                <c:pt idx="61">
                  <c:v>41707</c:v>
                </c:pt>
                <c:pt idx="62">
                  <c:v>41714</c:v>
                </c:pt>
                <c:pt idx="63">
                  <c:v>41721</c:v>
                </c:pt>
                <c:pt idx="64">
                  <c:v>41728</c:v>
                </c:pt>
                <c:pt idx="65">
                  <c:v>41735</c:v>
                </c:pt>
                <c:pt idx="66">
                  <c:v>41742</c:v>
                </c:pt>
                <c:pt idx="67">
                  <c:v>41749</c:v>
                </c:pt>
                <c:pt idx="68">
                  <c:v>41756</c:v>
                </c:pt>
                <c:pt idx="69">
                  <c:v>41763</c:v>
                </c:pt>
                <c:pt idx="70">
                  <c:v>41770</c:v>
                </c:pt>
                <c:pt idx="71">
                  <c:v>41777</c:v>
                </c:pt>
                <c:pt idx="72">
                  <c:v>41784</c:v>
                </c:pt>
                <c:pt idx="73">
                  <c:v>41791</c:v>
                </c:pt>
                <c:pt idx="74">
                  <c:v>41798</c:v>
                </c:pt>
                <c:pt idx="75">
                  <c:v>41805</c:v>
                </c:pt>
                <c:pt idx="76">
                  <c:v>41812</c:v>
                </c:pt>
                <c:pt idx="77">
                  <c:v>41819</c:v>
                </c:pt>
                <c:pt idx="78">
                  <c:v>41826</c:v>
                </c:pt>
                <c:pt idx="79">
                  <c:v>41833</c:v>
                </c:pt>
                <c:pt idx="80">
                  <c:v>41840</c:v>
                </c:pt>
                <c:pt idx="81">
                  <c:v>41847</c:v>
                </c:pt>
                <c:pt idx="82">
                  <c:v>41854</c:v>
                </c:pt>
                <c:pt idx="83">
                  <c:v>41861</c:v>
                </c:pt>
                <c:pt idx="84">
                  <c:v>41868</c:v>
                </c:pt>
                <c:pt idx="85">
                  <c:v>41875</c:v>
                </c:pt>
                <c:pt idx="86">
                  <c:v>41882</c:v>
                </c:pt>
                <c:pt idx="87">
                  <c:v>41889</c:v>
                </c:pt>
                <c:pt idx="88">
                  <c:v>41896</c:v>
                </c:pt>
                <c:pt idx="89">
                  <c:v>41903</c:v>
                </c:pt>
                <c:pt idx="90">
                  <c:v>41910</c:v>
                </c:pt>
                <c:pt idx="91">
                  <c:v>41917</c:v>
                </c:pt>
                <c:pt idx="92">
                  <c:v>41924</c:v>
                </c:pt>
                <c:pt idx="93">
                  <c:v>41931</c:v>
                </c:pt>
                <c:pt idx="94">
                  <c:v>41938</c:v>
                </c:pt>
                <c:pt idx="95">
                  <c:v>41945</c:v>
                </c:pt>
                <c:pt idx="96">
                  <c:v>41952</c:v>
                </c:pt>
                <c:pt idx="97">
                  <c:v>41959</c:v>
                </c:pt>
                <c:pt idx="98">
                  <c:v>41966</c:v>
                </c:pt>
                <c:pt idx="99">
                  <c:v>41973</c:v>
                </c:pt>
                <c:pt idx="100">
                  <c:v>41980</c:v>
                </c:pt>
                <c:pt idx="101">
                  <c:v>41987</c:v>
                </c:pt>
                <c:pt idx="102">
                  <c:v>41994</c:v>
                </c:pt>
              </c:numCache>
            </c:numRef>
          </c:xVal>
          <c:yVal>
            <c:numRef>
              <c:f>Cass_Bottle_Weekly!$C$160:$C$262</c:f>
              <c:numCache>
                <c:formatCode>_(* #,##0_);_(* \(#,##0\);_(* "-"_);_(@_)</c:formatCode>
                <c:ptCount val="103"/>
                <c:pt idx="0">
                  <c:v>631414.43307875737</c:v>
                </c:pt>
                <c:pt idx="1">
                  <c:v>643803.93415342702</c:v>
                </c:pt>
                <c:pt idx="2">
                  <c:v>643224.4201069324</c:v>
                </c:pt>
                <c:pt idx="3">
                  <c:v>682001.98807446798</c:v>
                </c:pt>
                <c:pt idx="4">
                  <c:v>807918.49261051393</c:v>
                </c:pt>
                <c:pt idx="5">
                  <c:v>492494.19515759085</c:v>
                </c:pt>
                <c:pt idx="6">
                  <c:v>604853.52680598444</c:v>
                </c:pt>
                <c:pt idx="7">
                  <c:v>598059.3146018791</c:v>
                </c:pt>
                <c:pt idx="8">
                  <c:v>851652.98544658895</c:v>
                </c:pt>
                <c:pt idx="9">
                  <c:v>744767.59217305249</c:v>
                </c:pt>
                <c:pt idx="10">
                  <c:v>721868.24286364205</c:v>
                </c:pt>
                <c:pt idx="11">
                  <c:v>633466.369719218</c:v>
                </c:pt>
                <c:pt idx="12">
                  <c:v>835577.08445022895</c:v>
                </c:pt>
                <c:pt idx="13">
                  <c:v>702670.47450572392</c:v>
                </c:pt>
                <c:pt idx="14">
                  <c:v>732948.31213758502</c:v>
                </c:pt>
                <c:pt idx="15">
                  <c:v>704908.70166587003</c:v>
                </c:pt>
                <c:pt idx="16">
                  <c:v>922674.04204507708</c:v>
                </c:pt>
                <c:pt idx="17">
                  <c:v>826349.70909504395</c:v>
                </c:pt>
                <c:pt idx="18">
                  <c:v>791952.32617325603</c:v>
                </c:pt>
                <c:pt idx="19">
                  <c:v>860054.26682192006</c:v>
                </c:pt>
                <c:pt idx="20">
                  <c:v>788566.37385644519</c:v>
                </c:pt>
                <c:pt idx="21">
                  <c:v>972552.91090953804</c:v>
                </c:pt>
                <c:pt idx="22">
                  <c:v>937523.462096542</c:v>
                </c:pt>
                <c:pt idx="23">
                  <c:v>920657.01271356898</c:v>
                </c:pt>
                <c:pt idx="24">
                  <c:v>861349.690002013</c:v>
                </c:pt>
                <c:pt idx="25">
                  <c:v>1056059.98658001</c:v>
                </c:pt>
                <c:pt idx="26">
                  <c:v>928607.23490721302</c:v>
                </c:pt>
                <c:pt idx="27">
                  <c:v>945644.61046074645</c:v>
                </c:pt>
                <c:pt idx="28">
                  <c:v>968975.90363535204</c:v>
                </c:pt>
                <c:pt idx="29">
                  <c:v>1050765.8049950101</c:v>
                </c:pt>
                <c:pt idx="30">
                  <c:v>892927.45949665643</c:v>
                </c:pt>
                <c:pt idx="31">
                  <c:v>954028.20281543711</c:v>
                </c:pt>
                <c:pt idx="32">
                  <c:v>1021629.1451808501</c:v>
                </c:pt>
                <c:pt idx="33">
                  <c:v>904987.68999447196</c:v>
                </c:pt>
                <c:pt idx="34">
                  <c:v>1202313.2914847699</c:v>
                </c:pt>
                <c:pt idx="35">
                  <c:v>1216220.2000726501</c:v>
                </c:pt>
                <c:pt idx="36">
                  <c:v>743399.98993080098</c:v>
                </c:pt>
                <c:pt idx="37">
                  <c:v>863557.12345408404</c:v>
                </c:pt>
                <c:pt idx="38">
                  <c:v>989547.1201918819</c:v>
                </c:pt>
                <c:pt idx="39">
                  <c:v>869913.43261297105</c:v>
                </c:pt>
                <c:pt idx="40">
                  <c:v>876831.93142285163</c:v>
                </c:pt>
                <c:pt idx="41">
                  <c:v>877823.768057907</c:v>
                </c:pt>
                <c:pt idx="42">
                  <c:v>841769.17979216867</c:v>
                </c:pt>
                <c:pt idx="43">
                  <c:v>900956.70645582175</c:v>
                </c:pt>
                <c:pt idx="44">
                  <c:v>822214.71010952897</c:v>
                </c:pt>
                <c:pt idx="45">
                  <c:v>792671.55097285297</c:v>
                </c:pt>
                <c:pt idx="46">
                  <c:v>697856.37076020893</c:v>
                </c:pt>
                <c:pt idx="47">
                  <c:v>967530.56033082795</c:v>
                </c:pt>
                <c:pt idx="48">
                  <c:v>837093.46880681056</c:v>
                </c:pt>
                <c:pt idx="49">
                  <c:v>919688.75301617209</c:v>
                </c:pt>
                <c:pt idx="50">
                  <c:v>974964.01351055806</c:v>
                </c:pt>
                <c:pt idx="51">
                  <c:v>946093.54796142504</c:v>
                </c:pt>
                <c:pt idx="52">
                  <c:v>810549.20894600498</c:v>
                </c:pt>
                <c:pt idx="53">
                  <c:v>823057.9848780469</c:v>
                </c:pt>
                <c:pt idx="54">
                  <c:v>924659.45304643945</c:v>
                </c:pt>
                <c:pt idx="55">
                  <c:v>685088.58857769694</c:v>
                </c:pt>
                <c:pt idx="56">
                  <c:v>850673.38996490801</c:v>
                </c:pt>
                <c:pt idx="57">
                  <c:v>772340.21097010199</c:v>
                </c:pt>
                <c:pt idx="58">
                  <c:v>769952.29216145328</c:v>
                </c:pt>
                <c:pt idx="59">
                  <c:v>720606.00812936388</c:v>
                </c:pt>
                <c:pt idx="60">
                  <c:v>921378.47181583743</c:v>
                </c:pt>
                <c:pt idx="61">
                  <c:v>817947.68145654199</c:v>
                </c:pt>
                <c:pt idx="62">
                  <c:v>860395.19268068601</c:v>
                </c:pt>
                <c:pt idx="63">
                  <c:v>841507.27066355699</c:v>
                </c:pt>
                <c:pt idx="64">
                  <c:v>961803.74682494765</c:v>
                </c:pt>
                <c:pt idx="65">
                  <c:v>837996.83303622412</c:v>
                </c:pt>
                <c:pt idx="66">
                  <c:v>875966.11825148505</c:v>
                </c:pt>
                <c:pt idx="67">
                  <c:v>884438.32363106904</c:v>
                </c:pt>
                <c:pt idx="68">
                  <c:v>1194612.1071269801</c:v>
                </c:pt>
                <c:pt idx="69">
                  <c:v>786545.24827369</c:v>
                </c:pt>
                <c:pt idx="70">
                  <c:v>976536.52922303241</c:v>
                </c:pt>
                <c:pt idx="71">
                  <c:v>980984.070735296</c:v>
                </c:pt>
                <c:pt idx="72">
                  <c:v>899410.35286092444</c:v>
                </c:pt>
                <c:pt idx="73">
                  <c:v>1193877.3375743101</c:v>
                </c:pt>
                <c:pt idx="74">
                  <c:v>1068822.0375758433</c:v>
                </c:pt>
                <c:pt idx="75">
                  <c:v>1054604.7899850011</c:v>
                </c:pt>
                <c:pt idx="76">
                  <c:v>1008328.14384445</c:v>
                </c:pt>
                <c:pt idx="77">
                  <c:v>1165021.8070849499</c:v>
                </c:pt>
                <c:pt idx="78">
                  <c:v>1087368.54680351</c:v>
                </c:pt>
                <c:pt idx="79">
                  <c:v>1102853.0469608011</c:v>
                </c:pt>
                <c:pt idx="80">
                  <c:v>1112296.8087519999</c:v>
                </c:pt>
                <c:pt idx="81">
                  <c:v>1174589.7082995696</c:v>
                </c:pt>
                <c:pt idx="82">
                  <c:v>1072849.6721198976</c:v>
                </c:pt>
                <c:pt idx="83">
                  <c:v>968918.37821807899</c:v>
                </c:pt>
                <c:pt idx="84">
                  <c:v>898734.27836003597</c:v>
                </c:pt>
                <c:pt idx="85">
                  <c:v>893768.30132536404</c:v>
                </c:pt>
                <c:pt idx="86">
                  <c:v>1480397.3598963101</c:v>
                </c:pt>
                <c:pt idx="87">
                  <c:v>488360.65567282698</c:v>
                </c:pt>
                <c:pt idx="88">
                  <c:v>832514.54242384899</c:v>
                </c:pt>
                <c:pt idx="89">
                  <c:v>819796.48782158003</c:v>
                </c:pt>
                <c:pt idx="90">
                  <c:v>885188.34209171042</c:v>
                </c:pt>
                <c:pt idx="91">
                  <c:v>849996.28361115337</c:v>
                </c:pt>
                <c:pt idx="92">
                  <c:v>816591.15792566305</c:v>
                </c:pt>
                <c:pt idx="93">
                  <c:v>783627.65354853997</c:v>
                </c:pt>
                <c:pt idx="94">
                  <c:v>750271.73535838688</c:v>
                </c:pt>
                <c:pt idx="95">
                  <c:v>872820.85735855601</c:v>
                </c:pt>
                <c:pt idx="96">
                  <c:v>757209.22374531894</c:v>
                </c:pt>
                <c:pt idx="97">
                  <c:v>758556.86211904895</c:v>
                </c:pt>
                <c:pt idx="98">
                  <c:v>705561.0979092319</c:v>
                </c:pt>
                <c:pt idx="99">
                  <c:v>889856.55483341741</c:v>
                </c:pt>
                <c:pt idx="100">
                  <c:v>786705.25497675699</c:v>
                </c:pt>
                <c:pt idx="101">
                  <c:v>848957.29102225997</c:v>
                </c:pt>
                <c:pt idx="102">
                  <c:v>969933.32927005598</c:v>
                </c:pt>
              </c:numCache>
            </c:numRef>
          </c:yVal>
        </c:ser>
        <c:axId val="102095104"/>
        <c:axId val="102031360"/>
      </c:scatterChart>
      <c:valAx>
        <c:axId val="102095104"/>
        <c:scaling>
          <c:orientation val="minMax"/>
        </c:scaling>
        <c:axPos val="b"/>
        <c:numFmt formatCode="yyyy/mm/dd" sourceLinked="1"/>
        <c:tickLblPos val="nextTo"/>
        <c:crossAx val="102031360"/>
        <c:crosses val="autoZero"/>
        <c:crossBetween val="midCat"/>
      </c:valAx>
      <c:valAx>
        <c:axId val="102031360"/>
        <c:scaling>
          <c:orientation val="minMax"/>
        </c:scaling>
        <c:axPos val="l"/>
        <c:majorGridlines/>
        <c:numFmt formatCode="_(* #,##0_);_(* \(#,##0\);_(* &quot;-&quot;_);_(@_)" sourceLinked="1"/>
        <c:tickLblPos val="nextTo"/>
        <c:crossAx val="102095104"/>
        <c:crosses val="autoZero"/>
        <c:crossBetween val="midCat"/>
      </c:valAx>
    </c:plotArea>
    <c:legend>
      <c:legendPos val="r"/>
      <c:layout>
        <c:manualLayout>
          <c:xMode val="edge"/>
          <c:yMode val="edge"/>
          <c:x val="0.93162788916700845"/>
          <c:y val="0.38470024319084634"/>
          <c:w val="4.9810409874381636E-2"/>
          <c:h val="0.22962268980494568"/>
        </c:manualLayout>
      </c:layout>
    </c:legend>
    <c:plotVisOnly val="1"/>
    <c:dispBlanksAs val="gap"/>
  </c:chart>
  <c:externalData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ko-KR"/>
  <c:clrMapOvr bg1="lt1" tx1="dk1" bg2="lt2" tx2="dk2" accent1="accent1" accent2="accent2" accent3="accent3" accent4="accent4" accent5="accent5" accent6="accent6" hlink="hlink" folHlink="folHlink"/>
  <c:chart>
    <c:plotArea>
      <c:layout/>
      <c:scatterChart>
        <c:scatterStyle val="lineMarker"/>
        <c:ser>
          <c:idx val="0"/>
          <c:order val="0"/>
          <c:tx>
            <c:v>실적</c:v>
          </c:tx>
          <c:spPr>
            <a:ln w="28575">
              <a:noFill/>
            </a:ln>
          </c:spPr>
          <c:marker>
            <c:symbol val="diamond"/>
            <c:size val="6"/>
          </c:marker>
          <c:xVal>
            <c:numRef>
              <c:f>Cass_Bottle_Daily!$A$941:$A$1561</c:f>
              <c:numCache>
                <c:formatCode>yyyy/mm/dd</c:formatCode>
                <c:ptCount val="621"/>
                <c:pt idx="0">
                  <c:v>41275</c:v>
                </c:pt>
                <c:pt idx="1">
                  <c:v>41276</c:v>
                </c:pt>
                <c:pt idx="2">
                  <c:v>41277</c:v>
                </c:pt>
                <c:pt idx="3">
                  <c:v>41278</c:v>
                </c:pt>
                <c:pt idx="4">
                  <c:v>41279</c:v>
                </c:pt>
                <c:pt idx="5">
                  <c:v>41281</c:v>
                </c:pt>
                <c:pt idx="6">
                  <c:v>41282</c:v>
                </c:pt>
                <c:pt idx="7">
                  <c:v>41283</c:v>
                </c:pt>
                <c:pt idx="8">
                  <c:v>41284</c:v>
                </c:pt>
                <c:pt idx="9">
                  <c:v>41285</c:v>
                </c:pt>
                <c:pt idx="10">
                  <c:v>41286</c:v>
                </c:pt>
                <c:pt idx="11">
                  <c:v>41288</c:v>
                </c:pt>
                <c:pt idx="12">
                  <c:v>41289</c:v>
                </c:pt>
                <c:pt idx="13">
                  <c:v>41290</c:v>
                </c:pt>
                <c:pt idx="14">
                  <c:v>41291</c:v>
                </c:pt>
                <c:pt idx="15">
                  <c:v>41292</c:v>
                </c:pt>
                <c:pt idx="16">
                  <c:v>41293</c:v>
                </c:pt>
                <c:pt idx="17">
                  <c:v>41295</c:v>
                </c:pt>
                <c:pt idx="18">
                  <c:v>41296</c:v>
                </c:pt>
                <c:pt idx="19">
                  <c:v>41297</c:v>
                </c:pt>
                <c:pt idx="20">
                  <c:v>41298</c:v>
                </c:pt>
                <c:pt idx="21">
                  <c:v>41299</c:v>
                </c:pt>
                <c:pt idx="22">
                  <c:v>41300</c:v>
                </c:pt>
                <c:pt idx="23">
                  <c:v>41302</c:v>
                </c:pt>
                <c:pt idx="24">
                  <c:v>41303</c:v>
                </c:pt>
                <c:pt idx="25">
                  <c:v>41304</c:v>
                </c:pt>
                <c:pt idx="26">
                  <c:v>41305</c:v>
                </c:pt>
                <c:pt idx="27">
                  <c:v>41306</c:v>
                </c:pt>
                <c:pt idx="28">
                  <c:v>41307</c:v>
                </c:pt>
                <c:pt idx="29">
                  <c:v>41309</c:v>
                </c:pt>
                <c:pt idx="30">
                  <c:v>41310</c:v>
                </c:pt>
                <c:pt idx="31">
                  <c:v>41311</c:v>
                </c:pt>
                <c:pt idx="32">
                  <c:v>41312</c:v>
                </c:pt>
                <c:pt idx="33">
                  <c:v>41313</c:v>
                </c:pt>
                <c:pt idx="34">
                  <c:v>41314</c:v>
                </c:pt>
                <c:pt idx="35">
                  <c:v>41316</c:v>
                </c:pt>
                <c:pt idx="36">
                  <c:v>41317</c:v>
                </c:pt>
                <c:pt idx="37">
                  <c:v>41318</c:v>
                </c:pt>
                <c:pt idx="38">
                  <c:v>41319</c:v>
                </c:pt>
                <c:pt idx="39">
                  <c:v>41320</c:v>
                </c:pt>
                <c:pt idx="40">
                  <c:v>41321</c:v>
                </c:pt>
                <c:pt idx="41">
                  <c:v>41323</c:v>
                </c:pt>
                <c:pt idx="42">
                  <c:v>41324</c:v>
                </c:pt>
                <c:pt idx="43">
                  <c:v>41325</c:v>
                </c:pt>
                <c:pt idx="44">
                  <c:v>41326</c:v>
                </c:pt>
                <c:pt idx="45">
                  <c:v>41327</c:v>
                </c:pt>
                <c:pt idx="46">
                  <c:v>41328</c:v>
                </c:pt>
                <c:pt idx="47">
                  <c:v>41330</c:v>
                </c:pt>
                <c:pt idx="48">
                  <c:v>41331</c:v>
                </c:pt>
                <c:pt idx="49">
                  <c:v>41332</c:v>
                </c:pt>
                <c:pt idx="50">
                  <c:v>41333</c:v>
                </c:pt>
                <c:pt idx="51">
                  <c:v>41334</c:v>
                </c:pt>
                <c:pt idx="52">
                  <c:v>41335</c:v>
                </c:pt>
                <c:pt idx="53">
                  <c:v>41337</c:v>
                </c:pt>
                <c:pt idx="54">
                  <c:v>41338</c:v>
                </c:pt>
                <c:pt idx="55">
                  <c:v>41339</c:v>
                </c:pt>
                <c:pt idx="56">
                  <c:v>41340</c:v>
                </c:pt>
                <c:pt idx="57">
                  <c:v>41341</c:v>
                </c:pt>
                <c:pt idx="58">
                  <c:v>41342</c:v>
                </c:pt>
                <c:pt idx="59">
                  <c:v>41344</c:v>
                </c:pt>
                <c:pt idx="60">
                  <c:v>41345</c:v>
                </c:pt>
                <c:pt idx="61">
                  <c:v>41346</c:v>
                </c:pt>
                <c:pt idx="62">
                  <c:v>41347</c:v>
                </c:pt>
                <c:pt idx="63">
                  <c:v>41348</c:v>
                </c:pt>
                <c:pt idx="64">
                  <c:v>41349</c:v>
                </c:pt>
                <c:pt idx="65">
                  <c:v>41351</c:v>
                </c:pt>
                <c:pt idx="66">
                  <c:v>41352</c:v>
                </c:pt>
                <c:pt idx="67">
                  <c:v>41353</c:v>
                </c:pt>
                <c:pt idx="68">
                  <c:v>41354</c:v>
                </c:pt>
                <c:pt idx="69">
                  <c:v>41355</c:v>
                </c:pt>
                <c:pt idx="70">
                  <c:v>41356</c:v>
                </c:pt>
                <c:pt idx="71">
                  <c:v>41358</c:v>
                </c:pt>
                <c:pt idx="72">
                  <c:v>41359</c:v>
                </c:pt>
                <c:pt idx="73">
                  <c:v>41360</c:v>
                </c:pt>
                <c:pt idx="74">
                  <c:v>41361</c:v>
                </c:pt>
                <c:pt idx="75">
                  <c:v>41362</c:v>
                </c:pt>
                <c:pt idx="76">
                  <c:v>41363</c:v>
                </c:pt>
                <c:pt idx="77">
                  <c:v>41365</c:v>
                </c:pt>
                <c:pt idx="78">
                  <c:v>41366</c:v>
                </c:pt>
                <c:pt idx="79">
                  <c:v>41367</c:v>
                </c:pt>
                <c:pt idx="80">
                  <c:v>41368</c:v>
                </c:pt>
                <c:pt idx="81">
                  <c:v>41369</c:v>
                </c:pt>
                <c:pt idx="82">
                  <c:v>41370</c:v>
                </c:pt>
                <c:pt idx="83">
                  <c:v>41372</c:v>
                </c:pt>
                <c:pt idx="84">
                  <c:v>41373</c:v>
                </c:pt>
                <c:pt idx="85">
                  <c:v>41374</c:v>
                </c:pt>
                <c:pt idx="86">
                  <c:v>41375</c:v>
                </c:pt>
                <c:pt idx="87">
                  <c:v>41376</c:v>
                </c:pt>
                <c:pt idx="88">
                  <c:v>41377</c:v>
                </c:pt>
                <c:pt idx="89">
                  <c:v>41379</c:v>
                </c:pt>
                <c:pt idx="90">
                  <c:v>41380</c:v>
                </c:pt>
                <c:pt idx="91">
                  <c:v>41381</c:v>
                </c:pt>
                <c:pt idx="92">
                  <c:v>41382</c:v>
                </c:pt>
                <c:pt idx="93">
                  <c:v>41383</c:v>
                </c:pt>
                <c:pt idx="94">
                  <c:v>41384</c:v>
                </c:pt>
                <c:pt idx="95">
                  <c:v>41386</c:v>
                </c:pt>
                <c:pt idx="96">
                  <c:v>41387</c:v>
                </c:pt>
                <c:pt idx="97">
                  <c:v>41388</c:v>
                </c:pt>
                <c:pt idx="98">
                  <c:v>41389</c:v>
                </c:pt>
                <c:pt idx="99">
                  <c:v>41390</c:v>
                </c:pt>
                <c:pt idx="100">
                  <c:v>41391</c:v>
                </c:pt>
                <c:pt idx="101">
                  <c:v>41393</c:v>
                </c:pt>
                <c:pt idx="102">
                  <c:v>41394</c:v>
                </c:pt>
                <c:pt idx="103">
                  <c:v>41395</c:v>
                </c:pt>
                <c:pt idx="104">
                  <c:v>41396</c:v>
                </c:pt>
                <c:pt idx="105">
                  <c:v>41397</c:v>
                </c:pt>
                <c:pt idx="106">
                  <c:v>41398</c:v>
                </c:pt>
                <c:pt idx="107">
                  <c:v>41400</c:v>
                </c:pt>
                <c:pt idx="108">
                  <c:v>41401</c:v>
                </c:pt>
                <c:pt idx="109">
                  <c:v>41402</c:v>
                </c:pt>
                <c:pt idx="110">
                  <c:v>41403</c:v>
                </c:pt>
                <c:pt idx="111">
                  <c:v>41404</c:v>
                </c:pt>
                <c:pt idx="112">
                  <c:v>41405</c:v>
                </c:pt>
                <c:pt idx="113">
                  <c:v>41407</c:v>
                </c:pt>
                <c:pt idx="114">
                  <c:v>41408</c:v>
                </c:pt>
                <c:pt idx="115">
                  <c:v>41409</c:v>
                </c:pt>
                <c:pt idx="116">
                  <c:v>41410</c:v>
                </c:pt>
                <c:pt idx="117">
                  <c:v>41411</c:v>
                </c:pt>
                <c:pt idx="118">
                  <c:v>41412</c:v>
                </c:pt>
                <c:pt idx="119">
                  <c:v>41414</c:v>
                </c:pt>
                <c:pt idx="120">
                  <c:v>41415</c:v>
                </c:pt>
                <c:pt idx="121">
                  <c:v>41416</c:v>
                </c:pt>
                <c:pt idx="122">
                  <c:v>41417</c:v>
                </c:pt>
                <c:pt idx="123">
                  <c:v>41418</c:v>
                </c:pt>
                <c:pt idx="124">
                  <c:v>41419</c:v>
                </c:pt>
                <c:pt idx="125">
                  <c:v>41421</c:v>
                </c:pt>
                <c:pt idx="126">
                  <c:v>41422</c:v>
                </c:pt>
                <c:pt idx="127">
                  <c:v>41423</c:v>
                </c:pt>
                <c:pt idx="128">
                  <c:v>41424</c:v>
                </c:pt>
                <c:pt idx="129">
                  <c:v>41425</c:v>
                </c:pt>
                <c:pt idx="130">
                  <c:v>41426</c:v>
                </c:pt>
                <c:pt idx="131">
                  <c:v>41428</c:v>
                </c:pt>
                <c:pt idx="132">
                  <c:v>41429</c:v>
                </c:pt>
                <c:pt idx="133">
                  <c:v>41430</c:v>
                </c:pt>
                <c:pt idx="134">
                  <c:v>41431</c:v>
                </c:pt>
                <c:pt idx="135">
                  <c:v>41432</c:v>
                </c:pt>
                <c:pt idx="136">
                  <c:v>41433</c:v>
                </c:pt>
                <c:pt idx="137">
                  <c:v>41435</c:v>
                </c:pt>
                <c:pt idx="138">
                  <c:v>41436</c:v>
                </c:pt>
                <c:pt idx="139">
                  <c:v>41437</c:v>
                </c:pt>
                <c:pt idx="140">
                  <c:v>41438</c:v>
                </c:pt>
                <c:pt idx="141">
                  <c:v>41439</c:v>
                </c:pt>
                <c:pt idx="142">
                  <c:v>41440</c:v>
                </c:pt>
                <c:pt idx="143">
                  <c:v>41442</c:v>
                </c:pt>
                <c:pt idx="144">
                  <c:v>41443</c:v>
                </c:pt>
                <c:pt idx="145">
                  <c:v>41444</c:v>
                </c:pt>
                <c:pt idx="146">
                  <c:v>41445</c:v>
                </c:pt>
                <c:pt idx="147">
                  <c:v>41446</c:v>
                </c:pt>
                <c:pt idx="148">
                  <c:v>41447</c:v>
                </c:pt>
                <c:pt idx="149">
                  <c:v>41449</c:v>
                </c:pt>
                <c:pt idx="150">
                  <c:v>41450</c:v>
                </c:pt>
                <c:pt idx="151">
                  <c:v>41451</c:v>
                </c:pt>
                <c:pt idx="152">
                  <c:v>41452</c:v>
                </c:pt>
                <c:pt idx="153">
                  <c:v>41453</c:v>
                </c:pt>
                <c:pt idx="154">
                  <c:v>41454</c:v>
                </c:pt>
                <c:pt idx="155">
                  <c:v>41456</c:v>
                </c:pt>
                <c:pt idx="156">
                  <c:v>41457</c:v>
                </c:pt>
                <c:pt idx="157">
                  <c:v>41458</c:v>
                </c:pt>
                <c:pt idx="158">
                  <c:v>41459</c:v>
                </c:pt>
                <c:pt idx="159">
                  <c:v>41460</c:v>
                </c:pt>
                <c:pt idx="160">
                  <c:v>41461</c:v>
                </c:pt>
                <c:pt idx="161">
                  <c:v>41463</c:v>
                </c:pt>
                <c:pt idx="162">
                  <c:v>41464</c:v>
                </c:pt>
                <c:pt idx="163">
                  <c:v>41465</c:v>
                </c:pt>
                <c:pt idx="164">
                  <c:v>41466</c:v>
                </c:pt>
                <c:pt idx="165">
                  <c:v>41467</c:v>
                </c:pt>
                <c:pt idx="166">
                  <c:v>41468</c:v>
                </c:pt>
                <c:pt idx="167">
                  <c:v>41470</c:v>
                </c:pt>
                <c:pt idx="168">
                  <c:v>41471</c:v>
                </c:pt>
                <c:pt idx="169">
                  <c:v>41472</c:v>
                </c:pt>
                <c:pt idx="170">
                  <c:v>41473</c:v>
                </c:pt>
                <c:pt idx="171">
                  <c:v>41474</c:v>
                </c:pt>
                <c:pt idx="172">
                  <c:v>41475</c:v>
                </c:pt>
                <c:pt idx="173">
                  <c:v>41477</c:v>
                </c:pt>
                <c:pt idx="174">
                  <c:v>41478</c:v>
                </c:pt>
                <c:pt idx="175">
                  <c:v>41479</c:v>
                </c:pt>
                <c:pt idx="176">
                  <c:v>41480</c:v>
                </c:pt>
                <c:pt idx="177">
                  <c:v>41481</c:v>
                </c:pt>
                <c:pt idx="178">
                  <c:v>41482</c:v>
                </c:pt>
                <c:pt idx="179">
                  <c:v>41484</c:v>
                </c:pt>
                <c:pt idx="180">
                  <c:v>41485</c:v>
                </c:pt>
                <c:pt idx="181">
                  <c:v>41486</c:v>
                </c:pt>
                <c:pt idx="182">
                  <c:v>41487</c:v>
                </c:pt>
                <c:pt idx="183">
                  <c:v>41488</c:v>
                </c:pt>
                <c:pt idx="184">
                  <c:v>41489</c:v>
                </c:pt>
                <c:pt idx="185">
                  <c:v>41491</c:v>
                </c:pt>
                <c:pt idx="186">
                  <c:v>41492</c:v>
                </c:pt>
                <c:pt idx="187">
                  <c:v>41493</c:v>
                </c:pt>
                <c:pt idx="188">
                  <c:v>41494</c:v>
                </c:pt>
                <c:pt idx="189">
                  <c:v>41495</c:v>
                </c:pt>
                <c:pt idx="190">
                  <c:v>41496</c:v>
                </c:pt>
                <c:pt idx="191">
                  <c:v>41498</c:v>
                </c:pt>
                <c:pt idx="192">
                  <c:v>41499</c:v>
                </c:pt>
                <c:pt idx="193">
                  <c:v>41500</c:v>
                </c:pt>
                <c:pt idx="194">
                  <c:v>41501</c:v>
                </c:pt>
                <c:pt idx="195">
                  <c:v>41502</c:v>
                </c:pt>
                <c:pt idx="196">
                  <c:v>41503</c:v>
                </c:pt>
                <c:pt idx="197">
                  <c:v>41505</c:v>
                </c:pt>
                <c:pt idx="198">
                  <c:v>41506</c:v>
                </c:pt>
                <c:pt idx="199">
                  <c:v>41507</c:v>
                </c:pt>
                <c:pt idx="200">
                  <c:v>41508</c:v>
                </c:pt>
                <c:pt idx="201">
                  <c:v>41509</c:v>
                </c:pt>
                <c:pt idx="202">
                  <c:v>41510</c:v>
                </c:pt>
                <c:pt idx="203">
                  <c:v>41512</c:v>
                </c:pt>
                <c:pt idx="204">
                  <c:v>41513</c:v>
                </c:pt>
                <c:pt idx="205">
                  <c:v>41514</c:v>
                </c:pt>
                <c:pt idx="206">
                  <c:v>41515</c:v>
                </c:pt>
                <c:pt idx="207">
                  <c:v>41516</c:v>
                </c:pt>
                <c:pt idx="208">
                  <c:v>41517</c:v>
                </c:pt>
                <c:pt idx="209">
                  <c:v>41519</c:v>
                </c:pt>
                <c:pt idx="210">
                  <c:v>41520</c:v>
                </c:pt>
                <c:pt idx="211">
                  <c:v>41521</c:v>
                </c:pt>
                <c:pt idx="212">
                  <c:v>41522</c:v>
                </c:pt>
                <c:pt idx="213">
                  <c:v>41523</c:v>
                </c:pt>
                <c:pt idx="214">
                  <c:v>41524</c:v>
                </c:pt>
                <c:pt idx="215">
                  <c:v>41526</c:v>
                </c:pt>
                <c:pt idx="216">
                  <c:v>41527</c:v>
                </c:pt>
                <c:pt idx="217">
                  <c:v>41528</c:v>
                </c:pt>
                <c:pt idx="218">
                  <c:v>41529</c:v>
                </c:pt>
                <c:pt idx="219">
                  <c:v>41530</c:v>
                </c:pt>
                <c:pt idx="220">
                  <c:v>41531</c:v>
                </c:pt>
                <c:pt idx="221">
                  <c:v>41533</c:v>
                </c:pt>
                <c:pt idx="222">
                  <c:v>41534</c:v>
                </c:pt>
                <c:pt idx="223">
                  <c:v>41535</c:v>
                </c:pt>
                <c:pt idx="224">
                  <c:v>41536</c:v>
                </c:pt>
                <c:pt idx="225">
                  <c:v>41537</c:v>
                </c:pt>
                <c:pt idx="226">
                  <c:v>41538</c:v>
                </c:pt>
                <c:pt idx="227">
                  <c:v>41540</c:v>
                </c:pt>
                <c:pt idx="228">
                  <c:v>41541</c:v>
                </c:pt>
                <c:pt idx="229">
                  <c:v>41542</c:v>
                </c:pt>
                <c:pt idx="230">
                  <c:v>41543</c:v>
                </c:pt>
                <c:pt idx="231">
                  <c:v>41544</c:v>
                </c:pt>
                <c:pt idx="232">
                  <c:v>41545</c:v>
                </c:pt>
                <c:pt idx="233">
                  <c:v>41547</c:v>
                </c:pt>
                <c:pt idx="234">
                  <c:v>41548</c:v>
                </c:pt>
                <c:pt idx="235">
                  <c:v>41549</c:v>
                </c:pt>
                <c:pt idx="236">
                  <c:v>41550</c:v>
                </c:pt>
                <c:pt idx="237">
                  <c:v>41551</c:v>
                </c:pt>
                <c:pt idx="238">
                  <c:v>41552</c:v>
                </c:pt>
                <c:pt idx="239">
                  <c:v>41554</c:v>
                </c:pt>
                <c:pt idx="240">
                  <c:v>41555</c:v>
                </c:pt>
                <c:pt idx="241">
                  <c:v>41556</c:v>
                </c:pt>
                <c:pt idx="242">
                  <c:v>41557</c:v>
                </c:pt>
                <c:pt idx="243">
                  <c:v>41558</c:v>
                </c:pt>
                <c:pt idx="244">
                  <c:v>41559</c:v>
                </c:pt>
                <c:pt idx="245">
                  <c:v>41561</c:v>
                </c:pt>
                <c:pt idx="246">
                  <c:v>41562</c:v>
                </c:pt>
                <c:pt idx="247">
                  <c:v>41563</c:v>
                </c:pt>
                <c:pt idx="248">
                  <c:v>41564</c:v>
                </c:pt>
                <c:pt idx="249">
                  <c:v>41565</c:v>
                </c:pt>
                <c:pt idx="250">
                  <c:v>41566</c:v>
                </c:pt>
                <c:pt idx="251">
                  <c:v>41568</c:v>
                </c:pt>
                <c:pt idx="252">
                  <c:v>41569</c:v>
                </c:pt>
                <c:pt idx="253">
                  <c:v>41570</c:v>
                </c:pt>
                <c:pt idx="254">
                  <c:v>41571</c:v>
                </c:pt>
                <c:pt idx="255">
                  <c:v>41572</c:v>
                </c:pt>
                <c:pt idx="256">
                  <c:v>41573</c:v>
                </c:pt>
                <c:pt idx="257">
                  <c:v>41575</c:v>
                </c:pt>
                <c:pt idx="258">
                  <c:v>41576</c:v>
                </c:pt>
                <c:pt idx="259">
                  <c:v>41577</c:v>
                </c:pt>
                <c:pt idx="260">
                  <c:v>41578</c:v>
                </c:pt>
                <c:pt idx="261">
                  <c:v>41579</c:v>
                </c:pt>
                <c:pt idx="262">
                  <c:v>41580</c:v>
                </c:pt>
                <c:pt idx="263">
                  <c:v>41582</c:v>
                </c:pt>
                <c:pt idx="264">
                  <c:v>41583</c:v>
                </c:pt>
                <c:pt idx="265">
                  <c:v>41584</c:v>
                </c:pt>
                <c:pt idx="266">
                  <c:v>41585</c:v>
                </c:pt>
                <c:pt idx="267">
                  <c:v>41586</c:v>
                </c:pt>
                <c:pt idx="268">
                  <c:v>41587</c:v>
                </c:pt>
                <c:pt idx="269">
                  <c:v>41589</c:v>
                </c:pt>
                <c:pt idx="270">
                  <c:v>41590</c:v>
                </c:pt>
                <c:pt idx="271">
                  <c:v>41591</c:v>
                </c:pt>
                <c:pt idx="272">
                  <c:v>41592</c:v>
                </c:pt>
                <c:pt idx="273">
                  <c:v>41593</c:v>
                </c:pt>
                <c:pt idx="274">
                  <c:v>41594</c:v>
                </c:pt>
                <c:pt idx="275">
                  <c:v>41596</c:v>
                </c:pt>
                <c:pt idx="276">
                  <c:v>41597</c:v>
                </c:pt>
                <c:pt idx="277">
                  <c:v>41598</c:v>
                </c:pt>
                <c:pt idx="278">
                  <c:v>41599</c:v>
                </c:pt>
                <c:pt idx="279">
                  <c:v>41600</c:v>
                </c:pt>
                <c:pt idx="280">
                  <c:v>41601</c:v>
                </c:pt>
                <c:pt idx="281">
                  <c:v>41603</c:v>
                </c:pt>
                <c:pt idx="282">
                  <c:v>41604</c:v>
                </c:pt>
                <c:pt idx="283">
                  <c:v>41605</c:v>
                </c:pt>
                <c:pt idx="284">
                  <c:v>41606</c:v>
                </c:pt>
                <c:pt idx="285">
                  <c:v>41607</c:v>
                </c:pt>
                <c:pt idx="286">
                  <c:v>41608</c:v>
                </c:pt>
                <c:pt idx="287">
                  <c:v>41610</c:v>
                </c:pt>
                <c:pt idx="288">
                  <c:v>41611</c:v>
                </c:pt>
                <c:pt idx="289">
                  <c:v>41612</c:v>
                </c:pt>
                <c:pt idx="290">
                  <c:v>41613</c:v>
                </c:pt>
                <c:pt idx="291">
                  <c:v>41614</c:v>
                </c:pt>
                <c:pt idx="292">
                  <c:v>41615</c:v>
                </c:pt>
                <c:pt idx="293">
                  <c:v>41617</c:v>
                </c:pt>
                <c:pt idx="294">
                  <c:v>41618</c:v>
                </c:pt>
                <c:pt idx="295">
                  <c:v>41619</c:v>
                </c:pt>
                <c:pt idx="296">
                  <c:v>41620</c:v>
                </c:pt>
                <c:pt idx="297">
                  <c:v>41621</c:v>
                </c:pt>
                <c:pt idx="298">
                  <c:v>41622</c:v>
                </c:pt>
                <c:pt idx="299">
                  <c:v>41624</c:v>
                </c:pt>
                <c:pt idx="300">
                  <c:v>41625</c:v>
                </c:pt>
                <c:pt idx="301">
                  <c:v>41626</c:v>
                </c:pt>
                <c:pt idx="302">
                  <c:v>41627</c:v>
                </c:pt>
                <c:pt idx="303">
                  <c:v>41628</c:v>
                </c:pt>
                <c:pt idx="304">
                  <c:v>41629</c:v>
                </c:pt>
                <c:pt idx="305">
                  <c:v>41631</c:v>
                </c:pt>
                <c:pt idx="306">
                  <c:v>41632</c:v>
                </c:pt>
                <c:pt idx="307">
                  <c:v>41633</c:v>
                </c:pt>
                <c:pt idx="308">
                  <c:v>41634</c:v>
                </c:pt>
                <c:pt idx="309">
                  <c:v>41635</c:v>
                </c:pt>
                <c:pt idx="310">
                  <c:v>41636</c:v>
                </c:pt>
                <c:pt idx="311">
                  <c:v>41638</c:v>
                </c:pt>
                <c:pt idx="312">
                  <c:v>41639</c:v>
                </c:pt>
                <c:pt idx="313">
                  <c:v>41640</c:v>
                </c:pt>
                <c:pt idx="314">
                  <c:v>41641</c:v>
                </c:pt>
                <c:pt idx="315">
                  <c:v>41642</c:v>
                </c:pt>
                <c:pt idx="316">
                  <c:v>41643</c:v>
                </c:pt>
                <c:pt idx="317">
                  <c:v>41645</c:v>
                </c:pt>
                <c:pt idx="318">
                  <c:v>41646</c:v>
                </c:pt>
                <c:pt idx="319">
                  <c:v>41647</c:v>
                </c:pt>
                <c:pt idx="320">
                  <c:v>41648</c:v>
                </c:pt>
                <c:pt idx="321">
                  <c:v>41649</c:v>
                </c:pt>
                <c:pt idx="322">
                  <c:v>41650</c:v>
                </c:pt>
                <c:pt idx="323">
                  <c:v>41652</c:v>
                </c:pt>
                <c:pt idx="324">
                  <c:v>41653</c:v>
                </c:pt>
                <c:pt idx="325">
                  <c:v>41654</c:v>
                </c:pt>
                <c:pt idx="326">
                  <c:v>41655</c:v>
                </c:pt>
                <c:pt idx="327">
                  <c:v>41656</c:v>
                </c:pt>
                <c:pt idx="328">
                  <c:v>41657</c:v>
                </c:pt>
                <c:pt idx="329">
                  <c:v>41659</c:v>
                </c:pt>
                <c:pt idx="330">
                  <c:v>41660</c:v>
                </c:pt>
                <c:pt idx="331">
                  <c:v>41661</c:v>
                </c:pt>
                <c:pt idx="332">
                  <c:v>41662</c:v>
                </c:pt>
                <c:pt idx="333">
                  <c:v>41663</c:v>
                </c:pt>
                <c:pt idx="334">
                  <c:v>41664</c:v>
                </c:pt>
                <c:pt idx="335">
                  <c:v>41666</c:v>
                </c:pt>
                <c:pt idx="336">
                  <c:v>41667</c:v>
                </c:pt>
                <c:pt idx="337">
                  <c:v>41668</c:v>
                </c:pt>
                <c:pt idx="338">
                  <c:v>41669</c:v>
                </c:pt>
                <c:pt idx="339">
                  <c:v>41670</c:v>
                </c:pt>
                <c:pt idx="340">
                  <c:v>41671</c:v>
                </c:pt>
                <c:pt idx="341">
                  <c:v>41673</c:v>
                </c:pt>
                <c:pt idx="342">
                  <c:v>41674</c:v>
                </c:pt>
                <c:pt idx="343">
                  <c:v>41675</c:v>
                </c:pt>
                <c:pt idx="344">
                  <c:v>41676</c:v>
                </c:pt>
                <c:pt idx="345">
                  <c:v>41677</c:v>
                </c:pt>
                <c:pt idx="346">
                  <c:v>41678</c:v>
                </c:pt>
                <c:pt idx="347">
                  <c:v>41680</c:v>
                </c:pt>
                <c:pt idx="348">
                  <c:v>41681</c:v>
                </c:pt>
                <c:pt idx="349">
                  <c:v>41682</c:v>
                </c:pt>
                <c:pt idx="350">
                  <c:v>41683</c:v>
                </c:pt>
                <c:pt idx="351">
                  <c:v>41684</c:v>
                </c:pt>
                <c:pt idx="352">
                  <c:v>41685</c:v>
                </c:pt>
                <c:pt idx="353">
                  <c:v>41687</c:v>
                </c:pt>
                <c:pt idx="354">
                  <c:v>41688</c:v>
                </c:pt>
                <c:pt idx="355">
                  <c:v>41689</c:v>
                </c:pt>
                <c:pt idx="356">
                  <c:v>41690</c:v>
                </c:pt>
                <c:pt idx="357">
                  <c:v>41691</c:v>
                </c:pt>
                <c:pt idx="358">
                  <c:v>41692</c:v>
                </c:pt>
                <c:pt idx="359">
                  <c:v>41694</c:v>
                </c:pt>
                <c:pt idx="360">
                  <c:v>41695</c:v>
                </c:pt>
                <c:pt idx="361">
                  <c:v>41696</c:v>
                </c:pt>
                <c:pt idx="362">
                  <c:v>41697</c:v>
                </c:pt>
                <c:pt idx="363">
                  <c:v>41698</c:v>
                </c:pt>
                <c:pt idx="364">
                  <c:v>41699</c:v>
                </c:pt>
                <c:pt idx="365">
                  <c:v>41701</c:v>
                </c:pt>
                <c:pt idx="366">
                  <c:v>41702</c:v>
                </c:pt>
                <c:pt idx="367">
                  <c:v>41703</c:v>
                </c:pt>
                <c:pt idx="368">
                  <c:v>41704</c:v>
                </c:pt>
                <c:pt idx="369">
                  <c:v>41705</c:v>
                </c:pt>
                <c:pt idx="370">
                  <c:v>41706</c:v>
                </c:pt>
                <c:pt idx="371">
                  <c:v>41708</c:v>
                </c:pt>
                <c:pt idx="372">
                  <c:v>41709</c:v>
                </c:pt>
                <c:pt idx="373">
                  <c:v>41710</c:v>
                </c:pt>
                <c:pt idx="374">
                  <c:v>41711</c:v>
                </c:pt>
                <c:pt idx="375">
                  <c:v>41712</c:v>
                </c:pt>
                <c:pt idx="376">
                  <c:v>41713</c:v>
                </c:pt>
                <c:pt idx="377">
                  <c:v>41715</c:v>
                </c:pt>
                <c:pt idx="378">
                  <c:v>41716</c:v>
                </c:pt>
                <c:pt idx="379">
                  <c:v>41717</c:v>
                </c:pt>
                <c:pt idx="380">
                  <c:v>41718</c:v>
                </c:pt>
                <c:pt idx="381">
                  <c:v>41719</c:v>
                </c:pt>
                <c:pt idx="382">
                  <c:v>41720</c:v>
                </c:pt>
                <c:pt idx="383">
                  <c:v>41722</c:v>
                </c:pt>
                <c:pt idx="384">
                  <c:v>41723</c:v>
                </c:pt>
                <c:pt idx="385">
                  <c:v>41724</c:v>
                </c:pt>
                <c:pt idx="386">
                  <c:v>41725</c:v>
                </c:pt>
                <c:pt idx="387">
                  <c:v>41726</c:v>
                </c:pt>
                <c:pt idx="388">
                  <c:v>41727</c:v>
                </c:pt>
                <c:pt idx="389">
                  <c:v>41729</c:v>
                </c:pt>
                <c:pt idx="390">
                  <c:v>41730</c:v>
                </c:pt>
                <c:pt idx="391">
                  <c:v>41731</c:v>
                </c:pt>
                <c:pt idx="392">
                  <c:v>41732</c:v>
                </c:pt>
                <c:pt idx="393">
                  <c:v>41733</c:v>
                </c:pt>
                <c:pt idx="394">
                  <c:v>41734</c:v>
                </c:pt>
                <c:pt idx="395">
                  <c:v>41736</c:v>
                </c:pt>
                <c:pt idx="396">
                  <c:v>41737</c:v>
                </c:pt>
                <c:pt idx="397">
                  <c:v>41738</c:v>
                </c:pt>
                <c:pt idx="398">
                  <c:v>41739</c:v>
                </c:pt>
                <c:pt idx="399">
                  <c:v>41740</c:v>
                </c:pt>
                <c:pt idx="400">
                  <c:v>41741</c:v>
                </c:pt>
                <c:pt idx="401">
                  <c:v>41743</c:v>
                </c:pt>
                <c:pt idx="402">
                  <c:v>41744</c:v>
                </c:pt>
                <c:pt idx="403">
                  <c:v>41745</c:v>
                </c:pt>
                <c:pt idx="404">
                  <c:v>41746</c:v>
                </c:pt>
                <c:pt idx="405">
                  <c:v>41747</c:v>
                </c:pt>
                <c:pt idx="406">
                  <c:v>41748</c:v>
                </c:pt>
                <c:pt idx="407">
                  <c:v>41750</c:v>
                </c:pt>
                <c:pt idx="408">
                  <c:v>41751</c:v>
                </c:pt>
                <c:pt idx="409">
                  <c:v>41752</c:v>
                </c:pt>
                <c:pt idx="410">
                  <c:v>41753</c:v>
                </c:pt>
                <c:pt idx="411">
                  <c:v>41754</c:v>
                </c:pt>
                <c:pt idx="412">
                  <c:v>41755</c:v>
                </c:pt>
                <c:pt idx="413">
                  <c:v>41757</c:v>
                </c:pt>
                <c:pt idx="414">
                  <c:v>41758</c:v>
                </c:pt>
                <c:pt idx="415">
                  <c:v>41759</c:v>
                </c:pt>
                <c:pt idx="416">
                  <c:v>41760</c:v>
                </c:pt>
                <c:pt idx="417">
                  <c:v>41761</c:v>
                </c:pt>
                <c:pt idx="418">
                  <c:v>41762</c:v>
                </c:pt>
                <c:pt idx="419">
                  <c:v>41764</c:v>
                </c:pt>
                <c:pt idx="420">
                  <c:v>41765</c:v>
                </c:pt>
                <c:pt idx="421">
                  <c:v>41766</c:v>
                </c:pt>
                <c:pt idx="422">
                  <c:v>41767</c:v>
                </c:pt>
                <c:pt idx="423">
                  <c:v>41768</c:v>
                </c:pt>
                <c:pt idx="424">
                  <c:v>41769</c:v>
                </c:pt>
                <c:pt idx="425">
                  <c:v>41771</c:v>
                </c:pt>
                <c:pt idx="426">
                  <c:v>41772</c:v>
                </c:pt>
                <c:pt idx="427">
                  <c:v>41773</c:v>
                </c:pt>
                <c:pt idx="428">
                  <c:v>41774</c:v>
                </c:pt>
                <c:pt idx="429">
                  <c:v>41775</c:v>
                </c:pt>
                <c:pt idx="430">
                  <c:v>41776</c:v>
                </c:pt>
                <c:pt idx="431">
                  <c:v>41778</c:v>
                </c:pt>
                <c:pt idx="432">
                  <c:v>41779</c:v>
                </c:pt>
                <c:pt idx="433">
                  <c:v>41780</c:v>
                </c:pt>
                <c:pt idx="434">
                  <c:v>41781</c:v>
                </c:pt>
                <c:pt idx="435">
                  <c:v>41782</c:v>
                </c:pt>
                <c:pt idx="436">
                  <c:v>41783</c:v>
                </c:pt>
                <c:pt idx="437">
                  <c:v>41785</c:v>
                </c:pt>
                <c:pt idx="438">
                  <c:v>41786</c:v>
                </c:pt>
                <c:pt idx="439">
                  <c:v>41787</c:v>
                </c:pt>
                <c:pt idx="440">
                  <c:v>41788</c:v>
                </c:pt>
                <c:pt idx="441">
                  <c:v>41789</c:v>
                </c:pt>
                <c:pt idx="442">
                  <c:v>41790</c:v>
                </c:pt>
                <c:pt idx="443">
                  <c:v>41792</c:v>
                </c:pt>
                <c:pt idx="444">
                  <c:v>41793</c:v>
                </c:pt>
                <c:pt idx="445">
                  <c:v>41794</c:v>
                </c:pt>
                <c:pt idx="446">
                  <c:v>41795</c:v>
                </c:pt>
                <c:pt idx="447">
                  <c:v>41796</c:v>
                </c:pt>
                <c:pt idx="448">
                  <c:v>41797</c:v>
                </c:pt>
                <c:pt idx="449">
                  <c:v>41799</c:v>
                </c:pt>
                <c:pt idx="450">
                  <c:v>41800</c:v>
                </c:pt>
                <c:pt idx="451">
                  <c:v>41801</c:v>
                </c:pt>
                <c:pt idx="452">
                  <c:v>41802</c:v>
                </c:pt>
                <c:pt idx="453">
                  <c:v>41803</c:v>
                </c:pt>
                <c:pt idx="454">
                  <c:v>41804</c:v>
                </c:pt>
                <c:pt idx="455">
                  <c:v>41806</c:v>
                </c:pt>
                <c:pt idx="456">
                  <c:v>41807</c:v>
                </c:pt>
                <c:pt idx="457">
                  <c:v>41808</c:v>
                </c:pt>
                <c:pt idx="458">
                  <c:v>41809</c:v>
                </c:pt>
                <c:pt idx="459">
                  <c:v>41810</c:v>
                </c:pt>
                <c:pt idx="460">
                  <c:v>41811</c:v>
                </c:pt>
                <c:pt idx="461">
                  <c:v>41813</c:v>
                </c:pt>
                <c:pt idx="462">
                  <c:v>41814</c:v>
                </c:pt>
                <c:pt idx="463">
                  <c:v>41815</c:v>
                </c:pt>
                <c:pt idx="464">
                  <c:v>41816</c:v>
                </c:pt>
                <c:pt idx="465">
                  <c:v>41817</c:v>
                </c:pt>
                <c:pt idx="466">
                  <c:v>41818</c:v>
                </c:pt>
                <c:pt idx="467">
                  <c:v>41820</c:v>
                </c:pt>
                <c:pt idx="468">
                  <c:v>41821</c:v>
                </c:pt>
                <c:pt idx="469">
                  <c:v>41822</c:v>
                </c:pt>
                <c:pt idx="470">
                  <c:v>41823</c:v>
                </c:pt>
                <c:pt idx="471">
                  <c:v>41824</c:v>
                </c:pt>
                <c:pt idx="472">
                  <c:v>41825</c:v>
                </c:pt>
                <c:pt idx="473">
                  <c:v>41827</c:v>
                </c:pt>
                <c:pt idx="474">
                  <c:v>41828</c:v>
                </c:pt>
                <c:pt idx="475">
                  <c:v>41829</c:v>
                </c:pt>
                <c:pt idx="476">
                  <c:v>41830</c:v>
                </c:pt>
                <c:pt idx="477">
                  <c:v>41831</c:v>
                </c:pt>
                <c:pt idx="478">
                  <c:v>41832</c:v>
                </c:pt>
                <c:pt idx="479">
                  <c:v>41834</c:v>
                </c:pt>
                <c:pt idx="480">
                  <c:v>41835</c:v>
                </c:pt>
                <c:pt idx="481">
                  <c:v>41836</c:v>
                </c:pt>
                <c:pt idx="482">
                  <c:v>41837</c:v>
                </c:pt>
                <c:pt idx="483">
                  <c:v>41838</c:v>
                </c:pt>
                <c:pt idx="484">
                  <c:v>41839</c:v>
                </c:pt>
                <c:pt idx="485">
                  <c:v>41841</c:v>
                </c:pt>
                <c:pt idx="486">
                  <c:v>41842</c:v>
                </c:pt>
                <c:pt idx="487">
                  <c:v>41843</c:v>
                </c:pt>
                <c:pt idx="488">
                  <c:v>41844</c:v>
                </c:pt>
                <c:pt idx="489">
                  <c:v>41845</c:v>
                </c:pt>
                <c:pt idx="490">
                  <c:v>41846</c:v>
                </c:pt>
                <c:pt idx="491">
                  <c:v>41848</c:v>
                </c:pt>
                <c:pt idx="492">
                  <c:v>41849</c:v>
                </c:pt>
                <c:pt idx="493">
                  <c:v>41850</c:v>
                </c:pt>
                <c:pt idx="494">
                  <c:v>41851</c:v>
                </c:pt>
                <c:pt idx="495">
                  <c:v>41852</c:v>
                </c:pt>
                <c:pt idx="496">
                  <c:v>41853</c:v>
                </c:pt>
                <c:pt idx="497">
                  <c:v>41855</c:v>
                </c:pt>
                <c:pt idx="498">
                  <c:v>41856</c:v>
                </c:pt>
                <c:pt idx="499">
                  <c:v>41857</c:v>
                </c:pt>
                <c:pt idx="500">
                  <c:v>41858</c:v>
                </c:pt>
                <c:pt idx="501">
                  <c:v>41859</c:v>
                </c:pt>
                <c:pt idx="502">
                  <c:v>41860</c:v>
                </c:pt>
                <c:pt idx="503">
                  <c:v>41862</c:v>
                </c:pt>
                <c:pt idx="504">
                  <c:v>41863</c:v>
                </c:pt>
                <c:pt idx="505">
                  <c:v>41864</c:v>
                </c:pt>
                <c:pt idx="506">
                  <c:v>41865</c:v>
                </c:pt>
                <c:pt idx="507">
                  <c:v>41866</c:v>
                </c:pt>
                <c:pt idx="508">
                  <c:v>41867</c:v>
                </c:pt>
                <c:pt idx="509">
                  <c:v>41869</c:v>
                </c:pt>
                <c:pt idx="510">
                  <c:v>41870</c:v>
                </c:pt>
                <c:pt idx="511">
                  <c:v>41871</c:v>
                </c:pt>
                <c:pt idx="512">
                  <c:v>41872</c:v>
                </c:pt>
                <c:pt idx="513">
                  <c:v>41873</c:v>
                </c:pt>
                <c:pt idx="514">
                  <c:v>41874</c:v>
                </c:pt>
                <c:pt idx="515">
                  <c:v>41876</c:v>
                </c:pt>
                <c:pt idx="516">
                  <c:v>41877</c:v>
                </c:pt>
                <c:pt idx="517">
                  <c:v>41878</c:v>
                </c:pt>
                <c:pt idx="518">
                  <c:v>41879</c:v>
                </c:pt>
                <c:pt idx="519">
                  <c:v>41880</c:v>
                </c:pt>
                <c:pt idx="520">
                  <c:v>41881</c:v>
                </c:pt>
                <c:pt idx="521">
                  <c:v>41883</c:v>
                </c:pt>
                <c:pt idx="522">
                  <c:v>41884</c:v>
                </c:pt>
                <c:pt idx="523">
                  <c:v>41885</c:v>
                </c:pt>
                <c:pt idx="524">
                  <c:v>41886</c:v>
                </c:pt>
                <c:pt idx="525">
                  <c:v>41887</c:v>
                </c:pt>
                <c:pt idx="526">
                  <c:v>41888</c:v>
                </c:pt>
                <c:pt idx="527">
                  <c:v>41890</c:v>
                </c:pt>
                <c:pt idx="528">
                  <c:v>41891</c:v>
                </c:pt>
                <c:pt idx="529">
                  <c:v>41892</c:v>
                </c:pt>
                <c:pt idx="530">
                  <c:v>41893</c:v>
                </c:pt>
                <c:pt idx="531">
                  <c:v>41894</c:v>
                </c:pt>
                <c:pt idx="532">
                  <c:v>41895</c:v>
                </c:pt>
                <c:pt idx="533">
                  <c:v>41897</c:v>
                </c:pt>
                <c:pt idx="534">
                  <c:v>41898</c:v>
                </c:pt>
                <c:pt idx="535">
                  <c:v>41899</c:v>
                </c:pt>
                <c:pt idx="536">
                  <c:v>41900</c:v>
                </c:pt>
                <c:pt idx="537">
                  <c:v>41901</c:v>
                </c:pt>
                <c:pt idx="538">
                  <c:v>41902</c:v>
                </c:pt>
                <c:pt idx="539">
                  <c:v>41904</c:v>
                </c:pt>
                <c:pt idx="540">
                  <c:v>41905</c:v>
                </c:pt>
                <c:pt idx="541">
                  <c:v>41906</c:v>
                </c:pt>
                <c:pt idx="542">
                  <c:v>41907</c:v>
                </c:pt>
                <c:pt idx="543">
                  <c:v>41908</c:v>
                </c:pt>
                <c:pt idx="544">
                  <c:v>41909</c:v>
                </c:pt>
                <c:pt idx="545">
                  <c:v>41911</c:v>
                </c:pt>
                <c:pt idx="546">
                  <c:v>41912</c:v>
                </c:pt>
                <c:pt idx="547">
                  <c:v>41913</c:v>
                </c:pt>
                <c:pt idx="548">
                  <c:v>41914</c:v>
                </c:pt>
                <c:pt idx="549">
                  <c:v>41915</c:v>
                </c:pt>
                <c:pt idx="550">
                  <c:v>41916</c:v>
                </c:pt>
                <c:pt idx="551">
                  <c:v>41918</c:v>
                </c:pt>
                <c:pt idx="552">
                  <c:v>41919</c:v>
                </c:pt>
                <c:pt idx="553">
                  <c:v>41920</c:v>
                </c:pt>
                <c:pt idx="554">
                  <c:v>41921</c:v>
                </c:pt>
                <c:pt idx="555">
                  <c:v>41922</c:v>
                </c:pt>
                <c:pt idx="556">
                  <c:v>41923</c:v>
                </c:pt>
                <c:pt idx="557">
                  <c:v>41925</c:v>
                </c:pt>
                <c:pt idx="558">
                  <c:v>41926</c:v>
                </c:pt>
                <c:pt idx="559">
                  <c:v>41927</c:v>
                </c:pt>
                <c:pt idx="560">
                  <c:v>41928</c:v>
                </c:pt>
                <c:pt idx="561">
                  <c:v>41929</c:v>
                </c:pt>
                <c:pt idx="562">
                  <c:v>41930</c:v>
                </c:pt>
                <c:pt idx="563">
                  <c:v>41932</c:v>
                </c:pt>
                <c:pt idx="564">
                  <c:v>41933</c:v>
                </c:pt>
                <c:pt idx="565">
                  <c:v>41934</c:v>
                </c:pt>
                <c:pt idx="566">
                  <c:v>41935</c:v>
                </c:pt>
                <c:pt idx="567">
                  <c:v>41936</c:v>
                </c:pt>
                <c:pt idx="568">
                  <c:v>41937</c:v>
                </c:pt>
                <c:pt idx="569">
                  <c:v>41939</c:v>
                </c:pt>
                <c:pt idx="570">
                  <c:v>41940</c:v>
                </c:pt>
                <c:pt idx="571">
                  <c:v>41941</c:v>
                </c:pt>
                <c:pt idx="572">
                  <c:v>41942</c:v>
                </c:pt>
                <c:pt idx="573">
                  <c:v>41943</c:v>
                </c:pt>
                <c:pt idx="574">
                  <c:v>41944</c:v>
                </c:pt>
                <c:pt idx="575">
                  <c:v>41946</c:v>
                </c:pt>
                <c:pt idx="576">
                  <c:v>41947</c:v>
                </c:pt>
                <c:pt idx="577">
                  <c:v>41948</c:v>
                </c:pt>
                <c:pt idx="578">
                  <c:v>41949</c:v>
                </c:pt>
                <c:pt idx="579">
                  <c:v>41950</c:v>
                </c:pt>
                <c:pt idx="580">
                  <c:v>41951</c:v>
                </c:pt>
                <c:pt idx="581">
                  <c:v>41953</c:v>
                </c:pt>
                <c:pt idx="582">
                  <c:v>41954</c:v>
                </c:pt>
                <c:pt idx="583">
                  <c:v>41955</c:v>
                </c:pt>
                <c:pt idx="584">
                  <c:v>41956</c:v>
                </c:pt>
                <c:pt idx="585">
                  <c:v>41957</c:v>
                </c:pt>
                <c:pt idx="586">
                  <c:v>41958</c:v>
                </c:pt>
                <c:pt idx="587">
                  <c:v>41960</c:v>
                </c:pt>
                <c:pt idx="588">
                  <c:v>41961</c:v>
                </c:pt>
                <c:pt idx="589">
                  <c:v>41962</c:v>
                </c:pt>
                <c:pt idx="590">
                  <c:v>41963</c:v>
                </c:pt>
                <c:pt idx="591">
                  <c:v>41964</c:v>
                </c:pt>
                <c:pt idx="592">
                  <c:v>41965</c:v>
                </c:pt>
                <c:pt idx="593">
                  <c:v>41967</c:v>
                </c:pt>
                <c:pt idx="594">
                  <c:v>41968</c:v>
                </c:pt>
                <c:pt idx="595">
                  <c:v>41969</c:v>
                </c:pt>
                <c:pt idx="596">
                  <c:v>41970</c:v>
                </c:pt>
                <c:pt idx="597">
                  <c:v>41971</c:v>
                </c:pt>
                <c:pt idx="598">
                  <c:v>41972</c:v>
                </c:pt>
                <c:pt idx="599">
                  <c:v>41974</c:v>
                </c:pt>
                <c:pt idx="600">
                  <c:v>41975</c:v>
                </c:pt>
                <c:pt idx="601">
                  <c:v>41976</c:v>
                </c:pt>
                <c:pt idx="602">
                  <c:v>41977</c:v>
                </c:pt>
                <c:pt idx="603">
                  <c:v>41978</c:v>
                </c:pt>
                <c:pt idx="604">
                  <c:v>41979</c:v>
                </c:pt>
                <c:pt idx="605">
                  <c:v>41981</c:v>
                </c:pt>
                <c:pt idx="606">
                  <c:v>41982</c:v>
                </c:pt>
                <c:pt idx="607">
                  <c:v>41983</c:v>
                </c:pt>
                <c:pt idx="608">
                  <c:v>41984</c:v>
                </c:pt>
                <c:pt idx="609">
                  <c:v>41985</c:v>
                </c:pt>
                <c:pt idx="610">
                  <c:v>41986</c:v>
                </c:pt>
                <c:pt idx="611">
                  <c:v>41988</c:v>
                </c:pt>
                <c:pt idx="612">
                  <c:v>41989</c:v>
                </c:pt>
                <c:pt idx="613">
                  <c:v>41990</c:v>
                </c:pt>
                <c:pt idx="614">
                  <c:v>41991</c:v>
                </c:pt>
                <c:pt idx="615">
                  <c:v>41992</c:v>
                </c:pt>
                <c:pt idx="616">
                  <c:v>41993</c:v>
                </c:pt>
                <c:pt idx="617">
                  <c:v>41995</c:v>
                </c:pt>
                <c:pt idx="618">
                  <c:v>41996</c:v>
                </c:pt>
                <c:pt idx="619">
                  <c:v>41997</c:v>
                </c:pt>
                <c:pt idx="620">
                  <c:v>41998</c:v>
                </c:pt>
              </c:numCache>
            </c:numRef>
          </c:xVal>
          <c:yVal>
            <c:numRef>
              <c:f>Cass_Bottle_Daily!$B$941:$B$1561</c:f>
              <c:numCache>
                <c:formatCode>_(* #,##0_);_(* \(#,##0\);_(* "-"_);_(@_)</c:formatCode>
                <c:ptCount val="621"/>
                <c:pt idx="0">
                  <c:v>38143.642</c:v>
                </c:pt>
                <c:pt idx="1">
                  <c:v>243372.96</c:v>
                </c:pt>
                <c:pt idx="2">
                  <c:v>167782.32799999998</c:v>
                </c:pt>
                <c:pt idx="3">
                  <c:v>147118.372</c:v>
                </c:pt>
                <c:pt idx="4">
                  <c:v>10366.748000000012</c:v>
                </c:pt>
                <c:pt idx="5">
                  <c:v>146579.902</c:v>
                </c:pt>
                <c:pt idx="6">
                  <c:v>134037.736</c:v>
                </c:pt>
                <c:pt idx="7">
                  <c:v>99488.06</c:v>
                </c:pt>
                <c:pt idx="8">
                  <c:v>99873.876000000004</c:v>
                </c:pt>
                <c:pt idx="9">
                  <c:v>149911.36599999998</c:v>
                </c:pt>
                <c:pt idx="10">
                  <c:v>7731.2520000000004</c:v>
                </c:pt>
                <c:pt idx="11">
                  <c:v>135067.07999999999</c:v>
                </c:pt>
                <c:pt idx="12">
                  <c:v>134537.92799999999</c:v>
                </c:pt>
                <c:pt idx="13">
                  <c:v>104575.96199999997</c:v>
                </c:pt>
                <c:pt idx="14">
                  <c:v>125878.238</c:v>
                </c:pt>
                <c:pt idx="15">
                  <c:v>115831.81</c:v>
                </c:pt>
                <c:pt idx="16">
                  <c:v>6572.2439999999997</c:v>
                </c:pt>
                <c:pt idx="17">
                  <c:v>137541.274</c:v>
                </c:pt>
                <c:pt idx="18">
                  <c:v>132687.11199999999</c:v>
                </c:pt>
                <c:pt idx="19">
                  <c:v>103370.39599999999</c:v>
                </c:pt>
                <c:pt idx="20">
                  <c:v>126483.632</c:v>
                </c:pt>
                <c:pt idx="21">
                  <c:v>127615.96199999997</c:v>
                </c:pt>
                <c:pt idx="22">
                  <c:v>7031.7</c:v>
                </c:pt>
                <c:pt idx="23">
                  <c:v>126565.51</c:v>
                </c:pt>
                <c:pt idx="24">
                  <c:v>116701.43799999997</c:v>
                </c:pt>
                <c:pt idx="25">
                  <c:v>96510.43</c:v>
                </c:pt>
                <c:pt idx="26">
                  <c:v>59803.906000000003</c:v>
                </c:pt>
                <c:pt idx="27">
                  <c:v>244548.57</c:v>
                </c:pt>
                <c:pt idx="28">
                  <c:v>28721.723999999998</c:v>
                </c:pt>
                <c:pt idx="29">
                  <c:v>187438.03599999999</c:v>
                </c:pt>
                <c:pt idx="30">
                  <c:v>192776.552</c:v>
                </c:pt>
                <c:pt idx="31">
                  <c:v>173210.42599999998</c:v>
                </c:pt>
                <c:pt idx="32">
                  <c:v>179688.32799999998</c:v>
                </c:pt>
                <c:pt idx="33">
                  <c:v>120534.89599999999</c:v>
                </c:pt>
                <c:pt idx="34">
                  <c:v>3360.576</c:v>
                </c:pt>
                <c:pt idx="36">
                  <c:v>123645.728</c:v>
                </c:pt>
                <c:pt idx="37">
                  <c:v>118801.152</c:v>
                </c:pt>
                <c:pt idx="38">
                  <c:v>117076.224</c:v>
                </c:pt>
                <c:pt idx="39">
                  <c:v>113771.48</c:v>
                </c:pt>
                <c:pt idx="40">
                  <c:v>7904.46</c:v>
                </c:pt>
                <c:pt idx="41">
                  <c:v>116007.55</c:v>
                </c:pt>
                <c:pt idx="42">
                  <c:v>118738.636</c:v>
                </c:pt>
                <c:pt idx="43">
                  <c:v>95640.136000000013</c:v>
                </c:pt>
                <c:pt idx="44">
                  <c:v>135387.56</c:v>
                </c:pt>
                <c:pt idx="45">
                  <c:v>123430.488</c:v>
                </c:pt>
                <c:pt idx="46">
                  <c:v>7047.8680000000004</c:v>
                </c:pt>
                <c:pt idx="47">
                  <c:v>131055.45999999999</c:v>
                </c:pt>
                <c:pt idx="48">
                  <c:v>123035.98599999999</c:v>
                </c:pt>
                <c:pt idx="49">
                  <c:v>114517.41800000001</c:v>
                </c:pt>
                <c:pt idx="50">
                  <c:v>81183.388000000006</c:v>
                </c:pt>
                <c:pt idx="51">
                  <c:v>138165.37</c:v>
                </c:pt>
                <c:pt idx="52">
                  <c:v>15165.108</c:v>
                </c:pt>
                <c:pt idx="53">
                  <c:v>223147.30799999999</c:v>
                </c:pt>
                <c:pt idx="54">
                  <c:v>170342.38199999958</c:v>
                </c:pt>
                <c:pt idx="55">
                  <c:v>130806.106</c:v>
                </c:pt>
                <c:pt idx="56">
                  <c:v>130224.734</c:v>
                </c:pt>
                <c:pt idx="57">
                  <c:v>149933.342</c:v>
                </c:pt>
                <c:pt idx="58">
                  <c:v>10287.969999999961</c:v>
                </c:pt>
                <c:pt idx="59">
                  <c:v>145919.06599999999</c:v>
                </c:pt>
                <c:pt idx="60">
                  <c:v>142051.962</c:v>
                </c:pt>
                <c:pt idx="61">
                  <c:v>110908.3</c:v>
                </c:pt>
                <c:pt idx="62">
                  <c:v>148400.842</c:v>
                </c:pt>
                <c:pt idx="63">
                  <c:v>144571.37</c:v>
                </c:pt>
                <c:pt idx="64">
                  <c:v>10955.21200000001</c:v>
                </c:pt>
                <c:pt idx="65">
                  <c:v>144397.01</c:v>
                </c:pt>
                <c:pt idx="66">
                  <c:v>140908.71600000001</c:v>
                </c:pt>
                <c:pt idx="67">
                  <c:v>104698.20600000001</c:v>
                </c:pt>
                <c:pt idx="68">
                  <c:v>153735.46399999998</c:v>
                </c:pt>
                <c:pt idx="69">
                  <c:v>138403.416</c:v>
                </c:pt>
                <c:pt idx="70">
                  <c:v>8365.0840000000007</c:v>
                </c:pt>
                <c:pt idx="71">
                  <c:v>140781.6</c:v>
                </c:pt>
                <c:pt idx="72">
                  <c:v>140256.19200000001</c:v>
                </c:pt>
                <c:pt idx="73">
                  <c:v>107268.98999999999</c:v>
                </c:pt>
                <c:pt idx="74">
                  <c:v>119582.894</c:v>
                </c:pt>
                <c:pt idx="75">
                  <c:v>83856.259999999995</c:v>
                </c:pt>
                <c:pt idx="76">
                  <c:v>4400.848</c:v>
                </c:pt>
                <c:pt idx="77">
                  <c:v>259033.17600000001</c:v>
                </c:pt>
                <c:pt idx="78">
                  <c:v>185536.598</c:v>
                </c:pt>
                <c:pt idx="79">
                  <c:v>140935.36199999962</c:v>
                </c:pt>
                <c:pt idx="80">
                  <c:v>154683.77200000011</c:v>
                </c:pt>
                <c:pt idx="81">
                  <c:v>154881.258</c:v>
                </c:pt>
                <c:pt idx="82">
                  <c:v>6064.2960000000003</c:v>
                </c:pt>
                <c:pt idx="83">
                  <c:v>124465.114</c:v>
                </c:pt>
                <c:pt idx="84">
                  <c:v>127064.514</c:v>
                </c:pt>
                <c:pt idx="85">
                  <c:v>91914.541999999972</c:v>
                </c:pt>
                <c:pt idx="86">
                  <c:v>163458.79</c:v>
                </c:pt>
                <c:pt idx="87">
                  <c:v>138763.89799999999</c:v>
                </c:pt>
                <c:pt idx="88">
                  <c:v>6875.8600000000024</c:v>
                </c:pt>
                <c:pt idx="89">
                  <c:v>135362.27200000011</c:v>
                </c:pt>
                <c:pt idx="90">
                  <c:v>145143.20800000001</c:v>
                </c:pt>
                <c:pt idx="91">
                  <c:v>115451.34199999999</c:v>
                </c:pt>
                <c:pt idx="92">
                  <c:v>140867.48799999998</c:v>
                </c:pt>
                <c:pt idx="93">
                  <c:v>134609.992</c:v>
                </c:pt>
                <c:pt idx="94">
                  <c:v>7747.6920000000118</c:v>
                </c:pt>
                <c:pt idx="95">
                  <c:v>169356.02399999998</c:v>
                </c:pt>
                <c:pt idx="96">
                  <c:v>134710.49</c:v>
                </c:pt>
                <c:pt idx="97">
                  <c:v>122066.04199999999</c:v>
                </c:pt>
                <c:pt idx="98">
                  <c:v>131268.22</c:v>
                </c:pt>
                <c:pt idx="99">
                  <c:v>139416.16399999999</c:v>
                </c:pt>
                <c:pt idx="100">
                  <c:v>7651.7879999999996</c:v>
                </c:pt>
                <c:pt idx="101">
                  <c:v>118346.04399999997</c:v>
                </c:pt>
                <c:pt idx="102">
                  <c:v>59831.99</c:v>
                </c:pt>
                <c:pt idx="103">
                  <c:v>266717.41600000008</c:v>
                </c:pt>
                <c:pt idx="104">
                  <c:v>203958.95199999958</c:v>
                </c:pt>
                <c:pt idx="105">
                  <c:v>194493.788</c:v>
                </c:pt>
                <c:pt idx="106">
                  <c:v>11975.334000000004</c:v>
                </c:pt>
                <c:pt idx="107">
                  <c:v>163641.99</c:v>
                </c:pt>
                <c:pt idx="108">
                  <c:v>148466.962</c:v>
                </c:pt>
                <c:pt idx="109">
                  <c:v>132892.26</c:v>
                </c:pt>
                <c:pt idx="110">
                  <c:v>158056.84599999999</c:v>
                </c:pt>
                <c:pt idx="111">
                  <c:v>122686.61599999999</c:v>
                </c:pt>
                <c:pt idx="112">
                  <c:v>11150.308000000001</c:v>
                </c:pt>
                <c:pt idx="113">
                  <c:v>193235.06</c:v>
                </c:pt>
                <c:pt idx="114">
                  <c:v>189746.33599999998</c:v>
                </c:pt>
                <c:pt idx="115">
                  <c:v>183849.26199999999</c:v>
                </c:pt>
                <c:pt idx="116">
                  <c:v>206524.50399999999</c:v>
                </c:pt>
                <c:pt idx="117">
                  <c:v>62207.362000000001</c:v>
                </c:pt>
                <c:pt idx="118">
                  <c:v>8877.4159999999556</c:v>
                </c:pt>
                <c:pt idx="119">
                  <c:v>181151.67600000001</c:v>
                </c:pt>
                <c:pt idx="120">
                  <c:v>198737.98199999955</c:v>
                </c:pt>
                <c:pt idx="121">
                  <c:v>139361.54199999999</c:v>
                </c:pt>
                <c:pt idx="122">
                  <c:v>159955.08599999998</c:v>
                </c:pt>
                <c:pt idx="123">
                  <c:v>167859.318</c:v>
                </c:pt>
                <c:pt idx="124">
                  <c:v>11201.740000000014</c:v>
                </c:pt>
                <c:pt idx="125">
                  <c:v>164953.95199999958</c:v>
                </c:pt>
                <c:pt idx="126">
                  <c:v>152072.09599999999</c:v>
                </c:pt>
                <c:pt idx="127">
                  <c:v>129321.67600000002</c:v>
                </c:pt>
                <c:pt idx="128">
                  <c:v>149626.05799999999</c:v>
                </c:pt>
                <c:pt idx="129">
                  <c:v>83589.919999999998</c:v>
                </c:pt>
                <c:pt idx="130">
                  <c:v>69523.717999999979</c:v>
                </c:pt>
                <c:pt idx="131">
                  <c:v>289107.32199999999</c:v>
                </c:pt>
                <c:pt idx="132">
                  <c:v>232234.78200000001</c:v>
                </c:pt>
                <c:pt idx="133">
                  <c:v>223505.25200000001</c:v>
                </c:pt>
                <c:pt idx="134">
                  <c:v>49873.9</c:v>
                </c:pt>
                <c:pt idx="135">
                  <c:v>209065.31999999998</c:v>
                </c:pt>
                <c:pt idx="136">
                  <c:v>15797.369999999959</c:v>
                </c:pt>
                <c:pt idx="137">
                  <c:v>209591.38399999958</c:v>
                </c:pt>
                <c:pt idx="138">
                  <c:v>228273.92399999968</c:v>
                </c:pt>
                <c:pt idx="139">
                  <c:v>155504.236</c:v>
                </c:pt>
                <c:pt idx="140">
                  <c:v>185164.70600000001</c:v>
                </c:pt>
                <c:pt idx="141">
                  <c:v>196962.408</c:v>
                </c:pt>
                <c:pt idx="142">
                  <c:v>13678.183999999987</c:v>
                </c:pt>
                <c:pt idx="143">
                  <c:v>203359.01199999999</c:v>
                </c:pt>
                <c:pt idx="144">
                  <c:v>155971.70600000001</c:v>
                </c:pt>
                <c:pt idx="145">
                  <c:v>159595.05599999998</c:v>
                </c:pt>
                <c:pt idx="146">
                  <c:v>164957.18799999999</c:v>
                </c:pt>
                <c:pt idx="147">
                  <c:v>213837.57</c:v>
                </c:pt>
                <c:pt idx="148">
                  <c:v>11933.602000000004</c:v>
                </c:pt>
                <c:pt idx="149">
                  <c:v>195991.72200000001</c:v>
                </c:pt>
                <c:pt idx="150">
                  <c:v>178846.01199999999</c:v>
                </c:pt>
                <c:pt idx="151">
                  <c:v>146294.03399999999</c:v>
                </c:pt>
                <c:pt idx="152">
                  <c:v>170777.446</c:v>
                </c:pt>
                <c:pt idx="153">
                  <c:v>120469.788</c:v>
                </c:pt>
                <c:pt idx="154">
                  <c:v>9618.9320000000007</c:v>
                </c:pt>
                <c:pt idx="155">
                  <c:v>304119.42800000001</c:v>
                </c:pt>
                <c:pt idx="156">
                  <c:v>210857.51800000001</c:v>
                </c:pt>
                <c:pt idx="157">
                  <c:v>181578.82799999998</c:v>
                </c:pt>
                <c:pt idx="158">
                  <c:v>195850.508</c:v>
                </c:pt>
                <c:pt idx="159">
                  <c:v>188767.28</c:v>
                </c:pt>
                <c:pt idx="160">
                  <c:v>9988.2400000000089</c:v>
                </c:pt>
                <c:pt idx="161">
                  <c:v>200303.872</c:v>
                </c:pt>
                <c:pt idx="162">
                  <c:v>178580.61600000001</c:v>
                </c:pt>
                <c:pt idx="163">
                  <c:v>154463.046</c:v>
                </c:pt>
                <c:pt idx="164">
                  <c:v>205473.27000000011</c:v>
                </c:pt>
                <c:pt idx="165">
                  <c:v>190975.83</c:v>
                </c:pt>
                <c:pt idx="166">
                  <c:v>17306.937999999998</c:v>
                </c:pt>
                <c:pt idx="167">
                  <c:v>207443.23199999999</c:v>
                </c:pt>
                <c:pt idx="168">
                  <c:v>197973.10399999999</c:v>
                </c:pt>
                <c:pt idx="169">
                  <c:v>162025.54800000001</c:v>
                </c:pt>
                <c:pt idx="170">
                  <c:v>178705.16399999999</c:v>
                </c:pt>
                <c:pt idx="171">
                  <c:v>197763.98399999968</c:v>
                </c:pt>
                <c:pt idx="172">
                  <c:v>14372.084000000004</c:v>
                </c:pt>
                <c:pt idx="173">
                  <c:v>220062.37999999998</c:v>
                </c:pt>
                <c:pt idx="174">
                  <c:v>191353.13200000001</c:v>
                </c:pt>
                <c:pt idx="175">
                  <c:v>176944.61199999999</c:v>
                </c:pt>
                <c:pt idx="176">
                  <c:v>202137.68799999999</c:v>
                </c:pt>
                <c:pt idx="177">
                  <c:v>195223.17800000001</c:v>
                </c:pt>
                <c:pt idx="178">
                  <c:v>12956.828</c:v>
                </c:pt>
                <c:pt idx="179">
                  <c:v>191596.37999999998</c:v>
                </c:pt>
                <c:pt idx="180">
                  <c:v>181148.83199999965</c:v>
                </c:pt>
                <c:pt idx="181">
                  <c:v>118005.37800000008</c:v>
                </c:pt>
                <c:pt idx="182">
                  <c:v>341312.66</c:v>
                </c:pt>
                <c:pt idx="183">
                  <c:v>248707.45599999998</c:v>
                </c:pt>
                <c:pt idx="184">
                  <c:v>18651.644</c:v>
                </c:pt>
                <c:pt idx="185">
                  <c:v>149443.26999999999</c:v>
                </c:pt>
                <c:pt idx="186">
                  <c:v>175964.06</c:v>
                </c:pt>
                <c:pt idx="187">
                  <c:v>207171.71800000011</c:v>
                </c:pt>
                <c:pt idx="188">
                  <c:v>195288.576</c:v>
                </c:pt>
                <c:pt idx="189">
                  <c:v>180935.022</c:v>
                </c:pt>
                <c:pt idx="190">
                  <c:v>12134.892</c:v>
                </c:pt>
                <c:pt idx="191">
                  <c:v>224254.40599999999</c:v>
                </c:pt>
                <c:pt idx="192">
                  <c:v>239400.08599999998</c:v>
                </c:pt>
                <c:pt idx="193">
                  <c:v>234198.19200000001</c:v>
                </c:pt>
                <c:pt idx="194">
                  <c:v>68019.122000000003</c:v>
                </c:pt>
                <c:pt idx="195">
                  <c:v>224486.29</c:v>
                </c:pt>
                <c:pt idx="196">
                  <c:v>18854.72</c:v>
                </c:pt>
                <c:pt idx="197">
                  <c:v>235619.902</c:v>
                </c:pt>
                <c:pt idx="198">
                  <c:v>195882.522</c:v>
                </c:pt>
                <c:pt idx="199">
                  <c:v>197418.99399999998</c:v>
                </c:pt>
                <c:pt idx="200">
                  <c:v>210226.47999999998</c:v>
                </c:pt>
                <c:pt idx="201">
                  <c:v>187843.03200000001</c:v>
                </c:pt>
                <c:pt idx="202">
                  <c:v>12470.284000000012</c:v>
                </c:pt>
                <c:pt idx="203">
                  <c:v>212400.046</c:v>
                </c:pt>
                <c:pt idx="204">
                  <c:v>195214.462</c:v>
                </c:pt>
                <c:pt idx="205">
                  <c:v>175924.98399999968</c:v>
                </c:pt>
                <c:pt idx="206">
                  <c:v>162484.076</c:v>
                </c:pt>
                <c:pt idx="207">
                  <c:v>124850.882</c:v>
                </c:pt>
                <c:pt idx="208">
                  <c:v>9164.2080000000005</c:v>
                </c:pt>
                <c:pt idx="209">
                  <c:v>320233.31400000001</c:v>
                </c:pt>
                <c:pt idx="210">
                  <c:v>253605.83799999999</c:v>
                </c:pt>
                <c:pt idx="211">
                  <c:v>216806.258</c:v>
                </c:pt>
                <c:pt idx="212">
                  <c:v>199398.39199999961</c:v>
                </c:pt>
                <c:pt idx="213">
                  <c:v>213632.74000000011</c:v>
                </c:pt>
                <c:pt idx="214">
                  <c:v>11603.843999999985</c:v>
                </c:pt>
                <c:pt idx="215">
                  <c:v>215158.30599999998</c:v>
                </c:pt>
                <c:pt idx="216">
                  <c:v>213133.04199999999</c:v>
                </c:pt>
                <c:pt idx="217">
                  <c:v>230907.69399999999</c:v>
                </c:pt>
                <c:pt idx="218">
                  <c:v>252248.598</c:v>
                </c:pt>
                <c:pt idx="219">
                  <c:v>263782.84000000003</c:v>
                </c:pt>
                <c:pt idx="220">
                  <c:v>39644.616000000002</c:v>
                </c:pt>
                <c:pt idx="221">
                  <c:v>364296.90399999998</c:v>
                </c:pt>
                <c:pt idx="222">
                  <c:v>312221.03200000001</c:v>
                </c:pt>
                <c:pt idx="223">
                  <c:v>40766.618000000002</c:v>
                </c:pt>
                <c:pt idx="226">
                  <c:v>18204.900000000001</c:v>
                </c:pt>
                <c:pt idx="227">
                  <c:v>214269.27000000011</c:v>
                </c:pt>
                <c:pt idx="228">
                  <c:v>191009.992</c:v>
                </c:pt>
                <c:pt idx="229">
                  <c:v>169655.83399999992</c:v>
                </c:pt>
                <c:pt idx="230">
                  <c:v>150591.63</c:v>
                </c:pt>
                <c:pt idx="231">
                  <c:v>159724.62</c:v>
                </c:pt>
                <c:pt idx="232">
                  <c:v>8926.42</c:v>
                </c:pt>
                <c:pt idx="233">
                  <c:v>99374.626000000004</c:v>
                </c:pt>
                <c:pt idx="234">
                  <c:v>323790.978</c:v>
                </c:pt>
                <c:pt idx="235">
                  <c:v>226148.24400000001</c:v>
                </c:pt>
                <c:pt idx="236">
                  <c:v>53245.916000000012</c:v>
                </c:pt>
                <c:pt idx="237">
                  <c:v>232269.908</c:v>
                </c:pt>
                <c:pt idx="238">
                  <c:v>15614.451999999961</c:v>
                </c:pt>
                <c:pt idx="239">
                  <c:v>252344.18599999999</c:v>
                </c:pt>
                <c:pt idx="240">
                  <c:v>205072.41999999998</c:v>
                </c:pt>
                <c:pt idx="241">
                  <c:v>50778.944000000003</c:v>
                </c:pt>
                <c:pt idx="242">
                  <c:v>203390.16399999999</c:v>
                </c:pt>
                <c:pt idx="243">
                  <c:v>235522.97</c:v>
                </c:pt>
                <c:pt idx="244">
                  <c:v>11888.013999999985</c:v>
                </c:pt>
                <c:pt idx="245">
                  <c:v>213860.73800000001</c:v>
                </c:pt>
                <c:pt idx="246">
                  <c:v>183327.27200000011</c:v>
                </c:pt>
                <c:pt idx="247">
                  <c:v>156625.78200000001</c:v>
                </c:pt>
                <c:pt idx="248">
                  <c:v>159581.81599999999</c:v>
                </c:pt>
                <c:pt idx="249">
                  <c:v>160385.62599999999</c:v>
                </c:pt>
                <c:pt idx="250">
                  <c:v>7238.1880000000001</c:v>
                </c:pt>
                <c:pt idx="251">
                  <c:v>205515.28</c:v>
                </c:pt>
                <c:pt idx="252">
                  <c:v>172474.81</c:v>
                </c:pt>
                <c:pt idx="253">
                  <c:v>148672.05599999998</c:v>
                </c:pt>
                <c:pt idx="254">
                  <c:v>175558.88599999968</c:v>
                </c:pt>
                <c:pt idx="255">
                  <c:v>159181.59599999999</c:v>
                </c:pt>
                <c:pt idx="256">
                  <c:v>9293.92</c:v>
                </c:pt>
                <c:pt idx="257">
                  <c:v>168249.41999999998</c:v>
                </c:pt>
                <c:pt idx="258">
                  <c:v>144596.14199999999</c:v>
                </c:pt>
                <c:pt idx="259">
                  <c:v>113931.182</c:v>
                </c:pt>
                <c:pt idx="260">
                  <c:v>76354.403999999908</c:v>
                </c:pt>
                <c:pt idx="261">
                  <c:v>319447.97400000022</c:v>
                </c:pt>
                <c:pt idx="262">
                  <c:v>14161.832</c:v>
                </c:pt>
                <c:pt idx="263">
                  <c:v>223743.52399999998</c:v>
                </c:pt>
                <c:pt idx="264">
                  <c:v>188134.52799999999</c:v>
                </c:pt>
                <c:pt idx="265">
                  <c:v>155453.114</c:v>
                </c:pt>
                <c:pt idx="266">
                  <c:v>168977.24000000011</c:v>
                </c:pt>
                <c:pt idx="267">
                  <c:v>153265.09</c:v>
                </c:pt>
                <c:pt idx="268">
                  <c:v>8869.44</c:v>
                </c:pt>
                <c:pt idx="269">
                  <c:v>200770.29399999999</c:v>
                </c:pt>
                <c:pt idx="270">
                  <c:v>175375.58199999965</c:v>
                </c:pt>
                <c:pt idx="271">
                  <c:v>139551.53399999999</c:v>
                </c:pt>
                <c:pt idx="272">
                  <c:v>154581.48199999955</c:v>
                </c:pt>
                <c:pt idx="273">
                  <c:v>160947.20000000001</c:v>
                </c:pt>
                <c:pt idx="274">
                  <c:v>10465.968000000001</c:v>
                </c:pt>
                <c:pt idx="275">
                  <c:v>170400.948</c:v>
                </c:pt>
                <c:pt idx="276">
                  <c:v>153908.948</c:v>
                </c:pt>
                <c:pt idx="277">
                  <c:v>113769.22199999999</c:v>
                </c:pt>
                <c:pt idx="278">
                  <c:v>177629.908</c:v>
                </c:pt>
                <c:pt idx="279">
                  <c:v>156777.432</c:v>
                </c:pt>
                <c:pt idx="280">
                  <c:v>9574.9879999999557</c:v>
                </c:pt>
                <c:pt idx="281">
                  <c:v>154247.03599999999</c:v>
                </c:pt>
                <c:pt idx="282">
                  <c:v>158576.01800000001</c:v>
                </c:pt>
                <c:pt idx="283">
                  <c:v>122441.818</c:v>
                </c:pt>
                <c:pt idx="284">
                  <c:v>138296.06200000001</c:v>
                </c:pt>
                <c:pt idx="285">
                  <c:v>99483.102000000014</c:v>
                </c:pt>
                <c:pt idx="286">
                  <c:v>4910.4960000000001</c:v>
                </c:pt>
                <c:pt idx="287">
                  <c:v>289915.62</c:v>
                </c:pt>
                <c:pt idx="288">
                  <c:v>207092.26800000001</c:v>
                </c:pt>
                <c:pt idx="289">
                  <c:v>160245.40599999999</c:v>
                </c:pt>
                <c:pt idx="290">
                  <c:v>181450.91</c:v>
                </c:pt>
                <c:pt idx="291">
                  <c:v>167936.916</c:v>
                </c:pt>
                <c:pt idx="292">
                  <c:v>8120.1520000000119</c:v>
                </c:pt>
                <c:pt idx="293">
                  <c:v>176190.32199999955</c:v>
                </c:pt>
                <c:pt idx="294">
                  <c:v>173186.88799999998</c:v>
                </c:pt>
                <c:pt idx="295">
                  <c:v>173747.66200000001</c:v>
                </c:pt>
                <c:pt idx="296">
                  <c:v>170042.622</c:v>
                </c:pt>
                <c:pt idx="297">
                  <c:v>167661.22200000001</c:v>
                </c:pt>
                <c:pt idx="298">
                  <c:v>9306.152</c:v>
                </c:pt>
                <c:pt idx="299">
                  <c:v>212922.76800000001</c:v>
                </c:pt>
                <c:pt idx="300">
                  <c:v>192530.89599999998</c:v>
                </c:pt>
                <c:pt idx="301">
                  <c:v>150880.63</c:v>
                </c:pt>
                <c:pt idx="302">
                  <c:v>186927.61199999999</c:v>
                </c:pt>
                <c:pt idx="303">
                  <c:v>170464.74000000011</c:v>
                </c:pt>
                <c:pt idx="304">
                  <c:v>13733.1</c:v>
                </c:pt>
                <c:pt idx="305">
                  <c:v>268179.516</c:v>
                </c:pt>
                <c:pt idx="306">
                  <c:v>254656.47999999998</c:v>
                </c:pt>
                <c:pt idx="307">
                  <c:v>39833.086000000003</c:v>
                </c:pt>
                <c:pt idx="308">
                  <c:v>205815.68599999999</c:v>
                </c:pt>
                <c:pt idx="309">
                  <c:v>188737.92799999999</c:v>
                </c:pt>
                <c:pt idx="310">
                  <c:v>14100.88</c:v>
                </c:pt>
                <c:pt idx="311">
                  <c:v>204232.14199999999</c:v>
                </c:pt>
                <c:pt idx="312">
                  <c:v>130565.52</c:v>
                </c:pt>
                <c:pt idx="313">
                  <c:v>50240.978000000003</c:v>
                </c:pt>
                <c:pt idx="314">
                  <c:v>321902.31599999999</c:v>
                </c:pt>
                <c:pt idx="315">
                  <c:v>237361.818</c:v>
                </c:pt>
                <c:pt idx="316">
                  <c:v>12736.168</c:v>
                </c:pt>
                <c:pt idx="317">
                  <c:v>192807.53</c:v>
                </c:pt>
                <c:pt idx="318">
                  <c:v>187954.48199999955</c:v>
                </c:pt>
                <c:pt idx="319">
                  <c:v>132836.83399999992</c:v>
                </c:pt>
                <c:pt idx="320">
                  <c:v>145968.92399999968</c:v>
                </c:pt>
                <c:pt idx="321">
                  <c:v>130724.31600000001</c:v>
                </c:pt>
                <c:pt idx="322">
                  <c:v>13406.407999999965</c:v>
                </c:pt>
                <c:pt idx="323">
                  <c:v>183303.04000000001</c:v>
                </c:pt>
                <c:pt idx="324">
                  <c:v>161770.28200000001</c:v>
                </c:pt>
                <c:pt idx="325">
                  <c:v>135571.54</c:v>
                </c:pt>
                <c:pt idx="326">
                  <c:v>154370.44</c:v>
                </c:pt>
                <c:pt idx="327">
                  <c:v>170514.53</c:v>
                </c:pt>
                <c:pt idx="328">
                  <c:v>9250.943999999985</c:v>
                </c:pt>
                <c:pt idx="329">
                  <c:v>158023.016</c:v>
                </c:pt>
                <c:pt idx="330">
                  <c:v>189907.878</c:v>
                </c:pt>
                <c:pt idx="331">
                  <c:v>161659.07</c:v>
                </c:pt>
                <c:pt idx="332">
                  <c:v>179602.302</c:v>
                </c:pt>
                <c:pt idx="333">
                  <c:v>208006.97</c:v>
                </c:pt>
                <c:pt idx="334">
                  <c:v>21014.68</c:v>
                </c:pt>
                <c:pt idx="335">
                  <c:v>247621.62399999998</c:v>
                </c:pt>
                <c:pt idx="336">
                  <c:v>256596.73199999999</c:v>
                </c:pt>
                <c:pt idx="337">
                  <c:v>152251.97</c:v>
                </c:pt>
                <c:pt idx="338">
                  <c:v>6864.09</c:v>
                </c:pt>
                <c:pt idx="340">
                  <c:v>227.16</c:v>
                </c:pt>
                <c:pt idx="341">
                  <c:v>282218.70799999993</c:v>
                </c:pt>
                <c:pt idx="342">
                  <c:v>154803.946</c:v>
                </c:pt>
                <c:pt idx="343">
                  <c:v>112954.99400000001</c:v>
                </c:pt>
                <c:pt idx="344">
                  <c:v>133817.38999999958</c:v>
                </c:pt>
                <c:pt idx="345">
                  <c:v>134697.94999999998</c:v>
                </c:pt>
                <c:pt idx="346">
                  <c:v>7012.6960000000054</c:v>
                </c:pt>
                <c:pt idx="347">
                  <c:v>127419.60400000002</c:v>
                </c:pt>
                <c:pt idx="348">
                  <c:v>164785.54800000001</c:v>
                </c:pt>
                <c:pt idx="349">
                  <c:v>127169.196</c:v>
                </c:pt>
                <c:pt idx="350">
                  <c:v>144687.598</c:v>
                </c:pt>
                <c:pt idx="351">
                  <c:v>158566.07800000001</c:v>
                </c:pt>
                <c:pt idx="352">
                  <c:v>6614.6280000000024</c:v>
                </c:pt>
                <c:pt idx="353">
                  <c:v>159540.636</c:v>
                </c:pt>
                <c:pt idx="354">
                  <c:v>155306.54999999999</c:v>
                </c:pt>
                <c:pt idx="355">
                  <c:v>129169.7</c:v>
                </c:pt>
                <c:pt idx="356">
                  <c:v>138163.95399999968</c:v>
                </c:pt>
                <c:pt idx="357">
                  <c:v>179509.66200000001</c:v>
                </c:pt>
                <c:pt idx="358">
                  <c:v>9138.6559999999554</c:v>
                </c:pt>
                <c:pt idx="359">
                  <c:v>158334.31200000001</c:v>
                </c:pt>
                <c:pt idx="360">
                  <c:v>162201.10999999999</c:v>
                </c:pt>
                <c:pt idx="361">
                  <c:v>132004.25</c:v>
                </c:pt>
                <c:pt idx="362">
                  <c:v>152309.9</c:v>
                </c:pt>
                <c:pt idx="363">
                  <c:v>110686.75599999999</c:v>
                </c:pt>
                <c:pt idx="364">
                  <c:v>24972.53</c:v>
                </c:pt>
                <c:pt idx="365">
                  <c:v>270161.08799999999</c:v>
                </c:pt>
                <c:pt idx="366">
                  <c:v>189295.00599999999</c:v>
                </c:pt>
                <c:pt idx="367">
                  <c:v>152365.17000000001</c:v>
                </c:pt>
                <c:pt idx="368">
                  <c:v>160785.614</c:v>
                </c:pt>
                <c:pt idx="369">
                  <c:v>164440.55799999999</c:v>
                </c:pt>
                <c:pt idx="370">
                  <c:v>7949.6960000000054</c:v>
                </c:pt>
                <c:pt idx="371">
                  <c:v>155403.15</c:v>
                </c:pt>
                <c:pt idx="372">
                  <c:v>196676.89599999998</c:v>
                </c:pt>
                <c:pt idx="373">
                  <c:v>142445.71800000011</c:v>
                </c:pt>
                <c:pt idx="374">
                  <c:v>153799.68799999999</c:v>
                </c:pt>
                <c:pt idx="375">
                  <c:v>170430.02799999999</c:v>
                </c:pt>
                <c:pt idx="376">
                  <c:v>7700.3339999999998</c:v>
                </c:pt>
                <c:pt idx="377">
                  <c:v>181020.796</c:v>
                </c:pt>
                <c:pt idx="378">
                  <c:v>174464.95399999968</c:v>
                </c:pt>
                <c:pt idx="379">
                  <c:v>146072.236</c:v>
                </c:pt>
                <c:pt idx="380">
                  <c:v>148198.53399999999</c:v>
                </c:pt>
                <c:pt idx="381">
                  <c:v>197447.06399999998</c:v>
                </c:pt>
                <c:pt idx="382">
                  <c:v>9363.3359999999557</c:v>
                </c:pt>
                <c:pt idx="383">
                  <c:v>181455.446</c:v>
                </c:pt>
                <c:pt idx="384">
                  <c:v>169690.21000000011</c:v>
                </c:pt>
                <c:pt idx="385">
                  <c:v>142853.79199999999</c:v>
                </c:pt>
                <c:pt idx="386">
                  <c:v>163715.72</c:v>
                </c:pt>
                <c:pt idx="387">
                  <c:v>154879.93799999999</c:v>
                </c:pt>
                <c:pt idx="388">
                  <c:v>7851.482</c:v>
                </c:pt>
                <c:pt idx="389">
                  <c:v>106372.054</c:v>
                </c:pt>
                <c:pt idx="390">
                  <c:v>309472.00599999999</c:v>
                </c:pt>
                <c:pt idx="391">
                  <c:v>191887.87</c:v>
                </c:pt>
                <c:pt idx="392">
                  <c:v>185153.69</c:v>
                </c:pt>
                <c:pt idx="393">
                  <c:v>189980.66</c:v>
                </c:pt>
                <c:pt idx="394">
                  <c:v>8177.662000000013</c:v>
                </c:pt>
                <c:pt idx="395">
                  <c:v>183712.38399999958</c:v>
                </c:pt>
                <c:pt idx="396">
                  <c:v>179285.17600000001</c:v>
                </c:pt>
                <c:pt idx="397">
                  <c:v>144850.08799999999</c:v>
                </c:pt>
                <c:pt idx="398">
                  <c:v>143057.27200000011</c:v>
                </c:pt>
                <c:pt idx="399">
                  <c:v>205174.89799999999</c:v>
                </c:pt>
                <c:pt idx="400">
                  <c:v>7914.3120000000044</c:v>
                </c:pt>
                <c:pt idx="401">
                  <c:v>193918.85599999968</c:v>
                </c:pt>
                <c:pt idx="402">
                  <c:v>191929.42599999998</c:v>
                </c:pt>
                <c:pt idx="403">
                  <c:v>154519.774</c:v>
                </c:pt>
                <c:pt idx="404">
                  <c:v>177975.60399999999</c:v>
                </c:pt>
                <c:pt idx="405">
                  <c:v>162511.204</c:v>
                </c:pt>
                <c:pt idx="406">
                  <c:v>9506.3119999999653</c:v>
                </c:pt>
                <c:pt idx="407">
                  <c:v>202010.592</c:v>
                </c:pt>
                <c:pt idx="408">
                  <c:v>185446.76</c:v>
                </c:pt>
                <c:pt idx="409">
                  <c:v>143432.98399999968</c:v>
                </c:pt>
                <c:pt idx="410">
                  <c:v>160708.226</c:v>
                </c:pt>
                <c:pt idx="411">
                  <c:v>181015.17800000001</c:v>
                </c:pt>
                <c:pt idx="412">
                  <c:v>10188.118</c:v>
                </c:pt>
                <c:pt idx="413">
                  <c:v>176005.28399999999</c:v>
                </c:pt>
                <c:pt idx="414">
                  <c:v>164858.38999999958</c:v>
                </c:pt>
                <c:pt idx="415">
                  <c:v>91565.864000000001</c:v>
                </c:pt>
                <c:pt idx="416">
                  <c:v>371693.40600000002</c:v>
                </c:pt>
                <c:pt idx="417">
                  <c:v>340782.212</c:v>
                </c:pt>
                <c:pt idx="418">
                  <c:v>41347.531999999999</c:v>
                </c:pt>
                <c:pt idx="419">
                  <c:v>55845.322</c:v>
                </c:pt>
                <c:pt idx="420">
                  <c:v>71632.915999999968</c:v>
                </c:pt>
                <c:pt idx="421">
                  <c:v>234319.59</c:v>
                </c:pt>
                <c:pt idx="422">
                  <c:v>202669.614</c:v>
                </c:pt>
                <c:pt idx="423">
                  <c:v>178365.59399999998</c:v>
                </c:pt>
                <c:pt idx="424">
                  <c:v>12792.23000000001</c:v>
                </c:pt>
                <c:pt idx="425">
                  <c:v>209668.03599999999</c:v>
                </c:pt>
                <c:pt idx="426">
                  <c:v>185332.076</c:v>
                </c:pt>
                <c:pt idx="427">
                  <c:v>167213.31</c:v>
                </c:pt>
                <c:pt idx="428">
                  <c:v>184605.052</c:v>
                </c:pt>
                <c:pt idx="429">
                  <c:v>198118.67</c:v>
                </c:pt>
                <c:pt idx="430">
                  <c:v>11676.208000000002</c:v>
                </c:pt>
                <c:pt idx="431">
                  <c:v>214751.42199999958</c:v>
                </c:pt>
                <c:pt idx="432">
                  <c:v>179016.70199999999</c:v>
                </c:pt>
                <c:pt idx="433">
                  <c:v>203713.38599999968</c:v>
                </c:pt>
                <c:pt idx="434">
                  <c:v>198759.41999999998</c:v>
                </c:pt>
                <c:pt idx="435">
                  <c:v>197974.264</c:v>
                </c:pt>
                <c:pt idx="436">
                  <c:v>9944.0859999999557</c:v>
                </c:pt>
                <c:pt idx="437">
                  <c:v>206490.50399999999</c:v>
                </c:pt>
                <c:pt idx="438">
                  <c:v>199593.10399999999</c:v>
                </c:pt>
                <c:pt idx="439">
                  <c:v>164875.19200000001</c:v>
                </c:pt>
                <c:pt idx="440">
                  <c:v>180744.5</c:v>
                </c:pt>
                <c:pt idx="441">
                  <c:v>144287.198</c:v>
                </c:pt>
                <c:pt idx="442">
                  <c:v>7574.8620000000119</c:v>
                </c:pt>
                <c:pt idx="443">
                  <c:v>351771.37599999999</c:v>
                </c:pt>
                <c:pt idx="444">
                  <c:v>262202.27799999999</c:v>
                </c:pt>
                <c:pt idx="445">
                  <c:v>232654.736</c:v>
                </c:pt>
                <c:pt idx="446">
                  <c:v>282054.08399999997</c:v>
                </c:pt>
                <c:pt idx="447">
                  <c:v>72533.805999999997</c:v>
                </c:pt>
                <c:pt idx="448">
                  <c:v>13540.674000000006</c:v>
                </c:pt>
                <c:pt idx="449">
                  <c:v>248523.88999999958</c:v>
                </c:pt>
                <c:pt idx="450">
                  <c:v>195603.91399999999</c:v>
                </c:pt>
                <c:pt idx="451">
                  <c:v>205708.3</c:v>
                </c:pt>
                <c:pt idx="452">
                  <c:v>204935.95399999968</c:v>
                </c:pt>
                <c:pt idx="453">
                  <c:v>212504.97</c:v>
                </c:pt>
                <c:pt idx="454">
                  <c:v>12485.146000000002</c:v>
                </c:pt>
                <c:pt idx="455">
                  <c:v>214484.674</c:v>
                </c:pt>
                <c:pt idx="456">
                  <c:v>212696.114</c:v>
                </c:pt>
                <c:pt idx="457">
                  <c:v>176613.03200000001</c:v>
                </c:pt>
                <c:pt idx="458">
                  <c:v>196467.89799999999</c:v>
                </c:pt>
                <c:pt idx="459">
                  <c:v>186408.41399999999</c:v>
                </c:pt>
                <c:pt idx="460">
                  <c:v>13471.628000000002</c:v>
                </c:pt>
                <c:pt idx="461">
                  <c:v>234165.59399999998</c:v>
                </c:pt>
                <c:pt idx="462">
                  <c:v>209847.016</c:v>
                </c:pt>
                <c:pt idx="463">
                  <c:v>175069.33199999965</c:v>
                </c:pt>
                <c:pt idx="464">
                  <c:v>193788.16</c:v>
                </c:pt>
                <c:pt idx="465">
                  <c:v>205084.416</c:v>
                </c:pt>
                <c:pt idx="466">
                  <c:v>11760.004000000004</c:v>
                </c:pt>
                <c:pt idx="467">
                  <c:v>150080.74400000001</c:v>
                </c:pt>
                <c:pt idx="468">
                  <c:v>330568.47200000001</c:v>
                </c:pt>
                <c:pt idx="469">
                  <c:v>228115.54800000001</c:v>
                </c:pt>
                <c:pt idx="470">
                  <c:v>210453.538</c:v>
                </c:pt>
                <c:pt idx="471">
                  <c:v>244796.04399999999</c:v>
                </c:pt>
                <c:pt idx="472">
                  <c:v>10109.4</c:v>
                </c:pt>
                <c:pt idx="473">
                  <c:v>226445.58799999999</c:v>
                </c:pt>
                <c:pt idx="474">
                  <c:v>213837.62399999998</c:v>
                </c:pt>
                <c:pt idx="475">
                  <c:v>177274.12599999999</c:v>
                </c:pt>
                <c:pt idx="476">
                  <c:v>181346.25399999999</c:v>
                </c:pt>
                <c:pt idx="477">
                  <c:v>255202.57</c:v>
                </c:pt>
                <c:pt idx="478">
                  <c:v>13454.69400000001</c:v>
                </c:pt>
                <c:pt idx="479">
                  <c:v>241750.86</c:v>
                </c:pt>
                <c:pt idx="480">
                  <c:v>230933.158</c:v>
                </c:pt>
                <c:pt idx="481">
                  <c:v>197816.89799999999</c:v>
                </c:pt>
                <c:pt idx="482">
                  <c:v>226400.21200000017</c:v>
                </c:pt>
                <c:pt idx="483">
                  <c:v>213616.43</c:v>
                </c:pt>
                <c:pt idx="484">
                  <c:v>11695.52</c:v>
                </c:pt>
                <c:pt idx="485">
                  <c:v>252170.54</c:v>
                </c:pt>
                <c:pt idx="486">
                  <c:v>241493.28399999999</c:v>
                </c:pt>
                <c:pt idx="487">
                  <c:v>185810.704</c:v>
                </c:pt>
                <c:pt idx="488">
                  <c:v>217288.93</c:v>
                </c:pt>
                <c:pt idx="489">
                  <c:v>217922.84</c:v>
                </c:pt>
                <c:pt idx="490">
                  <c:v>12382.654</c:v>
                </c:pt>
                <c:pt idx="491">
                  <c:v>228831.68</c:v>
                </c:pt>
                <c:pt idx="492">
                  <c:v>201207.916</c:v>
                </c:pt>
                <c:pt idx="493">
                  <c:v>188029.44</c:v>
                </c:pt>
                <c:pt idx="494">
                  <c:v>145376.56599999999</c:v>
                </c:pt>
                <c:pt idx="495">
                  <c:v>374941.29599999997</c:v>
                </c:pt>
                <c:pt idx="496">
                  <c:v>27947.063999999998</c:v>
                </c:pt>
                <c:pt idx="497">
                  <c:v>214568.89799999999</c:v>
                </c:pt>
                <c:pt idx="498">
                  <c:v>233684.88799999998</c:v>
                </c:pt>
                <c:pt idx="499">
                  <c:v>224018.68799999999</c:v>
                </c:pt>
                <c:pt idx="500">
                  <c:v>204614.37</c:v>
                </c:pt>
                <c:pt idx="501">
                  <c:v>169261.35399999961</c:v>
                </c:pt>
                <c:pt idx="502">
                  <c:v>12207.603999999987</c:v>
                </c:pt>
                <c:pt idx="503">
                  <c:v>220774.41</c:v>
                </c:pt>
                <c:pt idx="504">
                  <c:v>206304.27600000001</c:v>
                </c:pt>
                <c:pt idx="505">
                  <c:v>211961.45799999998</c:v>
                </c:pt>
                <c:pt idx="506">
                  <c:v>224854.73</c:v>
                </c:pt>
                <c:pt idx="507">
                  <c:v>55685.086000000003</c:v>
                </c:pt>
                <c:pt idx="508">
                  <c:v>11640.933999999987</c:v>
                </c:pt>
                <c:pt idx="509">
                  <c:v>190423.95599999998</c:v>
                </c:pt>
                <c:pt idx="510">
                  <c:v>189093.20199999999</c:v>
                </c:pt>
                <c:pt idx="511">
                  <c:v>144576.03</c:v>
                </c:pt>
                <c:pt idx="512">
                  <c:v>187665.67600000001</c:v>
                </c:pt>
                <c:pt idx="513">
                  <c:v>193596.47200000001</c:v>
                </c:pt>
                <c:pt idx="514">
                  <c:v>10182.593999999985</c:v>
                </c:pt>
                <c:pt idx="515">
                  <c:v>177046.37399999998</c:v>
                </c:pt>
                <c:pt idx="516">
                  <c:v>191533.948</c:v>
                </c:pt>
                <c:pt idx="517">
                  <c:v>163081.62599999999</c:v>
                </c:pt>
                <c:pt idx="518">
                  <c:v>168099.75399999999</c:v>
                </c:pt>
                <c:pt idx="519">
                  <c:v>131353.23199999999</c:v>
                </c:pt>
                <c:pt idx="520">
                  <c:v>10707.946</c:v>
                </c:pt>
                <c:pt idx="521">
                  <c:v>327695.63</c:v>
                </c:pt>
                <c:pt idx="522">
                  <c:v>286842.13</c:v>
                </c:pt>
                <c:pt idx="523">
                  <c:v>243738.57800000001</c:v>
                </c:pt>
                <c:pt idx="524">
                  <c:v>294734.13999999996</c:v>
                </c:pt>
                <c:pt idx="525">
                  <c:v>264355.52399999998</c:v>
                </c:pt>
                <c:pt idx="526">
                  <c:v>57856.306000000011</c:v>
                </c:pt>
                <c:pt idx="529">
                  <c:v>119946.484</c:v>
                </c:pt>
                <c:pt idx="530">
                  <c:v>210436.932</c:v>
                </c:pt>
                <c:pt idx="531">
                  <c:v>181219.66</c:v>
                </c:pt>
                <c:pt idx="532">
                  <c:v>8441.4040000000005</c:v>
                </c:pt>
                <c:pt idx="533">
                  <c:v>167778.552</c:v>
                </c:pt>
                <c:pt idx="534">
                  <c:v>171062.05599999998</c:v>
                </c:pt>
                <c:pt idx="535">
                  <c:v>142861.35999999955</c:v>
                </c:pt>
                <c:pt idx="536">
                  <c:v>157997.18</c:v>
                </c:pt>
                <c:pt idx="537">
                  <c:v>150619.682</c:v>
                </c:pt>
                <c:pt idx="538">
                  <c:v>9322.0959999999614</c:v>
                </c:pt>
                <c:pt idx="539">
                  <c:v>191223.38199999958</c:v>
                </c:pt>
                <c:pt idx="540">
                  <c:v>185967.87399999998</c:v>
                </c:pt>
                <c:pt idx="541">
                  <c:v>120278.40399999997</c:v>
                </c:pt>
                <c:pt idx="542">
                  <c:v>168498.21600000001</c:v>
                </c:pt>
                <c:pt idx="543">
                  <c:v>171625.66800000001</c:v>
                </c:pt>
                <c:pt idx="544">
                  <c:v>9764.8679999999495</c:v>
                </c:pt>
                <c:pt idx="545">
                  <c:v>157586.538</c:v>
                </c:pt>
                <c:pt idx="546">
                  <c:v>103034.03200000001</c:v>
                </c:pt>
                <c:pt idx="547">
                  <c:v>306715.098</c:v>
                </c:pt>
                <c:pt idx="548">
                  <c:v>231248.67</c:v>
                </c:pt>
                <c:pt idx="549">
                  <c:v>64240.663999999997</c:v>
                </c:pt>
                <c:pt idx="550">
                  <c:v>10382.451999999961</c:v>
                </c:pt>
                <c:pt idx="551">
                  <c:v>215940.72200000001</c:v>
                </c:pt>
                <c:pt idx="552">
                  <c:v>198150.25599999999</c:v>
                </c:pt>
                <c:pt idx="553">
                  <c:v>198408.78599999999</c:v>
                </c:pt>
                <c:pt idx="554">
                  <c:v>42260.538</c:v>
                </c:pt>
                <c:pt idx="555">
                  <c:v>179469.84</c:v>
                </c:pt>
                <c:pt idx="556">
                  <c:v>15686.968000000001</c:v>
                </c:pt>
                <c:pt idx="557">
                  <c:v>204392.66</c:v>
                </c:pt>
                <c:pt idx="558">
                  <c:v>187578.02399999998</c:v>
                </c:pt>
                <c:pt idx="559">
                  <c:v>147559.58399999992</c:v>
                </c:pt>
                <c:pt idx="560">
                  <c:v>163968.79199999999</c:v>
                </c:pt>
                <c:pt idx="561">
                  <c:v>179684.52399999998</c:v>
                </c:pt>
                <c:pt idx="562">
                  <c:v>9563.9120000000003</c:v>
                </c:pt>
                <c:pt idx="563">
                  <c:v>141333.796</c:v>
                </c:pt>
                <c:pt idx="564">
                  <c:v>174197.13800000001</c:v>
                </c:pt>
                <c:pt idx="565">
                  <c:v>144038.546</c:v>
                </c:pt>
                <c:pt idx="566">
                  <c:v>175082.57199999999</c:v>
                </c:pt>
                <c:pt idx="567">
                  <c:v>174836.44200000001</c:v>
                </c:pt>
                <c:pt idx="568">
                  <c:v>8413.8599999999497</c:v>
                </c:pt>
                <c:pt idx="569">
                  <c:v>164721.37999999998</c:v>
                </c:pt>
                <c:pt idx="570">
                  <c:v>151409.91999999998</c:v>
                </c:pt>
                <c:pt idx="571">
                  <c:v>138293.38199999958</c:v>
                </c:pt>
                <c:pt idx="572">
                  <c:v>144556.09399999998</c:v>
                </c:pt>
                <c:pt idx="573">
                  <c:v>98535.83</c:v>
                </c:pt>
                <c:pt idx="574">
                  <c:v>25955.462000000021</c:v>
                </c:pt>
                <c:pt idx="575">
                  <c:v>258619.916</c:v>
                </c:pt>
                <c:pt idx="576">
                  <c:v>186361.796</c:v>
                </c:pt>
                <c:pt idx="577">
                  <c:v>143072.378</c:v>
                </c:pt>
                <c:pt idx="578">
                  <c:v>154472.28599999999</c:v>
                </c:pt>
                <c:pt idx="579">
                  <c:v>165720.32999999955</c:v>
                </c:pt>
                <c:pt idx="580">
                  <c:v>6613.4120000000003</c:v>
                </c:pt>
                <c:pt idx="581">
                  <c:v>140248.67199999999</c:v>
                </c:pt>
                <c:pt idx="582">
                  <c:v>176779.41</c:v>
                </c:pt>
                <c:pt idx="583">
                  <c:v>132917.61199999999</c:v>
                </c:pt>
                <c:pt idx="584">
                  <c:v>133844.39399999968</c:v>
                </c:pt>
                <c:pt idx="585">
                  <c:v>148212.64600000001</c:v>
                </c:pt>
                <c:pt idx="586">
                  <c:v>8227.92</c:v>
                </c:pt>
                <c:pt idx="587">
                  <c:v>154135.408</c:v>
                </c:pt>
                <c:pt idx="588">
                  <c:v>153248.14600000001</c:v>
                </c:pt>
                <c:pt idx="589">
                  <c:v>125090.90199999999</c:v>
                </c:pt>
                <c:pt idx="590">
                  <c:v>121377.32799999999</c:v>
                </c:pt>
                <c:pt idx="591">
                  <c:v>181459.58599999998</c:v>
                </c:pt>
                <c:pt idx="592">
                  <c:v>7787.4120000000003</c:v>
                </c:pt>
                <c:pt idx="593">
                  <c:v>150150.818</c:v>
                </c:pt>
                <c:pt idx="594">
                  <c:v>146427.20800000001</c:v>
                </c:pt>
                <c:pt idx="595">
                  <c:v>126657.15399999999</c:v>
                </c:pt>
                <c:pt idx="596">
                  <c:v>142739.378</c:v>
                </c:pt>
                <c:pt idx="597">
                  <c:v>105742.1</c:v>
                </c:pt>
                <c:pt idx="598">
                  <c:v>4314.6140000000014</c:v>
                </c:pt>
                <c:pt idx="599">
                  <c:v>257639.37</c:v>
                </c:pt>
                <c:pt idx="600">
                  <c:v>170841.07399999999</c:v>
                </c:pt>
                <c:pt idx="601">
                  <c:v>140813.576</c:v>
                </c:pt>
                <c:pt idx="602">
                  <c:v>147029.48599999998</c:v>
                </c:pt>
                <c:pt idx="603">
                  <c:v>154660.61199999999</c:v>
                </c:pt>
                <c:pt idx="604">
                  <c:v>6168.68</c:v>
                </c:pt>
                <c:pt idx="605">
                  <c:v>167412.29</c:v>
                </c:pt>
                <c:pt idx="606">
                  <c:v>155271.57800000001</c:v>
                </c:pt>
                <c:pt idx="607">
                  <c:v>131641.13200000001</c:v>
                </c:pt>
                <c:pt idx="608">
                  <c:v>167054.93399999998</c:v>
                </c:pt>
                <c:pt idx="609">
                  <c:v>161775.71200000017</c:v>
                </c:pt>
                <c:pt idx="610">
                  <c:v>6364.3280000000004</c:v>
                </c:pt>
                <c:pt idx="611">
                  <c:v>190117.71200000017</c:v>
                </c:pt>
                <c:pt idx="612">
                  <c:v>166325.08399999992</c:v>
                </c:pt>
                <c:pt idx="613">
                  <c:v>137571.91999999998</c:v>
                </c:pt>
                <c:pt idx="614">
                  <c:v>151430.15599999999</c:v>
                </c:pt>
                <c:pt idx="615">
                  <c:v>166695.47399999999</c:v>
                </c:pt>
                <c:pt idx="616">
                  <c:v>9006.5779999999613</c:v>
                </c:pt>
                <c:pt idx="617">
                  <c:v>208659.57800000001</c:v>
                </c:pt>
                <c:pt idx="618">
                  <c:v>221334.60800000001</c:v>
                </c:pt>
                <c:pt idx="619">
                  <c:v>213143.266</c:v>
                </c:pt>
                <c:pt idx="620">
                  <c:v>32153.583999999999</c:v>
                </c:pt>
              </c:numCache>
            </c:numRef>
          </c:yVal>
        </c:ser>
        <c:ser>
          <c:idx val="1"/>
          <c:order val="1"/>
          <c:tx>
            <c:v>예측</c:v>
          </c:tx>
          <c:spPr>
            <a:ln w="28575">
              <a:noFill/>
            </a:ln>
          </c:spPr>
          <c:marker>
            <c:symbol val="square"/>
            <c:size val="4"/>
          </c:marker>
          <c:xVal>
            <c:numRef>
              <c:f>Cass_Bottle_Daily!$A$941:$A$1561</c:f>
              <c:numCache>
                <c:formatCode>yyyy/mm/dd</c:formatCode>
                <c:ptCount val="621"/>
                <c:pt idx="0">
                  <c:v>41275</c:v>
                </c:pt>
                <c:pt idx="1">
                  <c:v>41276</c:v>
                </c:pt>
                <c:pt idx="2">
                  <c:v>41277</c:v>
                </c:pt>
                <c:pt idx="3">
                  <c:v>41278</c:v>
                </c:pt>
                <c:pt idx="4">
                  <c:v>41279</c:v>
                </c:pt>
                <c:pt idx="5">
                  <c:v>41281</c:v>
                </c:pt>
                <c:pt idx="6">
                  <c:v>41282</c:v>
                </c:pt>
                <c:pt idx="7">
                  <c:v>41283</c:v>
                </c:pt>
                <c:pt idx="8">
                  <c:v>41284</c:v>
                </c:pt>
                <c:pt idx="9">
                  <c:v>41285</c:v>
                </c:pt>
                <c:pt idx="10">
                  <c:v>41286</c:v>
                </c:pt>
                <c:pt idx="11">
                  <c:v>41288</c:v>
                </c:pt>
                <c:pt idx="12">
                  <c:v>41289</c:v>
                </c:pt>
                <c:pt idx="13">
                  <c:v>41290</c:v>
                </c:pt>
                <c:pt idx="14">
                  <c:v>41291</c:v>
                </c:pt>
                <c:pt idx="15">
                  <c:v>41292</c:v>
                </c:pt>
                <c:pt idx="16">
                  <c:v>41293</c:v>
                </c:pt>
                <c:pt idx="17">
                  <c:v>41295</c:v>
                </c:pt>
                <c:pt idx="18">
                  <c:v>41296</c:v>
                </c:pt>
                <c:pt idx="19">
                  <c:v>41297</c:v>
                </c:pt>
                <c:pt idx="20">
                  <c:v>41298</c:v>
                </c:pt>
                <c:pt idx="21">
                  <c:v>41299</c:v>
                </c:pt>
                <c:pt idx="22">
                  <c:v>41300</c:v>
                </c:pt>
                <c:pt idx="23">
                  <c:v>41302</c:v>
                </c:pt>
                <c:pt idx="24">
                  <c:v>41303</c:v>
                </c:pt>
                <c:pt idx="25">
                  <c:v>41304</c:v>
                </c:pt>
                <c:pt idx="26">
                  <c:v>41305</c:v>
                </c:pt>
                <c:pt idx="27">
                  <c:v>41306</c:v>
                </c:pt>
                <c:pt idx="28">
                  <c:v>41307</c:v>
                </c:pt>
                <c:pt idx="29">
                  <c:v>41309</c:v>
                </c:pt>
                <c:pt idx="30">
                  <c:v>41310</c:v>
                </c:pt>
                <c:pt idx="31">
                  <c:v>41311</c:v>
                </c:pt>
                <c:pt idx="32">
                  <c:v>41312</c:v>
                </c:pt>
                <c:pt idx="33">
                  <c:v>41313</c:v>
                </c:pt>
                <c:pt idx="34">
                  <c:v>41314</c:v>
                </c:pt>
                <c:pt idx="35">
                  <c:v>41316</c:v>
                </c:pt>
                <c:pt idx="36">
                  <c:v>41317</c:v>
                </c:pt>
                <c:pt idx="37">
                  <c:v>41318</c:v>
                </c:pt>
                <c:pt idx="38">
                  <c:v>41319</c:v>
                </c:pt>
                <c:pt idx="39">
                  <c:v>41320</c:v>
                </c:pt>
                <c:pt idx="40">
                  <c:v>41321</c:v>
                </c:pt>
                <c:pt idx="41">
                  <c:v>41323</c:v>
                </c:pt>
                <c:pt idx="42">
                  <c:v>41324</c:v>
                </c:pt>
                <c:pt idx="43">
                  <c:v>41325</c:v>
                </c:pt>
                <c:pt idx="44">
                  <c:v>41326</c:v>
                </c:pt>
                <c:pt idx="45">
                  <c:v>41327</c:v>
                </c:pt>
                <c:pt idx="46">
                  <c:v>41328</c:v>
                </c:pt>
                <c:pt idx="47">
                  <c:v>41330</c:v>
                </c:pt>
                <c:pt idx="48">
                  <c:v>41331</c:v>
                </c:pt>
                <c:pt idx="49">
                  <c:v>41332</c:v>
                </c:pt>
                <c:pt idx="50">
                  <c:v>41333</c:v>
                </c:pt>
                <c:pt idx="51">
                  <c:v>41334</c:v>
                </c:pt>
                <c:pt idx="52">
                  <c:v>41335</c:v>
                </c:pt>
                <c:pt idx="53">
                  <c:v>41337</c:v>
                </c:pt>
                <c:pt idx="54">
                  <c:v>41338</c:v>
                </c:pt>
                <c:pt idx="55">
                  <c:v>41339</c:v>
                </c:pt>
                <c:pt idx="56">
                  <c:v>41340</c:v>
                </c:pt>
                <c:pt idx="57">
                  <c:v>41341</c:v>
                </c:pt>
                <c:pt idx="58">
                  <c:v>41342</c:v>
                </c:pt>
                <c:pt idx="59">
                  <c:v>41344</c:v>
                </c:pt>
                <c:pt idx="60">
                  <c:v>41345</c:v>
                </c:pt>
                <c:pt idx="61">
                  <c:v>41346</c:v>
                </c:pt>
                <c:pt idx="62">
                  <c:v>41347</c:v>
                </c:pt>
                <c:pt idx="63">
                  <c:v>41348</c:v>
                </c:pt>
                <c:pt idx="64">
                  <c:v>41349</c:v>
                </c:pt>
                <c:pt idx="65">
                  <c:v>41351</c:v>
                </c:pt>
                <c:pt idx="66">
                  <c:v>41352</c:v>
                </c:pt>
                <c:pt idx="67">
                  <c:v>41353</c:v>
                </c:pt>
                <c:pt idx="68">
                  <c:v>41354</c:v>
                </c:pt>
                <c:pt idx="69">
                  <c:v>41355</c:v>
                </c:pt>
                <c:pt idx="70">
                  <c:v>41356</c:v>
                </c:pt>
                <c:pt idx="71">
                  <c:v>41358</c:v>
                </c:pt>
                <c:pt idx="72">
                  <c:v>41359</c:v>
                </c:pt>
                <c:pt idx="73">
                  <c:v>41360</c:v>
                </c:pt>
                <c:pt idx="74">
                  <c:v>41361</c:v>
                </c:pt>
                <c:pt idx="75">
                  <c:v>41362</c:v>
                </c:pt>
                <c:pt idx="76">
                  <c:v>41363</c:v>
                </c:pt>
                <c:pt idx="77">
                  <c:v>41365</c:v>
                </c:pt>
                <c:pt idx="78">
                  <c:v>41366</c:v>
                </c:pt>
                <c:pt idx="79">
                  <c:v>41367</c:v>
                </c:pt>
                <c:pt idx="80">
                  <c:v>41368</c:v>
                </c:pt>
                <c:pt idx="81">
                  <c:v>41369</c:v>
                </c:pt>
                <c:pt idx="82">
                  <c:v>41370</c:v>
                </c:pt>
                <c:pt idx="83">
                  <c:v>41372</c:v>
                </c:pt>
                <c:pt idx="84">
                  <c:v>41373</c:v>
                </c:pt>
                <c:pt idx="85">
                  <c:v>41374</c:v>
                </c:pt>
                <c:pt idx="86">
                  <c:v>41375</c:v>
                </c:pt>
                <c:pt idx="87">
                  <c:v>41376</c:v>
                </c:pt>
                <c:pt idx="88">
                  <c:v>41377</c:v>
                </c:pt>
                <c:pt idx="89">
                  <c:v>41379</c:v>
                </c:pt>
                <c:pt idx="90">
                  <c:v>41380</c:v>
                </c:pt>
                <c:pt idx="91">
                  <c:v>41381</c:v>
                </c:pt>
                <c:pt idx="92">
                  <c:v>41382</c:v>
                </c:pt>
                <c:pt idx="93">
                  <c:v>41383</c:v>
                </c:pt>
                <c:pt idx="94">
                  <c:v>41384</c:v>
                </c:pt>
                <c:pt idx="95">
                  <c:v>41386</c:v>
                </c:pt>
                <c:pt idx="96">
                  <c:v>41387</c:v>
                </c:pt>
                <c:pt idx="97">
                  <c:v>41388</c:v>
                </c:pt>
                <c:pt idx="98">
                  <c:v>41389</c:v>
                </c:pt>
                <c:pt idx="99">
                  <c:v>41390</c:v>
                </c:pt>
                <c:pt idx="100">
                  <c:v>41391</c:v>
                </c:pt>
                <c:pt idx="101">
                  <c:v>41393</c:v>
                </c:pt>
                <c:pt idx="102">
                  <c:v>41394</c:v>
                </c:pt>
                <c:pt idx="103">
                  <c:v>41395</c:v>
                </c:pt>
                <c:pt idx="104">
                  <c:v>41396</c:v>
                </c:pt>
                <c:pt idx="105">
                  <c:v>41397</c:v>
                </c:pt>
                <c:pt idx="106">
                  <c:v>41398</c:v>
                </c:pt>
                <c:pt idx="107">
                  <c:v>41400</c:v>
                </c:pt>
                <c:pt idx="108">
                  <c:v>41401</c:v>
                </c:pt>
                <c:pt idx="109">
                  <c:v>41402</c:v>
                </c:pt>
                <c:pt idx="110">
                  <c:v>41403</c:v>
                </c:pt>
                <c:pt idx="111">
                  <c:v>41404</c:v>
                </c:pt>
                <c:pt idx="112">
                  <c:v>41405</c:v>
                </c:pt>
                <c:pt idx="113">
                  <c:v>41407</c:v>
                </c:pt>
                <c:pt idx="114">
                  <c:v>41408</c:v>
                </c:pt>
                <c:pt idx="115">
                  <c:v>41409</c:v>
                </c:pt>
                <c:pt idx="116">
                  <c:v>41410</c:v>
                </c:pt>
                <c:pt idx="117">
                  <c:v>41411</c:v>
                </c:pt>
                <c:pt idx="118">
                  <c:v>41412</c:v>
                </c:pt>
                <c:pt idx="119">
                  <c:v>41414</c:v>
                </c:pt>
                <c:pt idx="120">
                  <c:v>41415</c:v>
                </c:pt>
                <c:pt idx="121">
                  <c:v>41416</c:v>
                </c:pt>
                <c:pt idx="122">
                  <c:v>41417</c:v>
                </c:pt>
                <c:pt idx="123">
                  <c:v>41418</c:v>
                </c:pt>
                <c:pt idx="124">
                  <c:v>41419</c:v>
                </c:pt>
                <c:pt idx="125">
                  <c:v>41421</c:v>
                </c:pt>
                <c:pt idx="126">
                  <c:v>41422</c:v>
                </c:pt>
                <c:pt idx="127">
                  <c:v>41423</c:v>
                </c:pt>
                <c:pt idx="128">
                  <c:v>41424</c:v>
                </c:pt>
                <c:pt idx="129">
                  <c:v>41425</c:v>
                </c:pt>
                <c:pt idx="130">
                  <c:v>41426</c:v>
                </c:pt>
                <c:pt idx="131">
                  <c:v>41428</c:v>
                </c:pt>
                <c:pt idx="132">
                  <c:v>41429</c:v>
                </c:pt>
                <c:pt idx="133">
                  <c:v>41430</c:v>
                </c:pt>
                <c:pt idx="134">
                  <c:v>41431</c:v>
                </c:pt>
                <c:pt idx="135">
                  <c:v>41432</c:v>
                </c:pt>
                <c:pt idx="136">
                  <c:v>41433</c:v>
                </c:pt>
                <c:pt idx="137">
                  <c:v>41435</c:v>
                </c:pt>
                <c:pt idx="138">
                  <c:v>41436</c:v>
                </c:pt>
                <c:pt idx="139">
                  <c:v>41437</c:v>
                </c:pt>
                <c:pt idx="140">
                  <c:v>41438</c:v>
                </c:pt>
                <c:pt idx="141">
                  <c:v>41439</c:v>
                </c:pt>
                <c:pt idx="142">
                  <c:v>41440</c:v>
                </c:pt>
                <c:pt idx="143">
                  <c:v>41442</c:v>
                </c:pt>
                <c:pt idx="144">
                  <c:v>41443</c:v>
                </c:pt>
                <c:pt idx="145">
                  <c:v>41444</c:v>
                </c:pt>
                <c:pt idx="146">
                  <c:v>41445</c:v>
                </c:pt>
                <c:pt idx="147">
                  <c:v>41446</c:v>
                </c:pt>
                <c:pt idx="148">
                  <c:v>41447</c:v>
                </c:pt>
                <c:pt idx="149">
                  <c:v>41449</c:v>
                </c:pt>
                <c:pt idx="150">
                  <c:v>41450</c:v>
                </c:pt>
                <c:pt idx="151">
                  <c:v>41451</c:v>
                </c:pt>
                <c:pt idx="152">
                  <c:v>41452</c:v>
                </c:pt>
                <c:pt idx="153">
                  <c:v>41453</c:v>
                </c:pt>
                <c:pt idx="154">
                  <c:v>41454</c:v>
                </c:pt>
                <c:pt idx="155">
                  <c:v>41456</c:v>
                </c:pt>
                <c:pt idx="156">
                  <c:v>41457</c:v>
                </c:pt>
                <c:pt idx="157">
                  <c:v>41458</c:v>
                </c:pt>
                <c:pt idx="158">
                  <c:v>41459</c:v>
                </c:pt>
                <c:pt idx="159">
                  <c:v>41460</c:v>
                </c:pt>
                <c:pt idx="160">
                  <c:v>41461</c:v>
                </c:pt>
                <c:pt idx="161">
                  <c:v>41463</c:v>
                </c:pt>
                <c:pt idx="162">
                  <c:v>41464</c:v>
                </c:pt>
                <c:pt idx="163">
                  <c:v>41465</c:v>
                </c:pt>
                <c:pt idx="164">
                  <c:v>41466</c:v>
                </c:pt>
                <c:pt idx="165">
                  <c:v>41467</c:v>
                </c:pt>
                <c:pt idx="166">
                  <c:v>41468</c:v>
                </c:pt>
                <c:pt idx="167">
                  <c:v>41470</c:v>
                </c:pt>
                <c:pt idx="168">
                  <c:v>41471</c:v>
                </c:pt>
                <c:pt idx="169">
                  <c:v>41472</c:v>
                </c:pt>
                <c:pt idx="170">
                  <c:v>41473</c:v>
                </c:pt>
                <c:pt idx="171">
                  <c:v>41474</c:v>
                </c:pt>
                <c:pt idx="172">
                  <c:v>41475</c:v>
                </c:pt>
                <c:pt idx="173">
                  <c:v>41477</c:v>
                </c:pt>
                <c:pt idx="174">
                  <c:v>41478</c:v>
                </c:pt>
                <c:pt idx="175">
                  <c:v>41479</c:v>
                </c:pt>
                <c:pt idx="176">
                  <c:v>41480</c:v>
                </c:pt>
                <c:pt idx="177">
                  <c:v>41481</c:v>
                </c:pt>
                <c:pt idx="178">
                  <c:v>41482</c:v>
                </c:pt>
                <c:pt idx="179">
                  <c:v>41484</c:v>
                </c:pt>
                <c:pt idx="180">
                  <c:v>41485</c:v>
                </c:pt>
                <c:pt idx="181">
                  <c:v>41486</c:v>
                </c:pt>
                <c:pt idx="182">
                  <c:v>41487</c:v>
                </c:pt>
                <c:pt idx="183">
                  <c:v>41488</c:v>
                </c:pt>
                <c:pt idx="184">
                  <c:v>41489</c:v>
                </c:pt>
                <c:pt idx="185">
                  <c:v>41491</c:v>
                </c:pt>
                <c:pt idx="186">
                  <c:v>41492</c:v>
                </c:pt>
                <c:pt idx="187">
                  <c:v>41493</c:v>
                </c:pt>
                <c:pt idx="188">
                  <c:v>41494</c:v>
                </c:pt>
                <c:pt idx="189">
                  <c:v>41495</c:v>
                </c:pt>
                <c:pt idx="190">
                  <c:v>41496</c:v>
                </c:pt>
                <c:pt idx="191">
                  <c:v>41498</c:v>
                </c:pt>
                <c:pt idx="192">
                  <c:v>41499</c:v>
                </c:pt>
                <c:pt idx="193">
                  <c:v>41500</c:v>
                </c:pt>
                <c:pt idx="194">
                  <c:v>41501</c:v>
                </c:pt>
                <c:pt idx="195">
                  <c:v>41502</c:v>
                </c:pt>
                <c:pt idx="196">
                  <c:v>41503</c:v>
                </c:pt>
                <c:pt idx="197">
                  <c:v>41505</c:v>
                </c:pt>
                <c:pt idx="198">
                  <c:v>41506</c:v>
                </c:pt>
                <c:pt idx="199">
                  <c:v>41507</c:v>
                </c:pt>
                <c:pt idx="200">
                  <c:v>41508</c:v>
                </c:pt>
                <c:pt idx="201">
                  <c:v>41509</c:v>
                </c:pt>
                <c:pt idx="202">
                  <c:v>41510</c:v>
                </c:pt>
                <c:pt idx="203">
                  <c:v>41512</c:v>
                </c:pt>
                <c:pt idx="204">
                  <c:v>41513</c:v>
                </c:pt>
                <c:pt idx="205">
                  <c:v>41514</c:v>
                </c:pt>
                <c:pt idx="206">
                  <c:v>41515</c:v>
                </c:pt>
                <c:pt idx="207">
                  <c:v>41516</c:v>
                </c:pt>
                <c:pt idx="208">
                  <c:v>41517</c:v>
                </c:pt>
                <c:pt idx="209">
                  <c:v>41519</c:v>
                </c:pt>
                <c:pt idx="210">
                  <c:v>41520</c:v>
                </c:pt>
                <c:pt idx="211">
                  <c:v>41521</c:v>
                </c:pt>
                <c:pt idx="212">
                  <c:v>41522</c:v>
                </c:pt>
                <c:pt idx="213">
                  <c:v>41523</c:v>
                </c:pt>
                <c:pt idx="214">
                  <c:v>41524</c:v>
                </c:pt>
                <c:pt idx="215">
                  <c:v>41526</c:v>
                </c:pt>
                <c:pt idx="216">
                  <c:v>41527</c:v>
                </c:pt>
                <c:pt idx="217">
                  <c:v>41528</c:v>
                </c:pt>
                <c:pt idx="218">
                  <c:v>41529</c:v>
                </c:pt>
                <c:pt idx="219">
                  <c:v>41530</c:v>
                </c:pt>
                <c:pt idx="220">
                  <c:v>41531</c:v>
                </c:pt>
                <c:pt idx="221">
                  <c:v>41533</c:v>
                </c:pt>
                <c:pt idx="222">
                  <c:v>41534</c:v>
                </c:pt>
                <c:pt idx="223">
                  <c:v>41535</c:v>
                </c:pt>
                <c:pt idx="224">
                  <c:v>41536</c:v>
                </c:pt>
                <c:pt idx="225">
                  <c:v>41537</c:v>
                </c:pt>
                <c:pt idx="226">
                  <c:v>41538</c:v>
                </c:pt>
                <c:pt idx="227">
                  <c:v>41540</c:v>
                </c:pt>
                <c:pt idx="228">
                  <c:v>41541</c:v>
                </c:pt>
                <c:pt idx="229">
                  <c:v>41542</c:v>
                </c:pt>
                <c:pt idx="230">
                  <c:v>41543</c:v>
                </c:pt>
                <c:pt idx="231">
                  <c:v>41544</c:v>
                </c:pt>
                <c:pt idx="232">
                  <c:v>41545</c:v>
                </c:pt>
                <c:pt idx="233">
                  <c:v>41547</c:v>
                </c:pt>
                <c:pt idx="234">
                  <c:v>41548</c:v>
                </c:pt>
                <c:pt idx="235">
                  <c:v>41549</c:v>
                </c:pt>
                <c:pt idx="236">
                  <c:v>41550</c:v>
                </c:pt>
                <c:pt idx="237">
                  <c:v>41551</c:v>
                </c:pt>
                <c:pt idx="238">
                  <c:v>41552</c:v>
                </c:pt>
                <c:pt idx="239">
                  <c:v>41554</c:v>
                </c:pt>
                <c:pt idx="240">
                  <c:v>41555</c:v>
                </c:pt>
                <c:pt idx="241">
                  <c:v>41556</c:v>
                </c:pt>
                <c:pt idx="242">
                  <c:v>41557</c:v>
                </c:pt>
                <c:pt idx="243">
                  <c:v>41558</c:v>
                </c:pt>
                <c:pt idx="244">
                  <c:v>41559</c:v>
                </c:pt>
                <c:pt idx="245">
                  <c:v>41561</c:v>
                </c:pt>
                <c:pt idx="246">
                  <c:v>41562</c:v>
                </c:pt>
                <c:pt idx="247">
                  <c:v>41563</c:v>
                </c:pt>
                <c:pt idx="248">
                  <c:v>41564</c:v>
                </c:pt>
                <c:pt idx="249">
                  <c:v>41565</c:v>
                </c:pt>
                <c:pt idx="250">
                  <c:v>41566</c:v>
                </c:pt>
                <c:pt idx="251">
                  <c:v>41568</c:v>
                </c:pt>
                <c:pt idx="252">
                  <c:v>41569</c:v>
                </c:pt>
                <c:pt idx="253">
                  <c:v>41570</c:v>
                </c:pt>
                <c:pt idx="254">
                  <c:v>41571</c:v>
                </c:pt>
                <c:pt idx="255">
                  <c:v>41572</c:v>
                </c:pt>
                <c:pt idx="256">
                  <c:v>41573</c:v>
                </c:pt>
                <c:pt idx="257">
                  <c:v>41575</c:v>
                </c:pt>
                <c:pt idx="258">
                  <c:v>41576</c:v>
                </c:pt>
                <c:pt idx="259">
                  <c:v>41577</c:v>
                </c:pt>
                <c:pt idx="260">
                  <c:v>41578</c:v>
                </c:pt>
                <c:pt idx="261">
                  <c:v>41579</c:v>
                </c:pt>
                <c:pt idx="262">
                  <c:v>41580</c:v>
                </c:pt>
                <c:pt idx="263">
                  <c:v>41582</c:v>
                </c:pt>
                <c:pt idx="264">
                  <c:v>41583</c:v>
                </c:pt>
                <c:pt idx="265">
                  <c:v>41584</c:v>
                </c:pt>
                <c:pt idx="266">
                  <c:v>41585</c:v>
                </c:pt>
                <c:pt idx="267">
                  <c:v>41586</c:v>
                </c:pt>
                <c:pt idx="268">
                  <c:v>41587</c:v>
                </c:pt>
                <c:pt idx="269">
                  <c:v>41589</c:v>
                </c:pt>
                <c:pt idx="270">
                  <c:v>41590</c:v>
                </c:pt>
                <c:pt idx="271">
                  <c:v>41591</c:v>
                </c:pt>
                <c:pt idx="272">
                  <c:v>41592</c:v>
                </c:pt>
                <c:pt idx="273">
                  <c:v>41593</c:v>
                </c:pt>
                <c:pt idx="274">
                  <c:v>41594</c:v>
                </c:pt>
                <c:pt idx="275">
                  <c:v>41596</c:v>
                </c:pt>
                <c:pt idx="276">
                  <c:v>41597</c:v>
                </c:pt>
                <c:pt idx="277">
                  <c:v>41598</c:v>
                </c:pt>
                <c:pt idx="278">
                  <c:v>41599</c:v>
                </c:pt>
                <c:pt idx="279">
                  <c:v>41600</c:v>
                </c:pt>
                <c:pt idx="280">
                  <c:v>41601</c:v>
                </c:pt>
                <c:pt idx="281">
                  <c:v>41603</c:v>
                </c:pt>
                <c:pt idx="282">
                  <c:v>41604</c:v>
                </c:pt>
                <c:pt idx="283">
                  <c:v>41605</c:v>
                </c:pt>
                <c:pt idx="284">
                  <c:v>41606</c:v>
                </c:pt>
                <c:pt idx="285">
                  <c:v>41607</c:v>
                </c:pt>
                <c:pt idx="286">
                  <c:v>41608</c:v>
                </c:pt>
                <c:pt idx="287">
                  <c:v>41610</c:v>
                </c:pt>
                <c:pt idx="288">
                  <c:v>41611</c:v>
                </c:pt>
                <c:pt idx="289">
                  <c:v>41612</c:v>
                </c:pt>
                <c:pt idx="290">
                  <c:v>41613</c:v>
                </c:pt>
                <c:pt idx="291">
                  <c:v>41614</c:v>
                </c:pt>
                <c:pt idx="292">
                  <c:v>41615</c:v>
                </c:pt>
                <c:pt idx="293">
                  <c:v>41617</c:v>
                </c:pt>
                <c:pt idx="294">
                  <c:v>41618</c:v>
                </c:pt>
                <c:pt idx="295">
                  <c:v>41619</c:v>
                </c:pt>
                <c:pt idx="296">
                  <c:v>41620</c:v>
                </c:pt>
                <c:pt idx="297">
                  <c:v>41621</c:v>
                </c:pt>
                <c:pt idx="298">
                  <c:v>41622</c:v>
                </c:pt>
                <c:pt idx="299">
                  <c:v>41624</c:v>
                </c:pt>
                <c:pt idx="300">
                  <c:v>41625</c:v>
                </c:pt>
                <c:pt idx="301">
                  <c:v>41626</c:v>
                </c:pt>
                <c:pt idx="302">
                  <c:v>41627</c:v>
                </c:pt>
                <c:pt idx="303">
                  <c:v>41628</c:v>
                </c:pt>
                <c:pt idx="304">
                  <c:v>41629</c:v>
                </c:pt>
                <c:pt idx="305">
                  <c:v>41631</c:v>
                </c:pt>
                <c:pt idx="306">
                  <c:v>41632</c:v>
                </c:pt>
                <c:pt idx="307">
                  <c:v>41633</c:v>
                </c:pt>
                <c:pt idx="308">
                  <c:v>41634</c:v>
                </c:pt>
                <c:pt idx="309">
                  <c:v>41635</c:v>
                </c:pt>
                <c:pt idx="310">
                  <c:v>41636</c:v>
                </c:pt>
                <c:pt idx="311">
                  <c:v>41638</c:v>
                </c:pt>
                <c:pt idx="312">
                  <c:v>41639</c:v>
                </c:pt>
                <c:pt idx="313">
                  <c:v>41640</c:v>
                </c:pt>
                <c:pt idx="314">
                  <c:v>41641</c:v>
                </c:pt>
                <c:pt idx="315">
                  <c:v>41642</c:v>
                </c:pt>
                <c:pt idx="316">
                  <c:v>41643</c:v>
                </c:pt>
                <c:pt idx="317">
                  <c:v>41645</c:v>
                </c:pt>
                <c:pt idx="318">
                  <c:v>41646</c:v>
                </c:pt>
                <c:pt idx="319">
                  <c:v>41647</c:v>
                </c:pt>
                <c:pt idx="320">
                  <c:v>41648</c:v>
                </c:pt>
                <c:pt idx="321">
                  <c:v>41649</c:v>
                </c:pt>
                <c:pt idx="322">
                  <c:v>41650</c:v>
                </c:pt>
                <c:pt idx="323">
                  <c:v>41652</c:v>
                </c:pt>
                <c:pt idx="324">
                  <c:v>41653</c:v>
                </c:pt>
                <c:pt idx="325">
                  <c:v>41654</c:v>
                </c:pt>
                <c:pt idx="326">
                  <c:v>41655</c:v>
                </c:pt>
                <c:pt idx="327">
                  <c:v>41656</c:v>
                </c:pt>
                <c:pt idx="328">
                  <c:v>41657</c:v>
                </c:pt>
                <c:pt idx="329">
                  <c:v>41659</c:v>
                </c:pt>
                <c:pt idx="330">
                  <c:v>41660</c:v>
                </c:pt>
                <c:pt idx="331">
                  <c:v>41661</c:v>
                </c:pt>
                <c:pt idx="332">
                  <c:v>41662</c:v>
                </c:pt>
                <c:pt idx="333">
                  <c:v>41663</c:v>
                </c:pt>
                <c:pt idx="334">
                  <c:v>41664</c:v>
                </c:pt>
                <c:pt idx="335">
                  <c:v>41666</c:v>
                </c:pt>
                <c:pt idx="336">
                  <c:v>41667</c:v>
                </c:pt>
                <c:pt idx="337">
                  <c:v>41668</c:v>
                </c:pt>
                <c:pt idx="338">
                  <c:v>41669</c:v>
                </c:pt>
                <c:pt idx="339">
                  <c:v>41670</c:v>
                </c:pt>
                <c:pt idx="340">
                  <c:v>41671</c:v>
                </c:pt>
                <c:pt idx="341">
                  <c:v>41673</c:v>
                </c:pt>
                <c:pt idx="342">
                  <c:v>41674</c:v>
                </c:pt>
                <c:pt idx="343">
                  <c:v>41675</c:v>
                </c:pt>
                <c:pt idx="344">
                  <c:v>41676</c:v>
                </c:pt>
                <c:pt idx="345">
                  <c:v>41677</c:v>
                </c:pt>
                <c:pt idx="346">
                  <c:v>41678</c:v>
                </c:pt>
                <c:pt idx="347">
                  <c:v>41680</c:v>
                </c:pt>
                <c:pt idx="348">
                  <c:v>41681</c:v>
                </c:pt>
                <c:pt idx="349">
                  <c:v>41682</c:v>
                </c:pt>
                <c:pt idx="350">
                  <c:v>41683</c:v>
                </c:pt>
                <c:pt idx="351">
                  <c:v>41684</c:v>
                </c:pt>
                <c:pt idx="352">
                  <c:v>41685</c:v>
                </c:pt>
                <c:pt idx="353">
                  <c:v>41687</c:v>
                </c:pt>
                <c:pt idx="354">
                  <c:v>41688</c:v>
                </c:pt>
                <c:pt idx="355">
                  <c:v>41689</c:v>
                </c:pt>
                <c:pt idx="356">
                  <c:v>41690</c:v>
                </c:pt>
                <c:pt idx="357">
                  <c:v>41691</c:v>
                </c:pt>
                <c:pt idx="358">
                  <c:v>41692</c:v>
                </c:pt>
                <c:pt idx="359">
                  <c:v>41694</c:v>
                </c:pt>
                <c:pt idx="360">
                  <c:v>41695</c:v>
                </c:pt>
                <c:pt idx="361">
                  <c:v>41696</c:v>
                </c:pt>
                <c:pt idx="362">
                  <c:v>41697</c:v>
                </c:pt>
                <c:pt idx="363">
                  <c:v>41698</c:v>
                </c:pt>
                <c:pt idx="364">
                  <c:v>41699</c:v>
                </c:pt>
                <c:pt idx="365">
                  <c:v>41701</c:v>
                </c:pt>
                <c:pt idx="366">
                  <c:v>41702</c:v>
                </c:pt>
                <c:pt idx="367">
                  <c:v>41703</c:v>
                </c:pt>
                <c:pt idx="368">
                  <c:v>41704</c:v>
                </c:pt>
                <c:pt idx="369">
                  <c:v>41705</c:v>
                </c:pt>
                <c:pt idx="370">
                  <c:v>41706</c:v>
                </c:pt>
                <c:pt idx="371">
                  <c:v>41708</c:v>
                </c:pt>
                <c:pt idx="372">
                  <c:v>41709</c:v>
                </c:pt>
                <c:pt idx="373">
                  <c:v>41710</c:v>
                </c:pt>
                <c:pt idx="374">
                  <c:v>41711</c:v>
                </c:pt>
                <c:pt idx="375">
                  <c:v>41712</c:v>
                </c:pt>
                <c:pt idx="376">
                  <c:v>41713</c:v>
                </c:pt>
                <c:pt idx="377">
                  <c:v>41715</c:v>
                </c:pt>
                <c:pt idx="378">
                  <c:v>41716</c:v>
                </c:pt>
                <c:pt idx="379">
                  <c:v>41717</c:v>
                </c:pt>
                <c:pt idx="380">
                  <c:v>41718</c:v>
                </c:pt>
                <c:pt idx="381">
                  <c:v>41719</c:v>
                </c:pt>
                <c:pt idx="382">
                  <c:v>41720</c:v>
                </c:pt>
                <c:pt idx="383">
                  <c:v>41722</c:v>
                </c:pt>
                <c:pt idx="384">
                  <c:v>41723</c:v>
                </c:pt>
                <c:pt idx="385">
                  <c:v>41724</c:v>
                </c:pt>
                <c:pt idx="386">
                  <c:v>41725</c:v>
                </c:pt>
                <c:pt idx="387">
                  <c:v>41726</c:v>
                </c:pt>
                <c:pt idx="388">
                  <c:v>41727</c:v>
                </c:pt>
                <c:pt idx="389">
                  <c:v>41729</c:v>
                </c:pt>
                <c:pt idx="390">
                  <c:v>41730</c:v>
                </c:pt>
                <c:pt idx="391">
                  <c:v>41731</c:v>
                </c:pt>
                <c:pt idx="392">
                  <c:v>41732</c:v>
                </c:pt>
                <c:pt idx="393">
                  <c:v>41733</c:v>
                </c:pt>
                <c:pt idx="394">
                  <c:v>41734</c:v>
                </c:pt>
                <c:pt idx="395">
                  <c:v>41736</c:v>
                </c:pt>
                <c:pt idx="396">
                  <c:v>41737</c:v>
                </c:pt>
                <c:pt idx="397">
                  <c:v>41738</c:v>
                </c:pt>
                <c:pt idx="398">
                  <c:v>41739</c:v>
                </c:pt>
                <c:pt idx="399">
                  <c:v>41740</c:v>
                </c:pt>
                <c:pt idx="400">
                  <c:v>41741</c:v>
                </c:pt>
                <c:pt idx="401">
                  <c:v>41743</c:v>
                </c:pt>
                <c:pt idx="402">
                  <c:v>41744</c:v>
                </c:pt>
                <c:pt idx="403">
                  <c:v>41745</c:v>
                </c:pt>
                <c:pt idx="404">
                  <c:v>41746</c:v>
                </c:pt>
                <c:pt idx="405">
                  <c:v>41747</c:v>
                </c:pt>
                <c:pt idx="406">
                  <c:v>41748</c:v>
                </c:pt>
                <c:pt idx="407">
                  <c:v>41750</c:v>
                </c:pt>
                <c:pt idx="408">
                  <c:v>41751</c:v>
                </c:pt>
                <c:pt idx="409">
                  <c:v>41752</c:v>
                </c:pt>
                <c:pt idx="410">
                  <c:v>41753</c:v>
                </c:pt>
                <c:pt idx="411">
                  <c:v>41754</c:v>
                </c:pt>
                <c:pt idx="412">
                  <c:v>41755</c:v>
                </c:pt>
                <c:pt idx="413">
                  <c:v>41757</c:v>
                </c:pt>
                <c:pt idx="414">
                  <c:v>41758</c:v>
                </c:pt>
                <c:pt idx="415">
                  <c:v>41759</c:v>
                </c:pt>
                <c:pt idx="416">
                  <c:v>41760</c:v>
                </c:pt>
                <c:pt idx="417">
                  <c:v>41761</c:v>
                </c:pt>
                <c:pt idx="418">
                  <c:v>41762</c:v>
                </c:pt>
                <c:pt idx="419">
                  <c:v>41764</c:v>
                </c:pt>
                <c:pt idx="420">
                  <c:v>41765</c:v>
                </c:pt>
                <c:pt idx="421">
                  <c:v>41766</c:v>
                </c:pt>
                <c:pt idx="422">
                  <c:v>41767</c:v>
                </c:pt>
                <c:pt idx="423">
                  <c:v>41768</c:v>
                </c:pt>
                <c:pt idx="424">
                  <c:v>41769</c:v>
                </c:pt>
                <c:pt idx="425">
                  <c:v>41771</c:v>
                </c:pt>
                <c:pt idx="426">
                  <c:v>41772</c:v>
                </c:pt>
                <c:pt idx="427">
                  <c:v>41773</c:v>
                </c:pt>
                <c:pt idx="428">
                  <c:v>41774</c:v>
                </c:pt>
                <c:pt idx="429">
                  <c:v>41775</c:v>
                </c:pt>
                <c:pt idx="430">
                  <c:v>41776</c:v>
                </c:pt>
                <c:pt idx="431">
                  <c:v>41778</c:v>
                </c:pt>
                <c:pt idx="432">
                  <c:v>41779</c:v>
                </c:pt>
                <c:pt idx="433">
                  <c:v>41780</c:v>
                </c:pt>
                <c:pt idx="434">
                  <c:v>41781</c:v>
                </c:pt>
                <c:pt idx="435">
                  <c:v>41782</c:v>
                </c:pt>
                <c:pt idx="436">
                  <c:v>41783</c:v>
                </c:pt>
                <c:pt idx="437">
                  <c:v>41785</c:v>
                </c:pt>
                <c:pt idx="438">
                  <c:v>41786</c:v>
                </c:pt>
                <c:pt idx="439">
                  <c:v>41787</c:v>
                </c:pt>
                <c:pt idx="440">
                  <c:v>41788</c:v>
                </c:pt>
                <c:pt idx="441">
                  <c:v>41789</c:v>
                </c:pt>
                <c:pt idx="442">
                  <c:v>41790</c:v>
                </c:pt>
                <c:pt idx="443">
                  <c:v>41792</c:v>
                </c:pt>
                <c:pt idx="444">
                  <c:v>41793</c:v>
                </c:pt>
                <c:pt idx="445">
                  <c:v>41794</c:v>
                </c:pt>
                <c:pt idx="446">
                  <c:v>41795</c:v>
                </c:pt>
                <c:pt idx="447">
                  <c:v>41796</c:v>
                </c:pt>
                <c:pt idx="448">
                  <c:v>41797</c:v>
                </c:pt>
                <c:pt idx="449">
                  <c:v>41799</c:v>
                </c:pt>
                <c:pt idx="450">
                  <c:v>41800</c:v>
                </c:pt>
                <c:pt idx="451">
                  <c:v>41801</c:v>
                </c:pt>
                <c:pt idx="452">
                  <c:v>41802</c:v>
                </c:pt>
                <c:pt idx="453">
                  <c:v>41803</c:v>
                </c:pt>
                <c:pt idx="454">
                  <c:v>41804</c:v>
                </c:pt>
                <c:pt idx="455">
                  <c:v>41806</c:v>
                </c:pt>
                <c:pt idx="456">
                  <c:v>41807</c:v>
                </c:pt>
                <c:pt idx="457">
                  <c:v>41808</c:v>
                </c:pt>
                <c:pt idx="458">
                  <c:v>41809</c:v>
                </c:pt>
                <c:pt idx="459">
                  <c:v>41810</c:v>
                </c:pt>
                <c:pt idx="460">
                  <c:v>41811</c:v>
                </c:pt>
                <c:pt idx="461">
                  <c:v>41813</c:v>
                </c:pt>
                <c:pt idx="462">
                  <c:v>41814</c:v>
                </c:pt>
                <c:pt idx="463">
                  <c:v>41815</c:v>
                </c:pt>
                <c:pt idx="464">
                  <c:v>41816</c:v>
                </c:pt>
                <c:pt idx="465">
                  <c:v>41817</c:v>
                </c:pt>
                <c:pt idx="466">
                  <c:v>41818</c:v>
                </c:pt>
                <c:pt idx="467">
                  <c:v>41820</c:v>
                </c:pt>
                <c:pt idx="468">
                  <c:v>41821</c:v>
                </c:pt>
                <c:pt idx="469">
                  <c:v>41822</c:v>
                </c:pt>
                <c:pt idx="470">
                  <c:v>41823</c:v>
                </c:pt>
                <c:pt idx="471">
                  <c:v>41824</c:v>
                </c:pt>
                <c:pt idx="472">
                  <c:v>41825</c:v>
                </c:pt>
                <c:pt idx="473">
                  <c:v>41827</c:v>
                </c:pt>
                <c:pt idx="474">
                  <c:v>41828</c:v>
                </c:pt>
                <c:pt idx="475">
                  <c:v>41829</c:v>
                </c:pt>
                <c:pt idx="476">
                  <c:v>41830</c:v>
                </c:pt>
                <c:pt idx="477">
                  <c:v>41831</c:v>
                </c:pt>
                <c:pt idx="478">
                  <c:v>41832</c:v>
                </c:pt>
                <c:pt idx="479">
                  <c:v>41834</c:v>
                </c:pt>
                <c:pt idx="480">
                  <c:v>41835</c:v>
                </c:pt>
                <c:pt idx="481">
                  <c:v>41836</c:v>
                </c:pt>
                <c:pt idx="482">
                  <c:v>41837</c:v>
                </c:pt>
                <c:pt idx="483">
                  <c:v>41838</c:v>
                </c:pt>
                <c:pt idx="484">
                  <c:v>41839</c:v>
                </c:pt>
                <c:pt idx="485">
                  <c:v>41841</c:v>
                </c:pt>
                <c:pt idx="486">
                  <c:v>41842</c:v>
                </c:pt>
                <c:pt idx="487">
                  <c:v>41843</c:v>
                </c:pt>
                <c:pt idx="488">
                  <c:v>41844</c:v>
                </c:pt>
                <c:pt idx="489">
                  <c:v>41845</c:v>
                </c:pt>
                <c:pt idx="490">
                  <c:v>41846</c:v>
                </c:pt>
                <c:pt idx="491">
                  <c:v>41848</c:v>
                </c:pt>
                <c:pt idx="492">
                  <c:v>41849</c:v>
                </c:pt>
                <c:pt idx="493">
                  <c:v>41850</c:v>
                </c:pt>
                <c:pt idx="494">
                  <c:v>41851</c:v>
                </c:pt>
                <c:pt idx="495">
                  <c:v>41852</c:v>
                </c:pt>
                <c:pt idx="496">
                  <c:v>41853</c:v>
                </c:pt>
                <c:pt idx="497">
                  <c:v>41855</c:v>
                </c:pt>
                <c:pt idx="498">
                  <c:v>41856</c:v>
                </c:pt>
                <c:pt idx="499">
                  <c:v>41857</c:v>
                </c:pt>
                <c:pt idx="500">
                  <c:v>41858</c:v>
                </c:pt>
                <c:pt idx="501">
                  <c:v>41859</c:v>
                </c:pt>
                <c:pt idx="502">
                  <c:v>41860</c:v>
                </c:pt>
                <c:pt idx="503">
                  <c:v>41862</c:v>
                </c:pt>
                <c:pt idx="504">
                  <c:v>41863</c:v>
                </c:pt>
                <c:pt idx="505">
                  <c:v>41864</c:v>
                </c:pt>
                <c:pt idx="506">
                  <c:v>41865</c:v>
                </c:pt>
                <c:pt idx="507">
                  <c:v>41866</c:v>
                </c:pt>
                <c:pt idx="508">
                  <c:v>41867</c:v>
                </c:pt>
                <c:pt idx="509">
                  <c:v>41869</c:v>
                </c:pt>
                <c:pt idx="510">
                  <c:v>41870</c:v>
                </c:pt>
                <c:pt idx="511">
                  <c:v>41871</c:v>
                </c:pt>
                <c:pt idx="512">
                  <c:v>41872</c:v>
                </c:pt>
                <c:pt idx="513">
                  <c:v>41873</c:v>
                </c:pt>
                <c:pt idx="514">
                  <c:v>41874</c:v>
                </c:pt>
                <c:pt idx="515">
                  <c:v>41876</c:v>
                </c:pt>
                <c:pt idx="516">
                  <c:v>41877</c:v>
                </c:pt>
                <c:pt idx="517">
                  <c:v>41878</c:v>
                </c:pt>
                <c:pt idx="518">
                  <c:v>41879</c:v>
                </c:pt>
                <c:pt idx="519">
                  <c:v>41880</c:v>
                </c:pt>
                <c:pt idx="520">
                  <c:v>41881</c:v>
                </c:pt>
                <c:pt idx="521">
                  <c:v>41883</c:v>
                </c:pt>
                <c:pt idx="522">
                  <c:v>41884</c:v>
                </c:pt>
                <c:pt idx="523">
                  <c:v>41885</c:v>
                </c:pt>
                <c:pt idx="524">
                  <c:v>41886</c:v>
                </c:pt>
                <c:pt idx="525">
                  <c:v>41887</c:v>
                </c:pt>
                <c:pt idx="526">
                  <c:v>41888</c:v>
                </c:pt>
                <c:pt idx="527">
                  <c:v>41890</c:v>
                </c:pt>
                <c:pt idx="528">
                  <c:v>41891</c:v>
                </c:pt>
                <c:pt idx="529">
                  <c:v>41892</c:v>
                </c:pt>
                <c:pt idx="530">
                  <c:v>41893</c:v>
                </c:pt>
                <c:pt idx="531">
                  <c:v>41894</c:v>
                </c:pt>
                <c:pt idx="532">
                  <c:v>41895</c:v>
                </c:pt>
                <c:pt idx="533">
                  <c:v>41897</c:v>
                </c:pt>
                <c:pt idx="534">
                  <c:v>41898</c:v>
                </c:pt>
                <c:pt idx="535">
                  <c:v>41899</c:v>
                </c:pt>
                <c:pt idx="536">
                  <c:v>41900</c:v>
                </c:pt>
                <c:pt idx="537">
                  <c:v>41901</c:v>
                </c:pt>
                <c:pt idx="538">
                  <c:v>41902</c:v>
                </c:pt>
                <c:pt idx="539">
                  <c:v>41904</c:v>
                </c:pt>
                <c:pt idx="540">
                  <c:v>41905</c:v>
                </c:pt>
                <c:pt idx="541">
                  <c:v>41906</c:v>
                </c:pt>
                <c:pt idx="542">
                  <c:v>41907</c:v>
                </c:pt>
                <c:pt idx="543">
                  <c:v>41908</c:v>
                </c:pt>
                <c:pt idx="544">
                  <c:v>41909</c:v>
                </c:pt>
                <c:pt idx="545">
                  <c:v>41911</c:v>
                </c:pt>
                <c:pt idx="546">
                  <c:v>41912</c:v>
                </c:pt>
                <c:pt idx="547">
                  <c:v>41913</c:v>
                </c:pt>
                <c:pt idx="548">
                  <c:v>41914</c:v>
                </c:pt>
                <c:pt idx="549">
                  <c:v>41915</c:v>
                </c:pt>
                <c:pt idx="550">
                  <c:v>41916</c:v>
                </c:pt>
                <c:pt idx="551">
                  <c:v>41918</c:v>
                </c:pt>
                <c:pt idx="552">
                  <c:v>41919</c:v>
                </c:pt>
                <c:pt idx="553">
                  <c:v>41920</c:v>
                </c:pt>
                <c:pt idx="554">
                  <c:v>41921</c:v>
                </c:pt>
                <c:pt idx="555">
                  <c:v>41922</c:v>
                </c:pt>
                <c:pt idx="556">
                  <c:v>41923</c:v>
                </c:pt>
                <c:pt idx="557">
                  <c:v>41925</c:v>
                </c:pt>
                <c:pt idx="558">
                  <c:v>41926</c:v>
                </c:pt>
                <c:pt idx="559">
                  <c:v>41927</c:v>
                </c:pt>
                <c:pt idx="560">
                  <c:v>41928</c:v>
                </c:pt>
                <c:pt idx="561">
                  <c:v>41929</c:v>
                </c:pt>
                <c:pt idx="562">
                  <c:v>41930</c:v>
                </c:pt>
                <c:pt idx="563">
                  <c:v>41932</c:v>
                </c:pt>
                <c:pt idx="564">
                  <c:v>41933</c:v>
                </c:pt>
                <c:pt idx="565">
                  <c:v>41934</c:v>
                </c:pt>
                <c:pt idx="566">
                  <c:v>41935</c:v>
                </c:pt>
                <c:pt idx="567">
                  <c:v>41936</c:v>
                </c:pt>
                <c:pt idx="568">
                  <c:v>41937</c:v>
                </c:pt>
                <c:pt idx="569">
                  <c:v>41939</c:v>
                </c:pt>
                <c:pt idx="570">
                  <c:v>41940</c:v>
                </c:pt>
                <c:pt idx="571">
                  <c:v>41941</c:v>
                </c:pt>
                <c:pt idx="572">
                  <c:v>41942</c:v>
                </c:pt>
                <c:pt idx="573">
                  <c:v>41943</c:v>
                </c:pt>
                <c:pt idx="574">
                  <c:v>41944</c:v>
                </c:pt>
                <c:pt idx="575">
                  <c:v>41946</c:v>
                </c:pt>
                <c:pt idx="576">
                  <c:v>41947</c:v>
                </c:pt>
                <c:pt idx="577">
                  <c:v>41948</c:v>
                </c:pt>
                <c:pt idx="578">
                  <c:v>41949</c:v>
                </c:pt>
                <c:pt idx="579">
                  <c:v>41950</c:v>
                </c:pt>
                <c:pt idx="580">
                  <c:v>41951</c:v>
                </c:pt>
                <c:pt idx="581">
                  <c:v>41953</c:v>
                </c:pt>
                <c:pt idx="582">
                  <c:v>41954</c:v>
                </c:pt>
                <c:pt idx="583">
                  <c:v>41955</c:v>
                </c:pt>
                <c:pt idx="584">
                  <c:v>41956</c:v>
                </c:pt>
                <c:pt idx="585">
                  <c:v>41957</c:v>
                </c:pt>
                <c:pt idx="586">
                  <c:v>41958</c:v>
                </c:pt>
                <c:pt idx="587">
                  <c:v>41960</c:v>
                </c:pt>
                <c:pt idx="588">
                  <c:v>41961</c:v>
                </c:pt>
                <c:pt idx="589">
                  <c:v>41962</c:v>
                </c:pt>
                <c:pt idx="590">
                  <c:v>41963</c:v>
                </c:pt>
                <c:pt idx="591">
                  <c:v>41964</c:v>
                </c:pt>
                <c:pt idx="592">
                  <c:v>41965</c:v>
                </c:pt>
                <c:pt idx="593">
                  <c:v>41967</c:v>
                </c:pt>
                <c:pt idx="594">
                  <c:v>41968</c:v>
                </c:pt>
                <c:pt idx="595">
                  <c:v>41969</c:v>
                </c:pt>
                <c:pt idx="596">
                  <c:v>41970</c:v>
                </c:pt>
                <c:pt idx="597">
                  <c:v>41971</c:v>
                </c:pt>
                <c:pt idx="598">
                  <c:v>41972</c:v>
                </c:pt>
                <c:pt idx="599">
                  <c:v>41974</c:v>
                </c:pt>
                <c:pt idx="600">
                  <c:v>41975</c:v>
                </c:pt>
                <c:pt idx="601">
                  <c:v>41976</c:v>
                </c:pt>
                <c:pt idx="602">
                  <c:v>41977</c:v>
                </c:pt>
                <c:pt idx="603">
                  <c:v>41978</c:v>
                </c:pt>
                <c:pt idx="604">
                  <c:v>41979</c:v>
                </c:pt>
                <c:pt idx="605">
                  <c:v>41981</c:v>
                </c:pt>
                <c:pt idx="606">
                  <c:v>41982</c:v>
                </c:pt>
                <c:pt idx="607">
                  <c:v>41983</c:v>
                </c:pt>
                <c:pt idx="608">
                  <c:v>41984</c:v>
                </c:pt>
                <c:pt idx="609">
                  <c:v>41985</c:v>
                </c:pt>
                <c:pt idx="610">
                  <c:v>41986</c:v>
                </c:pt>
                <c:pt idx="611">
                  <c:v>41988</c:v>
                </c:pt>
                <c:pt idx="612">
                  <c:v>41989</c:v>
                </c:pt>
                <c:pt idx="613">
                  <c:v>41990</c:v>
                </c:pt>
                <c:pt idx="614">
                  <c:v>41991</c:v>
                </c:pt>
                <c:pt idx="615">
                  <c:v>41992</c:v>
                </c:pt>
                <c:pt idx="616">
                  <c:v>41993</c:v>
                </c:pt>
                <c:pt idx="617">
                  <c:v>41995</c:v>
                </c:pt>
                <c:pt idx="618">
                  <c:v>41996</c:v>
                </c:pt>
                <c:pt idx="619">
                  <c:v>41997</c:v>
                </c:pt>
                <c:pt idx="620">
                  <c:v>41998</c:v>
                </c:pt>
              </c:numCache>
            </c:numRef>
          </c:xVal>
          <c:yVal>
            <c:numRef>
              <c:f>Cass_Bottle_Daily!$C$941:$C$1561</c:f>
              <c:numCache>
                <c:formatCode>_(* #,##0_);_(* \(#,##0\);_(* "-"_);_(@_)</c:formatCode>
                <c:ptCount val="621"/>
                <c:pt idx="0">
                  <c:v>45333.370269753897</c:v>
                </c:pt>
                <c:pt idx="1">
                  <c:v>215373.25796912514</c:v>
                </c:pt>
                <c:pt idx="2">
                  <c:v>183282.813312755</c:v>
                </c:pt>
                <c:pt idx="3">
                  <c:v>143132.065134273</c:v>
                </c:pt>
                <c:pt idx="4">
                  <c:v>895.86954580178292</c:v>
                </c:pt>
                <c:pt idx="5">
                  <c:v>143616.81622723999</c:v>
                </c:pt>
                <c:pt idx="6">
                  <c:v>131100.657380541</c:v>
                </c:pt>
                <c:pt idx="7">
                  <c:v>109473.231409596</c:v>
                </c:pt>
                <c:pt idx="8">
                  <c:v>111135.32914271724</c:v>
                </c:pt>
                <c:pt idx="9">
                  <c:v>132874.93182823301</c:v>
                </c:pt>
                <c:pt idx="10">
                  <c:v>3213.4670904305722</c:v>
                </c:pt>
                <c:pt idx="11">
                  <c:v>136955.67562968854</c:v>
                </c:pt>
                <c:pt idx="12">
                  <c:v>134866.521901236</c:v>
                </c:pt>
                <c:pt idx="13">
                  <c:v>116159.23410483821</c:v>
                </c:pt>
                <c:pt idx="14">
                  <c:v>124281.83035286108</c:v>
                </c:pt>
                <c:pt idx="15">
                  <c:v>130465.70647564001</c:v>
                </c:pt>
                <c:pt idx="16">
                  <c:v>1074.9656891645257</c:v>
                </c:pt>
                <c:pt idx="17">
                  <c:v>134872.81813967801</c:v>
                </c:pt>
                <c:pt idx="18">
                  <c:v>135581.82776889898</c:v>
                </c:pt>
                <c:pt idx="19">
                  <c:v>119455.763857631</c:v>
                </c:pt>
                <c:pt idx="20">
                  <c:v>131156.276267526</c:v>
                </c:pt>
                <c:pt idx="21">
                  <c:v>128112.533710572</c:v>
                </c:pt>
                <c:pt idx="22">
                  <c:v>-5954.7996373748301</c:v>
                </c:pt>
                <c:pt idx="23">
                  <c:v>129379.803525827</c:v>
                </c:pt>
                <c:pt idx="24">
                  <c:v>118109.61729890402</c:v>
                </c:pt>
                <c:pt idx="25">
                  <c:v>98938.961820172684</c:v>
                </c:pt>
                <c:pt idx="26">
                  <c:v>104840.16255127081</c:v>
                </c:pt>
                <c:pt idx="27">
                  <c:v>218675.28794856876</c:v>
                </c:pt>
                <c:pt idx="28">
                  <c:v>12058.154929725277</c:v>
                </c:pt>
                <c:pt idx="29">
                  <c:v>183962.14584211411</c:v>
                </c:pt>
                <c:pt idx="30">
                  <c:v>169867.11397898779</c:v>
                </c:pt>
                <c:pt idx="31">
                  <c:v>141239.985903202</c:v>
                </c:pt>
                <c:pt idx="32">
                  <c:v>149888.97509327965</c:v>
                </c:pt>
                <c:pt idx="33">
                  <c:v>144951.47747040499</c:v>
                </c:pt>
                <c:pt idx="34">
                  <c:v>18008.794322525999</c:v>
                </c:pt>
                <c:pt idx="35">
                  <c:v>0</c:v>
                </c:pt>
                <c:pt idx="36">
                  <c:v>122772.652747118</c:v>
                </c:pt>
                <c:pt idx="37">
                  <c:v>113961.46838202894</c:v>
                </c:pt>
                <c:pt idx="38">
                  <c:v>126804.75816812299</c:v>
                </c:pt>
                <c:pt idx="39">
                  <c:v>128590.333844418</c:v>
                </c:pt>
                <c:pt idx="40">
                  <c:v>364.98201590271822</c:v>
                </c:pt>
                <c:pt idx="41">
                  <c:v>133341.76565917238</c:v>
                </c:pt>
                <c:pt idx="42">
                  <c:v>126980.98387161172</c:v>
                </c:pt>
                <c:pt idx="43">
                  <c:v>99351.508748486027</c:v>
                </c:pt>
                <c:pt idx="44">
                  <c:v>122770.341713576</c:v>
                </c:pt>
                <c:pt idx="45">
                  <c:v>127906.67004281824</c:v>
                </c:pt>
                <c:pt idx="46">
                  <c:v>-5497.7432296800134</c:v>
                </c:pt>
                <c:pt idx="47">
                  <c:v>125159.21257232464</c:v>
                </c:pt>
                <c:pt idx="48">
                  <c:v>112440.78485762897</c:v>
                </c:pt>
                <c:pt idx="49">
                  <c:v>125941.978482422</c:v>
                </c:pt>
                <c:pt idx="50">
                  <c:v>96720.071745946057</c:v>
                </c:pt>
                <c:pt idx="51">
                  <c:v>134328.62198845399</c:v>
                </c:pt>
                <c:pt idx="52">
                  <c:v>3468.6449551037135</c:v>
                </c:pt>
                <c:pt idx="53">
                  <c:v>207167.997717152</c:v>
                </c:pt>
                <c:pt idx="54">
                  <c:v>170943.67145030099</c:v>
                </c:pt>
                <c:pt idx="55">
                  <c:v>149772.036094682</c:v>
                </c:pt>
                <c:pt idx="56">
                  <c:v>152673.46925057098</c:v>
                </c:pt>
                <c:pt idx="57">
                  <c:v>151439.61501588239</c:v>
                </c:pt>
                <c:pt idx="58">
                  <c:v>19656.195918001202</c:v>
                </c:pt>
                <c:pt idx="59">
                  <c:v>155323.92116114261</c:v>
                </c:pt>
                <c:pt idx="60">
                  <c:v>154442.84952335898</c:v>
                </c:pt>
                <c:pt idx="61">
                  <c:v>132281.23091094199</c:v>
                </c:pt>
                <c:pt idx="62">
                  <c:v>142220.37851260058</c:v>
                </c:pt>
                <c:pt idx="63">
                  <c:v>148600.225580484</c:v>
                </c:pt>
                <c:pt idx="64">
                  <c:v>11898.9864845258</c:v>
                </c:pt>
                <c:pt idx="65">
                  <c:v>153134.11196112199</c:v>
                </c:pt>
                <c:pt idx="66">
                  <c:v>148587.17547237201</c:v>
                </c:pt>
                <c:pt idx="67">
                  <c:v>121266.33432995119</c:v>
                </c:pt>
                <c:pt idx="68">
                  <c:v>142432.82598028201</c:v>
                </c:pt>
                <c:pt idx="69">
                  <c:v>145336.582899103</c:v>
                </c:pt>
                <c:pt idx="70">
                  <c:v>11111.212220812244</c:v>
                </c:pt>
                <c:pt idx="71">
                  <c:v>147301.868087357</c:v>
                </c:pt>
                <c:pt idx="72">
                  <c:v>137233.85916126095</c:v>
                </c:pt>
                <c:pt idx="73">
                  <c:v>115749.08980043299</c:v>
                </c:pt>
                <c:pt idx="74">
                  <c:v>114912.925175777</c:v>
                </c:pt>
                <c:pt idx="75">
                  <c:v>109939.25265557101</c:v>
                </c:pt>
                <c:pt idx="76">
                  <c:v>8329.3748388187596</c:v>
                </c:pt>
                <c:pt idx="77">
                  <c:v>200038.06851864298</c:v>
                </c:pt>
                <c:pt idx="78">
                  <c:v>168689.96347018398</c:v>
                </c:pt>
                <c:pt idx="79">
                  <c:v>148210.71100428901</c:v>
                </c:pt>
                <c:pt idx="80">
                  <c:v>156309.55229850701</c:v>
                </c:pt>
                <c:pt idx="81">
                  <c:v>153832.55510510001</c:v>
                </c:pt>
                <c:pt idx="82">
                  <c:v>8496.2340535055228</c:v>
                </c:pt>
                <c:pt idx="83">
                  <c:v>155227.39188506</c:v>
                </c:pt>
                <c:pt idx="84">
                  <c:v>146918.58047421</c:v>
                </c:pt>
                <c:pt idx="85">
                  <c:v>112373.946506885</c:v>
                </c:pt>
                <c:pt idx="86">
                  <c:v>138182.71594486682</c:v>
                </c:pt>
                <c:pt idx="87">
                  <c:v>144117.86127132701</c:v>
                </c:pt>
                <c:pt idx="88">
                  <c:v>5849.9784233763885</c:v>
                </c:pt>
                <c:pt idx="89">
                  <c:v>147178.99075458301</c:v>
                </c:pt>
                <c:pt idx="90">
                  <c:v>150660.70654067001</c:v>
                </c:pt>
                <c:pt idx="91">
                  <c:v>136561.11577866573</c:v>
                </c:pt>
                <c:pt idx="92">
                  <c:v>143249.718018821</c:v>
                </c:pt>
                <c:pt idx="93">
                  <c:v>149441.70448841</c:v>
                </c:pt>
                <c:pt idx="94">
                  <c:v>5856.0765564358244</c:v>
                </c:pt>
                <c:pt idx="95">
                  <c:v>151530.937986609</c:v>
                </c:pt>
                <c:pt idx="96">
                  <c:v>145966.820009897</c:v>
                </c:pt>
                <c:pt idx="97">
                  <c:v>132622.26661624658</c:v>
                </c:pt>
                <c:pt idx="98">
                  <c:v>134267.98648785142</c:v>
                </c:pt>
                <c:pt idx="99">
                  <c:v>130796.407186397</c:v>
                </c:pt>
                <c:pt idx="100">
                  <c:v>9724.2833788680709</c:v>
                </c:pt>
                <c:pt idx="101">
                  <c:v>126253.80889727701</c:v>
                </c:pt>
                <c:pt idx="102">
                  <c:v>115166.58401969699</c:v>
                </c:pt>
                <c:pt idx="103">
                  <c:v>242765.69678268899</c:v>
                </c:pt>
                <c:pt idx="104">
                  <c:v>213547.75676084598</c:v>
                </c:pt>
                <c:pt idx="105">
                  <c:v>208880.34959513298</c:v>
                </c:pt>
                <c:pt idx="106">
                  <c:v>16059.845989434569</c:v>
                </c:pt>
                <c:pt idx="107">
                  <c:v>173033.74282645411</c:v>
                </c:pt>
                <c:pt idx="108">
                  <c:v>165318.504001455</c:v>
                </c:pt>
                <c:pt idx="109">
                  <c:v>151702.79648632955</c:v>
                </c:pt>
                <c:pt idx="110">
                  <c:v>162344.48741745861</c:v>
                </c:pt>
                <c:pt idx="111">
                  <c:v>150746.27160602299</c:v>
                </c:pt>
                <c:pt idx="112">
                  <c:v>23203.906757322598</c:v>
                </c:pt>
                <c:pt idx="113">
                  <c:v>173129.27512682011</c:v>
                </c:pt>
                <c:pt idx="114">
                  <c:v>167859.92488689555</c:v>
                </c:pt>
                <c:pt idx="115">
                  <c:v>169239.91132596417</c:v>
                </c:pt>
                <c:pt idx="116">
                  <c:v>183538.71125339699</c:v>
                </c:pt>
                <c:pt idx="117">
                  <c:v>76146.851869110003</c:v>
                </c:pt>
                <c:pt idx="118">
                  <c:v>22037.6517110694</c:v>
                </c:pt>
                <c:pt idx="119">
                  <c:v>183510.92541080798</c:v>
                </c:pt>
                <c:pt idx="120">
                  <c:v>167041.69971296898</c:v>
                </c:pt>
                <c:pt idx="121">
                  <c:v>151152.32274419599</c:v>
                </c:pt>
                <c:pt idx="122">
                  <c:v>162434.98084533738</c:v>
                </c:pt>
                <c:pt idx="123">
                  <c:v>168024.55305783701</c:v>
                </c:pt>
                <c:pt idx="124">
                  <c:v>27889.785050771301</c:v>
                </c:pt>
                <c:pt idx="125">
                  <c:v>174843.51604545748</c:v>
                </c:pt>
                <c:pt idx="126">
                  <c:v>161003.73010650501</c:v>
                </c:pt>
                <c:pt idx="127">
                  <c:v>135329.97388888901</c:v>
                </c:pt>
                <c:pt idx="128">
                  <c:v>136938.92358349761</c:v>
                </c:pt>
                <c:pt idx="129">
                  <c:v>113463.64978435819</c:v>
                </c:pt>
                <c:pt idx="130">
                  <c:v>66986.580447736327</c:v>
                </c:pt>
                <c:pt idx="131">
                  <c:v>216798.07643667958</c:v>
                </c:pt>
                <c:pt idx="132">
                  <c:v>232915.18421710798</c:v>
                </c:pt>
                <c:pt idx="133">
                  <c:v>211807.54121108699</c:v>
                </c:pt>
                <c:pt idx="134">
                  <c:v>59687.556817550503</c:v>
                </c:pt>
                <c:pt idx="135">
                  <c:v>215617.81633977804</c:v>
                </c:pt>
                <c:pt idx="136">
                  <c:v>35726.735887334275</c:v>
                </c:pt>
                <c:pt idx="137">
                  <c:v>182126.29395449601</c:v>
                </c:pt>
                <c:pt idx="138">
                  <c:v>186955.57829267098</c:v>
                </c:pt>
                <c:pt idx="139">
                  <c:v>166419.692583469</c:v>
                </c:pt>
                <c:pt idx="140">
                  <c:v>182646.82433748661</c:v>
                </c:pt>
                <c:pt idx="141">
                  <c:v>188223.79327336038</c:v>
                </c:pt>
                <c:pt idx="142">
                  <c:v>31151.279655057348</c:v>
                </c:pt>
                <c:pt idx="143">
                  <c:v>184369.21268815538</c:v>
                </c:pt>
                <c:pt idx="144">
                  <c:v>182985.78887424499</c:v>
                </c:pt>
                <c:pt idx="145">
                  <c:v>167848.38097792299</c:v>
                </c:pt>
                <c:pt idx="146">
                  <c:v>168431.64697380239</c:v>
                </c:pt>
                <c:pt idx="147">
                  <c:v>186013.139564857</c:v>
                </c:pt>
                <c:pt idx="148">
                  <c:v>31008.8436345874</c:v>
                </c:pt>
                <c:pt idx="149">
                  <c:v>188273.12340966001</c:v>
                </c:pt>
                <c:pt idx="150">
                  <c:v>180231.504843075</c:v>
                </c:pt>
                <c:pt idx="151">
                  <c:v>152024.637468984</c:v>
                </c:pt>
                <c:pt idx="152">
                  <c:v>151188.066288434</c:v>
                </c:pt>
                <c:pt idx="153">
                  <c:v>151913.70395858039</c:v>
                </c:pt>
                <c:pt idx="154">
                  <c:v>37718.654033279934</c:v>
                </c:pt>
                <c:pt idx="155">
                  <c:v>245877.695160278</c:v>
                </c:pt>
                <c:pt idx="156">
                  <c:v>212202.36202996311</c:v>
                </c:pt>
                <c:pt idx="157">
                  <c:v>189413.43350270292</c:v>
                </c:pt>
                <c:pt idx="158">
                  <c:v>194220.38184649355</c:v>
                </c:pt>
                <c:pt idx="159">
                  <c:v>188998.427144249</c:v>
                </c:pt>
                <c:pt idx="160">
                  <c:v>25347.686896323921</c:v>
                </c:pt>
                <c:pt idx="161">
                  <c:v>189104.01335183138</c:v>
                </c:pt>
                <c:pt idx="162">
                  <c:v>188171.84883076101</c:v>
                </c:pt>
                <c:pt idx="163">
                  <c:v>161295.154315035</c:v>
                </c:pt>
                <c:pt idx="164">
                  <c:v>182439.95155872795</c:v>
                </c:pt>
                <c:pt idx="165">
                  <c:v>182683.45824275</c:v>
                </c:pt>
                <c:pt idx="166">
                  <c:v>24912.808608108098</c:v>
                </c:pt>
                <c:pt idx="167">
                  <c:v>190438.85677335892</c:v>
                </c:pt>
                <c:pt idx="168">
                  <c:v>188911.62701229355</c:v>
                </c:pt>
                <c:pt idx="169">
                  <c:v>166843.38629594355</c:v>
                </c:pt>
                <c:pt idx="170">
                  <c:v>179944.16528152311</c:v>
                </c:pt>
                <c:pt idx="171">
                  <c:v>189865.86983759768</c:v>
                </c:pt>
                <c:pt idx="172">
                  <c:v>29640.705260028</c:v>
                </c:pt>
                <c:pt idx="173">
                  <c:v>195891.27212730248</c:v>
                </c:pt>
                <c:pt idx="174">
                  <c:v>194433.48824528907</c:v>
                </c:pt>
                <c:pt idx="175">
                  <c:v>175942.03794445773</c:v>
                </c:pt>
                <c:pt idx="176">
                  <c:v>187218.763526408</c:v>
                </c:pt>
                <c:pt idx="177">
                  <c:v>184715.02662767458</c:v>
                </c:pt>
                <c:pt idx="178">
                  <c:v>30775.315164221305</c:v>
                </c:pt>
                <c:pt idx="179">
                  <c:v>184515.04737131079</c:v>
                </c:pt>
                <c:pt idx="180">
                  <c:v>171134.91059831998</c:v>
                </c:pt>
                <c:pt idx="181">
                  <c:v>146754.39759673568</c:v>
                </c:pt>
                <c:pt idx="182">
                  <c:v>267439.79568094801</c:v>
                </c:pt>
                <c:pt idx="183">
                  <c:v>234676.13759302392</c:v>
                </c:pt>
                <c:pt idx="184">
                  <c:v>46245.516154668599</c:v>
                </c:pt>
                <c:pt idx="185">
                  <c:v>193646.13889461401</c:v>
                </c:pt>
                <c:pt idx="186">
                  <c:v>179354.226409939</c:v>
                </c:pt>
                <c:pt idx="187">
                  <c:v>160446.289647597</c:v>
                </c:pt>
                <c:pt idx="188">
                  <c:v>172211.70497641811</c:v>
                </c:pt>
                <c:pt idx="189">
                  <c:v>177792.23023805738</c:v>
                </c:pt>
                <c:pt idx="190">
                  <c:v>9476.8693300304294</c:v>
                </c:pt>
                <c:pt idx="191">
                  <c:v>209193.13504966139</c:v>
                </c:pt>
                <c:pt idx="192">
                  <c:v>225307.68498446501</c:v>
                </c:pt>
                <c:pt idx="193">
                  <c:v>207647.56356343965</c:v>
                </c:pt>
                <c:pt idx="194">
                  <c:v>55845.496319370395</c:v>
                </c:pt>
                <c:pt idx="195">
                  <c:v>214126.944243153</c:v>
                </c:pt>
                <c:pt idx="196">
                  <c:v>41907.378655347435</c:v>
                </c:pt>
                <c:pt idx="197">
                  <c:v>206045.39117530099</c:v>
                </c:pt>
                <c:pt idx="198">
                  <c:v>188649.48159305323</c:v>
                </c:pt>
                <c:pt idx="199">
                  <c:v>187580.954149881</c:v>
                </c:pt>
                <c:pt idx="200">
                  <c:v>203914.54688671001</c:v>
                </c:pt>
                <c:pt idx="201">
                  <c:v>200316.395977698</c:v>
                </c:pt>
                <c:pt idx="202">
                  <c:v>35122.375398205797</c:v>
                </c:pt>
                <c:pt idx="203">
                  <c:v>204231.00715005101</c:v>
                </c:pt>
                <c:pt idx="204">
                  <c:v>189005.83251208268</c:v>
                </c:pt>
                <c:pt idx="205">
                  <c:v>166670.50884310738</c:v>
                </c:pt>
                <c:pt idx="206">
                  <c:v>170359.65456113665</c:v>
                </c:pt>
                <c:pt idx="207">
                  <c:v>163443.77493535104</c:v>
                </c:pt>
                <c:pt idx="208">
                  <c:v>11276.911992743577</c:v>
                </c:pt>
                <c:pt idx="209">
                  <c:v>253423.09303994701</c:v>
                </c:pt>
                <c:pt idx="210">
                  <c:v>242095.91457515801</c:v>
                </c:pt>
                <c:pt idx="211">
                  <c:v>217642.91425089</c:v>
                </c:pt>
                <c:pt idx="212">
                  <c:v>220780.06128481301</c:v>
                </c:pt>
                <c:pt idx="213">
                  <c:v>215603.722525144</c:v>
                </c:pt>
                <c:pt idx="214">
                  <c:v>52767.585808816599</c:v>
                </c:pt>
                <c:pt idx="215">
                  <c:v>237857.38381380565</c:v>
                </c:pt>
                <c:pt idx="216">
                  <c:v>221541.463509016</c:v>
                </c:pt>
                <c:pt idx="217">
                  <c:v>215996.89144400298</c:v>
                </c:pt>
                <c:pt idx="218">
                  <c:v>232838.359275439</c:v>
                </c:pt>
                <c:pt idx="219">
                  <c:v>236370.274210081</c:v>
                </c:pt>
                <c:pt idx="220">
                  <c:v>71615.827820309307</c:v>
                </c:pt>
                <c:pt idx="221">
                  <c:v>340796.67567619</c:v>
                </c:pt>
                <c:pt idx="222">
                  <c:v>340087.28374549799</c:v>
                </c:pt>
                <c:pt idx="223">
                  <c:v>37073.475259253995</c:v>
                </c:pt>
                <c:pt idx="224">
                  <c:v>0</c:v>
                </c:pt>
                <c:pt idx="225">
                  <c:v>0</c:v>
                </c:pt>
                <c:pt idx="226">
                  <c:v>25442.555249858531</c:v>
                </c:pt>
                <c:pt idx="227">
                  <c:v>190933.99788895811</c:v>
                </c:pt>
                <c:pt idx="228">
                  <c:v>186143.20888843338</c:v>
                </c:pt>
                <c:pt idx="229">
                  <c:v>157557.93444668598</c:v>
                </c:pt>
                <c:pt idx="230">
                  <c:v>157891.08123417798</c:v>
                </c:pt>
                <c:pt idx="231">
                  <c:v>155874.09070346001</c:v>
                </c:pt>
                <c:pt idx="232">
                  <c:v>15156.810292369</c:v>
                </c:pt>
                <c:pt idx="233">
                  <c:v>148446.26688609799</c:v>
                </c:pt>
                <c:pt idx="234">
                  <c:v>292054.08675019653</c:v>
                </c:pt>
                <c:pt idx="235">
                  <c:v>233085.65084088911</c:v>
                </c:pt>
                <c:pt idx="236">
                  <c:v>70728.728656174906</c:v>
                </c:pt>
                <c:pt idx="237">
                  <c:v>226354.83021956999</c:v>
                </c:pt>
                <c:pt idx="238">
                  <c:v>18877.5568389533</c:v>
                </c:pt>
                <c:pt idx="239">
                  <c:v>223255.25276197999</c:v>
                </c:pt>
                <c:pt idx="240">
                  <c:v>209592.69818166838</c:v>
                </c:pt>
                <c:pt idx="241">
                  <c:v>48364.171981754407</c:v>
                </c:pt>
                <c:pt idx="242">
                  <c:v>193377.07800489001</c:v>
                </c:pt>
                <c:pt idx="243">
                  <c:v>180364.38481537055</c:v>
                </c:pt>
                <c:pt idx="244">
                  <c:v>14959.8468673071</c:v>
                </c:pt>
                <c:pt idx="245">
                  <c:v>184513.448354894</c:v>
                </c:pt>
                <c:pt idx="246">
                  <c:v>175232.25539853401</c:v>
                </c:pt>
                <c:pt idx="247">
                  <c:v>158236.21115910611</c:v>
                </c:pt>
                <c:pt idx="248">
                  <c:v>173242.56774136273</c:v>
                </c:pt>
                <c:pt idx="249">
                  <c:v>175417.279367496</c:v>
                </c:pt>
                <c:pt idx="250">
                  <c:v>10190.169401457602</c:v>
                </c:pt>
                <c:pt idx="251">
                  <c:v>178550.43275801511</c:v>
                </c:pt>
                <c:pt idx="252">
                  <c:v>176539.034441653</c:v>
                </c:pt>
                <c:pt idx="253">
                  <c:v>162215.82484446</c:v>
                </c:pt>
                <c:pt idx="254">
                  <c:v>172932.27402113311</c:v>
                </c:pt>
                <c:pt idx="255">
                  <c:v>174765.36020371001</c:v>
                </c:pt>
                <c:pt idx="256">
                  <c:v>12820.841788934114</c:v>
                </c:pt>
                <c:pt idx="257">
                  <c:v>166375.38701248865</c:v>
                </c:pt>
                <c:pt idx="258">
                  <c:v>154104.94465905899</c:v>
                </c:pt>
                <c:pt idx="259">
                  <c:v>130259.014914662</c:v>
                </c:pt>
                <c:pt idx="260">
                  <c:v>133819.92371438598</c:v>
                </c:pt>
                <c:pt idx="261">
                  <c:v>250829.48154743158</c:v>
                </c:pt>
                <c:pt idx="262">
                  <c:v>6380.4279441429799</c:v>
                </c:pt>
                <c:pt idx="263">
                  <c:v>201362.45207227598</c:v>
                </c:pt>
                <c:pt idx="264">
                  <c:v>190424.22661945201</c:v>
                </c:pt>
                <c:pt idx="265">
                  <c:v>162764.44999768</c:v>
                </c:pt>
                <c:pt idx="266">
                  <c:v>167073.39234577017</c:v>
                </c:pt>
                <c:pt idx="267">
                  <c:v>171471.10990096111</c:v>
                </c:pt>
                <c:pt idx="268">
                  <c:v>7861.0755196815044</c:v>
                </c:pt>
                <c:pt idx="269">
                  <c:v>168328.002413977</c:v>
                </c:pt>
                <c:pt idx="270">
                  <c:v>168578.113695279</c:v>
                </c:pt>
                <c:pt idx="271">
                  <c:v>152788.59724425754</c:v>
                </c:pt>
                <c:pt idx="272">
                  <c:v>159663.65025229455</c:v>
                </c:pt>
                <c:pt idx="273">
                  <c:v>167774.54915276999</c:v>
                </c:pt>
                <c:pt idx="274">
                  <c:v>5081.7973509514395</c:v>
                </c:pt>
                <c:pt idx="275">
                  <c:v>166753.157560413</c:v>
                </c:pt>
                <c:pt idx="276">
                  <c:v>161006.32058589158</c:v>
                </c:pt>
                <c:pt idx="277">
                  <c:v>135508.798160645</c:v>
                </c:pt>
                <c:pt idx="278">
                  <c:v>158423.68004126742</c:v>
                </c:pt>
                <c:pt idx="279">
                  <c:v>166441.864139207</c:v>
                </c:pt>
                <c:pt idx="280">
                  <c:v>4537.7304854286085</c:v>
                </c:pt>
                <c:pt idx="281">
                  <c:v>171576.619489145</c:v>
                </c:pt>
                <c:pt idx="282">
                  <c:v>156525.40044773501</c:v>
                </c:pt>
                <c:pt idx="283">
                  <c:v>132047.89540837595</c:v>
                </c:pt>
                <c:pt idx="284">
                  <c:v>127198.83466229019</c:v>
                </c:pt>
                <c:pt idx="285">
                  <c:v>127003.51761269799</c:v>
                </c:pt>
                <c:pt idx="286">
                  <c:v>-16495.896860034605</c:v>
                </c:pt>
                <c:pt idx="287">
                  <c:v>208148.12368274055</c:v>
                </c:pt>
                <c:pt idx="288">
                  <c:v>202474.89285988011</c:v>
                </c:pt>
                <c:pt idx="289">
                  <c:v>179779.84558230298</c:v>
                </c:pt>
                <c:pt idx="290">
                  <c:v>181373.76250551757</c:v>
                </c:pt>
                <c:pt idx="291">
                  <c:v>179349.74384508358</c:v>
                </c:pt>
                <c:pt idx="292">
                  <c:v>16404.1918553039</c:v>
                </c:pt>
                <c:pt idx="293">
                  <c:v>177554.27084399611</c:v>
                </c:pt>
                <c:pt idx="294">
                  <c:v>164763.35854826</c:v>
                </c:pt>
                <c:pt idx="295">
                  <c:v>155444.71932509239</c:v>
                </c:pt>
                <c:pt idx="296">
                  <c:v>168458.807083564</c:v>
                </c:pt>
                <c:pt idx="297">
                  <c:v>166775.34650542599</c:v>
                </c:pt>
                <c:pt idx="298">
                  <c:v>4096.9665004698318</c:v>
                </c:pt>
                <c:pt idx="299">
                  <c:v>177587.58971847568</c:v>
                </c:pt>
                <c:pt idx="300">
                  <c:v>177510.04515542238</c:v>
                </c:pt>
                <c:pt idx="301">
                  <c:v>178121.53061644657</c:v>
                </c:pt>
                <c:pt idx="302">
                  <c:v>183863.58178650268</c:v>
                </c:pt>
                <c:pt idx="303">
                  <c:v>176288.68428689355</c:v>
                </c:pt>
                <c:pt idx="304">
                  <c:v>26317.3214524299</c:v>
                </c:pt>
                <c:pt idx="305">
                  <c:v>261589.37022474501</c:v>
                </c:pt>
                <c:pt idx="306">
                  <c:v>262868.72589207202</c:v>
                </c:pt>
                <c:pt idx="307">
                  <c:v>47183.57287729215</c:v>
                </c:pt>
                <c:pt idx="308">
                  <c:v>211473.62685380099</c:v>
                </c:pt>
                <c:pt idx="309">
                  <c:v>169834.611900391</c:v>
                </c:pt>
                <c:pt idx="310">
                  <c:v>22014.105762257401</c:v>
                </c:pt>
                <c:pt idx="311">
                  <c:v>167861.83052042298</c:v>
                </c:pt>
                <c:pt idx="312">
                  <c:v>158356.88361955158</c:v>
                </c:pt>
                <c:pt idx="313">
                  <c:v>46217.305344826003</c:v>
                </c:pt>
                <c:pt idx="314">
                  <c:v>299548.15296000178</c:v>
                </c:pt>
                <c:pt idx="315">
                  <c:v>266711.06550394982</c:v>
                </c:pt>
                <c:pt idx="316">
                  <c:v>7398.3100126716954</c:v>
                </c:pt>
                <c:pt idx="317">
                  <c:v>187959.24632891576</c:v>
                </c:pt>
                <c:pt idx="318">
                  <c:v>172996.71329401611</c:v>
                </c:pt>
                <c:pt idx="319">
                  <c:v>148813.51482232701</c:v>
                </c:pt>
                <c:pt idx="320">
                  <c:v>152857.72156219333</c:v>
                </c:pt>
                <c:pt idx="321">
                  <c:v>146983.23545181911</c:v>
                </c:pt>
                <c:pt idx="322">
                  <c:v>938.77748673420399</c:v>
                </c:pt>
                <c:pt idx="323">
                  <c:v>168221.60341669052</c:v>
                </c:pt>
                <c:pt idx="324">
                  <c:v>167862.63938097499</c:v>
                </c:pt>
                <c:pt idx="325">
                  <c:v>153107.68847215798</c:v>
                </c:pt>
                <c:pt idx="326">
                  <c:v>162792.33986699765</c:v>
                </c:pt>
                <c:pt idx="327">
                  <c:v>168408.82317267568</c:v>
                </c:pt>
                <c:pt idx="328">
                  <c:v>2664.8905685493964</c:v>
                </c:pt>
                <c:pt idx="329">
                  <c:v>176661.13434573339</c:v>
                </c:pt>
                <c:pt idx="330">
                  <c:v>181917.625806978</c:v>
                </c:pt>
                <c:pt idx="331">
                  <c:v>170155.39658373457</c:v>
                </c:pt>
                <c:pt idx="332">
                  <c:v>184890.80442829442</c:v>
                </c:pt>
                <c:pt idx="333">
                  <c:v>182544.20464174711</c:v>
                </c:pt>
                <c:pt idx="334">
                  <c:v>28490.287239951005</c:v>
                </c:pt>
                <c:pt idx="335">
                  <c:v>237086.57148730368</c:v>
                </c:pt>
                <c:pt idx="336">
                  <c:v>224924.398914238</c:v>
                </c:pt>
                <c:pt idx="337">
                  <c:v>201787.539898202</c:v>
                </c:pt>
                <c:pt idx="338">
                  <c:v>21290.078277953347</c:v>
                </c:pt>
                <c:pt idx="339">
                  <c:v>0</c:v>
                </c:pt>
                <c:pt idx="340">
                  <c:v>0</c:v>
                </c:pt>
                <c:pt idx="341">
                  <c:v>195496.44524623401</c:v>
                </c:pt>
                <c:pt idx="342">
                  <c:v>179273.66869043099</c:v>
                </c:pt>
                <c:pt idx="343">
                  <c:v>160648.956870892</c:v>
                </c:pt>
                <c:pt idx="344">
                  <c:v>163904.987073686</c:v>
                </c:pt>
                <c:pt idx="345">
                  <c:v>161098.44313955499</c:v>
                </c:pt>
                <c:pt idx="346">
                  <c:v>-9749.1110558895798</c:v>
                </c:pt>
                <c:pt idx="347">
                  <c:v>149853.09144870099</c:v>
                </c:pt>
                <c:pt idx="348">
                  <c:v>160496.65916111399</c:v>
                </c:pt>
                <c:pt idx="349">
                  <c:v>142221.71895256138</c:v>
                </c:pt>
                <c:pt idx="350">
                  <c:v>156207.52811116801</c:v>
                </c:pt>
                <c:pt idx="351">
                  <c:v>163100.779662738</c:v>
                </c:pt>
                <c:pt idx="352">
                  <c:v>460.43363382042293</c:v>
                </c:pt>
                <c:pt idx="353">
                  <c:v>165516.31283342</c:v>
                </c:pt>
                <c:pt idx="354">
                  <c:v>159454.33594563114</c:v>
                </c:pt>
                <c:pt idx="355">
                  <c:v>144955.857431866</c:v>
                </c:pt>
                <c:pt idx="356">
                  <c:v>142960.94143788458</c:v>
                </c:pt>
                <c:pt idx="357">
                  <c:v>161213.76479043599</c:v>
                </c:pt>
                <c:pt idx="358">
                  <c:v>-4148.9202777822002</c:v>
                </c:pt>
                <c:pt idx="359">
                  <c:v>161867.30481332439</c:v>
                </c:pt>
                <c:pt idx="360">
                  <c:v>153143.38137426399</c:v>
                </c:pt>
                <c:pt idx="361">
                  <c:v>132956.19911801998</c:v>
                </c:pt>
                <c:pt idx="362">
                  <c:v>131844.29732504638</c:v>
                </c:pt>
                <c:pt idx="363">
                  <c:v>110738.31329736381</c:v>
                </c:pt>
                <c:pt idx="364">
                  <c:v>30056.512201344802</c:v>
                </c:pt>
                <c:pt idx="365">
                  <c:v>212914.93629903701</c:v>
                </c:pt>
                <c:pt idx="366">
                  <c:v>201299.52992576107</c:v>
                </c:pt>
                <c:pt idx="367">
                  <c:v>170983.044038527</c:v>
                </c:pt>
                <c:pt idx="368">
                  <c:v>172672.01042223099</c:v>
                </c:pt>
                <c:pt idx="369">
                  <c:v>169417.08037951938</c:v>
                </c:pt>
                <c:pt idx="370">
                  <c:v>-5908.1292492388529</c:v>
                </c:pt>
                <c:pt idx="371">
                  <c:v>159929.76511539501</c:v>
                </c:pt>
                <c:pt idx="372">
                  <c:v>169810.18636830599</c:v>
                </c:pt>
                <c:pt idx="373">
                  <c:v>153358.1413318761</c:v>
                </c:pt>
                <c:pt idx="374">
                  <c:v>165261.46913942898</c:v>
                </c:pt>
                <c:pt idx="375">
                  <c:v>170176.21435551648</c:v>
                </c:pt>
                <c:pt idx="376">
                  <c:v>-588.09485398217953</c:v>
                </c:pt>
                <c:pt idx="377">
                  <c:v>180914.83887794201</c:v>
                </c:pt>
                <c:pt idx="378">
                  <c:v>177810.742495224</c:v>
                </c:pt>
                <c:pt idx="379">
                  <c:v>160252.99926386599</c:v>
                </c:pt>
                <c:pt idx="380">
                  <c:v>160580.63502947538</c:v>
                </c:pt>
                <c:pt idx="381">
                  <c:v>177048.43001067798</c:v>
                </c:pt>
                <c:pt idx="382">
                  <c:v>3787.5470035013859</c:v>
                </c:pt>
                <c:pt idx="383">
                  <c:v>178788.61583206401</c:v>
                </c:pt>
                <c:pt idx="384">
                  <c:v>179527.12155048599</c:v>
                </c:pt>
                <c:pt idx="385">
                  <c:v>157460.28079808399</c:v>
                </c:pt>
                <c:pt idx="386">
                  <c:v>158653.94763061238</c:v>
                </c:pt>
                <c:pt idx="387">
                  <c:v>158005.743013495</c:v>
                </c:pt>
                <c:pt idx="388">
                  <c:v>9071.5618388172497</c:v>
                </c:pt>
                <c:pt idx="389">
                  <c:v>151001.33746385068</c:v>
                </c:pt>
                <c:pt idx="390">
                  <c:v>248440.37892218301</c:v>
                </c:pt>
                <c:pt idx="391">
                  <c:v>191506.51933501239</c:v>
                </c:pt>
                <c:pt idx="392">
                  <c:v>189944.93241236798</c:v>
                </c:pt>
                <c:pt idx="393">
                  <c:v>185039.81940759261</c:v>
                </c:pt>
                <c:pt idx="394">
                  <c:v>-4129.2407160622897</c:v>
                </c:pt>
                <c:pt idx="395">
                  <c:v>175065.52496044451</c:v>
                </c:pt>
                <c:pt idx="396">
                  <c:v>174295.52820928811</c:v>
                </c:pt>
                <c:pt idx="397">
                  <c:v>156107.08570902501</c:v>
                </c:pt>
                <c:pt idx="398">
                  <c:v>159346.551857502</c:v>
                </c:pt>
                <c:pt idx="399">
                  <c:v>176788.46948665258</c:v>
                </c:pt>
                <c:pt idx="400">
                  <c:v>-3606.3271866912164</c:v>
                </c:pt>
                <c:pt idx="401">
                  <c:v>182914.91564992614</c:v>
                </c:pt>
                <c:pt idx="402">
                  <c:v>177001.52671217255</c:v>
                </c:pt>
                <c:pt idx="403">
                  <c:v>162789.82924692798</c:v>
                </c:pt>
                <c:pt idx="404">
                  <c:v>176729.41600639955</c:v>
                </c:pt>
                <c:pt idx="405">
                  <c:v>179581.478299699</c:v>
                </c:pt>
                <c:pt idx="406">
                  <c:v>-3051.0476636411599</c:v>
                </c:pt>
                <c:pt idx="407">
                  <c:v>182274.23624611611</c:v>
                </c:pt>
                <c:pt idx="408">
                  <c:v>180525.48986130158</c:v>
                </c:pt>
                <c:pt idx="409">
                  <c:v>164031.05151765855</c:v>
                </c:pt>
                <c:pt idx="410">
                  <c:v>178124.37560672298</c:v>
                </c:pt>
                <c:pt idx="411">
                  <c:v>174932.057111876</c:v>
                </c:pt>
                <c:pt idx="412">
                  <c:v>4551.1132873915203</c:v>
                </c:pt>
                <c:pt idx="413">
                  <c:v>163162.68190593211</c:v>
                </c:pt>
                <c:pt idx="414">
                  <c:v>153261.65432789599</c:v>
                </c:pt>
                <c:pt idx="415">
                  <c:v>127828.349663039</c:v>
                </c:pt>
                <c:pt idx="416">
                  <c:v>354035.05704683659</c:v>
                </c:pt>
                <c:pt idx="417">
                  <c:v>350412.52919257694</c:v>
                </c:pt>
                <c:pt idx="418">
                  <c:v>45911.834990699797</c:v>
                </c:pt>
                <c:pt idx="419">
                  <c:v>89017.588776319768</c:v>
                </c:pt>
                <c:pt idx="420">
                  <c:v>78343.771072061703</c:v>
                </c:pt>
                <c:pt idx="421">
                  <c:v>224499.58783629898</c:v>
                </c:pt>
                <c:pt idx="422">
                  <c:v>193188.90065266899</c:v>
                </c:pt>
                <c:pt idx="423">
                  <c:v>190764.105866789</c:v>
                </c:pt>
                <c:pt idx="424">
                  <c:v>10731.294069551328</c:v>
                </c:pt>
                <c:pt idx="425">
                  <c:v>195118.47422841311</c:v>
                </c:pt>
                <c:pt idx="426">
                  <c:v>197673.13903274862</c:v>
                </c:pt>
                <c:pt idx="427">
                  <c:v>183804.42674267892</c:v>
                </c:pt>
                <c:pt idx="428">
                  <c:v>190540.29022073917</c:v>
                </c:pt>
                <c:pt idx="429">
                  <c:v>195268.768922894</c:v>
                </c:pt>
                <c:pt idx="430">
                  <c:v>14131.4300755575</c:v>
                </c:pt>
                <c:pt idx="431">
                  <c:v>199688.951140413</c:v>
                </c:pt>
                <c:pt idx="432">
                  <c:v>187458.41639028001</c:v>
                </c:pt>
                <c:pt idx="433">
                  <c:v>182622.63535946354</c:v>
                </c:pt>
                <c:pt idx="434">
                  <c:v>194047.58970850898</c:v>
                </c:pt>
                <c:pt idx="435">
                  <c:v>201220.34838333301</c:v>
                </c:pt>
                <c:pt idx="436">
                  <c:v>15946.129753298506</c:v>
                </c:pt>
                <c:pt idx="437">
                  <c:v>201954.22722064517</c:v>
                </c:pt>
                <c:pt idx="438">
                  <c:v>192843.34433006999</c:v>
                </c:pt>
                <c:pt idx="439">
                  <c:v>169658.05502008201</c:v>
                </c:pt>
                <c:pt idx="440">
                  <c:v>166519.953369403</c:v>
                </c:pt>
                <c:pt idx="441">
                  <c:v>165819.65177072299</c:v>
                </c:pt>
                <c:pt idx="442">
                  <c:v>2615.1211499996998</c:v>
                </c:pt>
                <c:pt idx="443">
                  <c:v>329695.79564978828</c:v>
                </c:pt>
                <c:pt idx="444">
                  <c:v>236597.08731454</c:v>
                </c:pt>
                <c:pt idx="445">
                  <c:v>263516.23508010095</c:v>
                </c:pt>
                <c:pt idx="446">
                  <c:v>265637.9433359722</c:v>
                </c:pt>
                <c:pt idx="447">
                  <c:v>79893.816623273495</c:v>
                </c:pt>
                <c:pt idx="448">
                  <c:v>18536.459570635612</c:v>
                </c:pt>
                <c:pt idx="449">
                  <c:v>239938.843339321</c:v>
                </c:pt>
                <c:pt idx="450">
                  <c:v>202135.70600920811</c:v>
                </c:pt>
                <c:pt idx="451">
                  <c:v>191474.153283819</c:v>
                </c:pt>
                <c:pt idx="452">
                  <c:v>202973.74747969248</c:v>
                </c:pt>
                <c:pt idx="453">
                  <c:v>211875.71469603898</c:v>
                </c:pt>
                <c:pt idx="454">
                  <c:v>20423.872767756147</c:v>
                </c:pt>
                <c:pt idx="455">
                  <c:v>214428.87191014955</c:v>
                </c:pt>
                <c:pt idx="456">
                  <c:v>211099.33302959398</c:v>
                </c:pt>
                <c:pt idx="457">
                  <c:v>197094.075454173</c:v>
                </c:pt>
                <c:pt idx="458">
                  <c:v>207569.34790238738</c:v>
                </c:pt>
                <c:pt idx="459">
                  <c:v>202171.86469131368</c:v>
                </c:pt>
                <c:pt idx="460">
                  <c:v>22241.296997379897</c:v>
                </c:pt>
                <c:pt idx="461">
                  <c:v>211630.43296986411</c:v>
                </c:pt>
                <c:pt idx="462">
                  <c:v>212400.35247992899</c:v>
                </c:pt>
                <c:pt idx="463">
                  <c:v>188155.11181016901</c:v>
                </c:pt>
                <c:pt idx="464">
                  <c:v>190825.33056718457</c:v>
                </c:pt>
                <c:pt idx="465">
                  <c:v>183915.23044725999</c:v>
                </c:pt>
                <c:pt idx="466">
                  <c:v>21401.685570039343</c:v>
                </c:pt>
                <c:pt idx="467">
                  <c:v>183033.146518483</c:v>
                </c:pt>
                <c:pt idx="468">
                  <c:v>281983.380564855</c:v>
                </c:pt>
                <c:pt idx="469">
                  <c:v>224855.2492203791</c:v>
                </c:pt>
                <c:pt idx="470">
                  <c:v>226008.870196987</c:v>
                </c:pt>
                <c:pt idx="471">
                  <c:v>227676.94590646811</c:v>
                </c:pt>
                <c:pt idx="472">
                  <c:v>21464.214677780343</c:v>
                </c:pt>
                <c:pt idx="473">
                  <c:v>217131.59530859711</c:v>
                </c:pt>
                <c:pt idx="474">
                  <c:v>220173.50480884398</c:v>
                </c:pt>
                <c:pt idx="475">
                  <c:v>204137.06626269268</c:v>
                </c:pt>
                <c:pt idx="476">
                  <c:v>206562.54714214001</c:v>
                </c:pt>
                <c:pt idx="477">
                  <c:v>220871.60923918211</c:v>
                </c:pt>
                <c:pt idx="478">
                  <c:v>18492.224042053425</c:v>
                </c:pt>
                <c:pt idx="479">
                  <c:v>225445.057286984</c:v>
                </c:pt>
                <c:pt idx="480">
                  <c:v>220244.61708468411</c:v>
                </c:pt>
                <c:pt idx="481">
                  <c:v>201019.56541213358</c:v>
                </c:pt>
                <c:pt idx="482">
                  <c:v>213797.59468687657</c:v>
                </c:pt>
                <c:pt idx="483">
                  <c:v>218736.89484976511</c:v>
                </c:pt>
                <c:pt idx="484">
                  <c:v>23609.317640357651</c:v>
                </c:pt>
                <c:pt idx="485">
                  <c:v>226595.116470026</c:v>
                </c:pt>
                <c:pt idx="486">
                  <c:v>224326.02811992899</c:v>
                </c:pt>
                <c:pt idx="487">
                  <c:v>204472.77660915739</c:v>
                </c:pt>
                <c:pt idx="488">
                  <c:v>214427.784154569</c:v>
                </c:pt>
                <c:pt idx="489">
                  <c:v>224284.81327493538</c:v>
                </c:pt>
                <c:pt idx="490">
                  <c:v>18190.290123385796</c:v>
                </c:pt>
                <c:pt idx="491">
                  <c:v>218864.82215681899</c:v>
                </c:pt>
                <c:pt idx="492">
                  <c:v>210595.37138361001</c:v>
                </c:pt>
                <c:pt idx="493">
                  <c:v>183852.40854494501</c:v>
                </c:pt>
                <c:pt idx="494">
                  <c:v>189290.70370816111</c:v>
                </c:pt>
                <c:pt idx="495">
                  <c:v>323197.78952618601</c:v>
                </c:pt>
                <c:pt idx="496">
                  <c:v>48788.612979852798</c:v>
                </c:pt>
                <c:pt idx="497">
                  <c:v>248001.94805926838</c:v>
                </c:pt>
                <c:pt idx="498">
                  <c:v>240622.80463447768</c:v>
                </c:pt>
                <c:pt idx="499">
                  <c:v>210738.797409174</c:v>
                </c:pt>
                <c:pt idx="500">
                  <c:v>187781.81337219899</c:v>
                </c:pt>
                <c:pt idx="501">
                  <c:v>193700.5312391</c:v>
                </c:pt>
                <c:pt idx="502">
                  <c:v>-7996.222594332954</c:v>
                </c:pt>
                <c:pt idx="503">
                  <c:v>206565.75593338211</c:v>
                </c:pt>
                <c:pt idx="504">
                  <c:v>210767.45919657839</c:v>
                </c:pt>
                <c:pt idx="505">
                  <c:v>213760.44270260099</c:v>
                </c:pt>
                <c:pt idx="506">
                  <c:v>238786.33039897098</c:v>
                </c:pt>
                <c:pt idx="507">
                  <c:v>71334.192736109908</c:v>
                </c:pt>
                <c:pt idx="508">
                  <c:v>27704.197250437112</c:v>
                </c:pt>
                <c:pt idx="509">
                  <c:v>195846.05982931101</c:v>
                </c:pt>
                <c:pt idx="510">
                  <c:v>185825.56463982398</c:v>
                </c:pt>
                <c:pt idx="511">
                  <c:v>163354.32488668562</c:v>
                </c:pt>
                <c:pt idx="512">
                  <c:v>180433.81735669399</c:v>
                </c:pt>
                <c:pt idx="513">
                  <c:v>186231.54456944158</c:v>
                </c:pt>
                <c:pt idx="514">
                  <c:v>-12957.0329219207</c:v>
                </c:pt>
                <c:pt idx="515">
                  <c:v>203679.12311821399</c:v>
                </c:pt>
                <c:pt idx="516">
                  <c:v>192052.40341684755</c:v>
                </c:pt>
                <c:pt idx="517">
                  <c:v>165847.90014618399</c:v>
                </c:pt>
                <c:pt idx="518">
                  <c:v>169376.56345137299</c:v>
                </c:pt>
                <c:pt idx="519">
                  <c:v>164667.28596529999</c:v>
                </c:pt>
                <c:pt idx="520">
                  <c:v>-1854.9747725555699</c:v>
                </c:pt>
                <c:pt idx="521">
                  <c:v>314775.91369298275</c:v>
                </c:pt>
                <c:pt idx="522">
                  <c:v>285085.81482077693</c:v>
                </c:pt>
                <c:pt idx="523">
                  <c:v>255663.30364604568</c:v>
                </c:pt>
                <c:pt idx="524">
                  <c:v>280086.89963382483</c:v>
                </c:pt>
                <c:pt idx="525">
                  <c:v>279002.7643661772</c:v>
                </c:pt>
                <c:pt idx="526">
                  <c:v>65782.663736504401</c:v>
                </c:pt>
                <c:pt idx="527">
                  <c:v>0</c:v>
                </c:pt>
                <c:pt idx="528">
                  <c:v>0</c:v>
                </c:pt>
                <c:pt idx="529">
                  <c:v>119946.484</c:v>
                </c:pt>
                <c:pt idx="530">
                  <c:v>210436.932</c:v>
                </c:pt>
                <c:pt idx="531">
                  <c:v>176033.92311032861</c:v>
                </c:pt>
                <c:pt idx="532">
                  <c:v>-18056.683437502001</c:v>
                </c:pt>
                <c:pt idx="533">
                  <c:v>179126.34635590101</c:v>
                </c:pt>
                <c:pt idx="534">
                  <c:v>173428.51324696638</c:v>
                </c:pt>
                <c:pt idx="535">
                  <c:v>157004.39133035298</c:v>
                </c:pt>
                <c:pt idx="536">
                  <c:v>169731.95722640399</c:v>
                </c:pt>
                <c:pt idx="537">
                  <c:v>173046.55536101401</c:v>
                </c:pt>
                <c:pt idx="538">
                  <c:v>-19823.221096790599</c:v>
                </c:pt>
                <c:pt idx="539">
                  <c:v>177483.91794603338</c:v>
                </c:pt>
                <c:pt idx="540">
                  <c:v>178130.34644991101</c:v>
                </c:pt>
                <c:pt idx="541">
                  <c:v>158912.026820272</c:v>
                </c:pt>
                <c:pt idx="542">
                  <c:v>162217.144527522</c:v>
                </c:pt>
                <c:pt idx="543">
                  <c:v>159551.52825318699</c:v>
                </c:pt>
                <c:pt idx="544">
                  <c:v>-16498.4761753452</c:v>
                </c:pt>
                <c:pt idx="545">
                  <c:v>150439.46360938001</c:v>
                </c:pt>
                <c:pt idx="546">
                  <c:v>137469.93238520401</c:v>
                </c:pt>
                <c:pt idx="547">
                  <c:v>289773.96254427702</c:v>
                </c:pt>
                <c:pt idx="548">
                  <c:v>260309.466533667</c:v>
                </c:pt>
                <c:pt idx="549">
                  <c:v>65885.373601019208</c:v>
                </c:pt>
                <c:pt idx="550">
                  <c:v>-18689.856581837696</c:v>
                </c:pt>
                <c:pt idx="551">
                  <c:v>220929.94613564701</c:v>
                </c:pt>
                <c:pt idx="552">
                  <c:v>218171.40744587604</c:v>
                </c:pt>
                <c:pt idx="553">
                  <c:v>194751.64267496276</c:v>
                </c:pt>
                <c:pt idx="554">
                  <c:v>44369.387413540702</c:v>
                </c:pt>
                <c:pt idx="555">
                  <c:v>188214.38829233145</c:v>
                </c:pt>
                <c:pt idx="556">
                  <c:v>-16440.488351203552</c:v>
                </c:pt>
                <c:pt idx="557">
                  <c:v>174895.27376250899</c:v>
                </c:pt>
                <c:pt idx="558">
                  <c:v>171294.89932762398</c:v>
                </c:pt>
                <c:pt idx="559">
                  <c:v>155493.788526522</c:v>
                </c:pt>
                <c:pt idx="560">
                  <c:v>166749.430991653</c:v>
                </c:pt>
                <c:pt idx="561">
                  <c:v>167577.19504688217</c:v>
                </c:pt>
                <c:pt idx="562">
                  <c:v>-19419.429729526601</c:v>
                </c:pt>
                <c:pt idx="563">
                  <c:v>155401.66876656099</c:v>
                </c:pt>
                <c:pt idx="564">
                  <c:v>164164.68457256095</c:v>
                </c:pt>
                <c:pt idx="565">
                  <c:v>151379.06836654298</c:v>
                </c:pt>
                <c:pt idx="566">
                  <c:v>162774.23965182601</c:v>
                </c:pt>
                <c:pt idx="567">
                  <c:v>167481.60657477099</c:v>
                </c:pt>
                <c:pt idx="568">
                  <c:v>-17573.614383721921</c:v>
                </c:pt>
                <c:pt idx="569">
                  <c:v>171180.97961112368</c:v>
                </c:pt>
                <c:pt idx="570">
                  <c:v>160954.475291443</c:v>
                </c:pt>
                <c:pt idx="571">
                  <c:v>137444.64791984338</c:v>
                </c:pt>
                <c:pt idx="572">
                  <c:v>137766.42088691398</c:v>
                </c:pt>
                <c:pt idx="573">
                  <c:v>112279.880825303</c:v>
                </c:pt>
                <c:pt idx="574">
                  <c:v>30645.330823759901</c:v>
                </c:pt>
                <c:pt idx="575">
                  <c:v>200374.78297347738</c:v>
                </c:pt>
                <c:pt idx="576">
                  <c:v>192031.855977253</c:v>
                </c:pt>
                <c:pt idx="577">
                  <c:v>167273.36041113368</c:v>
                </c:pt>
                <c:pt idx="578">
                  <c:v>166969.06529413699</c:v>
                </c:pt>
                <c:pt idx="579">
                  <c:v>163964.66283247599</c:v>
                </c:pt>
                <c:pt idx="580">
                  <c:v>-17792.870129921499</c:v>
                </c:pt>
                <c:pt idx="581">
                  <c:v>155493.44462698998</c:v>
                </c:pt>
                <c:pt idx="582">
                  <c:v>163735.12199849868</c:v>
                </c:pt>
                <c:pt idx="583">
                  <c:v>145507.46046373661</c:v>
                </c:pt>
                <c:pt idx="584">
                  <c:v>152904.00431747158</c:v>
                </c:pt>
                <c:pt idx="585">
                  <c:v>159978.86983362358</c:v>
                </c:pt>
                <c:pt idx="586">
                  <c:v>-20409.677495003321</c:v>
                </c:pt>
                <c:pt idx="587">
                  <c:v>159959.52849485457</c:v>
                </c:pt>
                <c:pt idx="588">
                  <c:v>159718.43011095299</c:v>
                </c:pt>
                <c:pt idx="589">
                  <c:v>145810.843277426</c:v>
                </c:pt>
                <c:pt idx="590">
                  <c:v>146919.54663240298</c:v>
                </c:pt>
                <c:pt idx="591">
                  <c:v>164587.28916228868</c:v>
                </c:pt>
                <c:pt idx="592">
                  <c:v>-18438.775558877223</c:v>
                </c:pt>
                <c:pt idx="593">
                  <c:v>166827.40076692458</c:v>
                </c:pt>
                <c:pt idx="594">
                  <c:v>158446.25917806511</c:v>
                </c:pt>
                <c:pt idx="595">
                  <c:v>132856.93514370811</c:v>
                </c:pt>
                <c:pt idx="596">
                  <c:v>135359.72776126748</c:v>
                </c:pt>
                <c:pt idx="597">
                  <c:v>126569.920615234</c:v>
                </c:pt>
                <c:pt idx="598">
                  <c:v>-14499.145555966799</c:v>
                </c:pt>
                <c:pt idx="599">
                  <c:v>230351.57667106407</c:v>
                </c:pt>
                <c:pt idx="600">
                  <c:v>184611.33729387299</c:v>
                </c:pt>
                <c:pt idx="601">
                  <c:v>164501.53697817301</c:v>
                </c:pt>
                <c:pt idx="602">
                  <c:v>164920.427761675</c:v>
                </c:pt>
                <c:pt idx="603">
                  <c:v>157391.81020202395</c:v>
                </c:pt>
                <c:pt idx="604">
                  <c:v>-11920.134073391624</c:v>
                </c:pt>
                <c:pt idx="605">
                  <c:v>166477.22613850801</c:v>
                </c:pt>
                <c:pt idx="606">
                  <c:v>167366.95267261201</c:v>
                </c:pt>
                <c:pt idx="607">
                  <c:v>135769.66176423701</c:v>
                </c:pt>
                <c:pt idx="608">
                  <c:v>163726.05311688798</c:v>
                </c:pt>
                <c:pt idx="609">
                  <c:v>163507.62723912499</c:v>
                </c:pt>
                <c:pt idx="610">
                  <c:v>-10142.2659546125</c:v>
                </c:pt>
                <c:pt idx="611">
                  <c:v>168229.31297895039</c:v>
                </c:pt>
                <c:pt idx="612">
                  <c:v>170533.64484157538</c:v>
                </c:pt>
                <c:pt idx="613">
                  <c:v>143662.10072769501</c:v>
                </c:pt>
                <c:pt idx="614">
                  <c:v>175774.62980160999</c:v>
                </c:pt>
                <c:pt idx="615">
                  <c:v>181015.506240221</c:v>
                </c:pt>
                <c:pt idx="616">
                  <c:v>9742.0964322094806</c:v>
                </c:pt>
                <c:pt idx="617">
                  <c:v>184498.97356179298</c:v>
                </c:pt>
                <c:pt idx="618">
                  <c:v>261289.67561410801</c:v>
                </c:pt>
                <c:pt idx="619">
                  <c:v>249634.76871058714</c:v>
                </c:pt>
                <c:pt idx="620">
                  <c:v>49593.203423246901</c:v>
                </c:pt>
              </c:numCache>
            </c:numRef>
          </c:yVal>
        </c:ser>
        <c:axId val="102121472"/>
        <c:axId val="102123008"/>
      </c:scatterChart>
      <c:valAx>
        <c:axId val="102121472"/>
        <c:scaling>
          <c:orientation val="minMax"/>
        </c:scaling>
        <c:axPos val="b"/>
        <c:numFmt formatCode="yyyy/mm/dd" sourceLinked="1"/>
        <c:tickLblPos val="low"/>
        <c:crossAx val="102123008"/>
        <c:crosses val="autoZero"/>
        <c:crossBetween val="midCat"/>
      </c:valAx>
      <c:valAx>
        <c:axId val="102123008"/>
        <c:scaling>
          <c:orientation val="minMax"/>
        </c:scaling>
        <c:axPos val="l"/>
        <c:majorGridlines/>
        <c:numFmt formatCode="_(* #,##0_);_(* \(#,##0\);_(* &quot;-&quot;_);_(@_)" sourceLinked="1"/>
        <c:tickLblPos val="nextTo"/>
        <c:crossAx val="102121472"/>
        <c:crosses val="autoZero"/>
        <c:crossBetween val="midCat"/>
      </c:valAx>
    </c:plotArea>
    <c:legend>
      <c:legendPos val="r"/>
      <c:layout>
        <c:manualLayout>
          <c:xMode val="edge"/>
          <c:yMode val="edge"/>
          <c:x val="0.93032807549301599"/>
          <c:y val="0.39153765036348537"/>
          <c:w val="5.2599792827347031E-2"/>
          <c:h val="0.22962268980494568"/>
        </c:manualLayout>
      </c:layout>
    </c:legend>
    <c:plotVisOnly val="1"/>
    <c:dispBlanksAs val="gap"/>
  </c:chart>
  <c:externalData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ko-KR"/>
  <c:clrMapOvr bg1="lt1" tx1="dk1" bg2="lt2" tx2="dk2" accent1="accent1" accent2="accent2" accent3="accent3" accent4="accent4" accent5="accent5" accent6="accent6" hlink="hlink" folHlink="folHlink"/>
  <c:chart>
    <c:plotArea>
      <c:layout/>
      <c:lineChart>
        <c:grouping val="standard"/>
        <c:ser>
          <c:idx val="0"/>
          <c:order val="0"/>
          <c:tx>
            <c:strRef>
              <c:f>Cass_Can!$C$1</c:f>
              <c:strCache>
                <c:ptCount val="1"/>
                <c:pt idx="0">
                  <c:v>실적</c:v>
                </c:pt>
              </c:strCache>
            </c:strRef>
          </c:tx>
          <c:marker>
            <c:symbol val="diamond"/>
            <c:size val="5"/>
          </c:marker>
          <c:cat>
            <c:numRef>
              <c:f>Cass_Can!$B$2:$B$19</c:f>
              <c:numCache>
                <c:formatCode>yyyy/mm/dd</c:formatCode>
                <c:ptCount val="18"/>
                <c:pt idx="0">
                  <c:v>41875</c:v>
                </c:pt>
                <c:pt idx="1">
                  <c:v>41882</c:v>
                </c:pt>
                <c:pt idx="2">
                  <c:v>41889</c:v>
                </c:pt>
                <c:pt idx="3">
                  <c:v>41896</c:v>
                </c:pt>
                <c:pt idx="4">
                  <c:v>41903</c:v>
                </c:pt>
                <c:pt idx="5">
                  <c:v>41910</c:v>
                </c:pt>
                <c:pt idx="6">
                  <c:v>41917</c:v>
                </c:pt>
                <c:pt idx="7">
                  <c:v>41924</c:v>
                </c:pt>
                <c:pt idx="8">
                  <c:v>41931</c:v>
                </c:pt>
                <c:pt idx="9">
                  <c:v>41938</c:v>
                </c:pt>
                <c:pt idx="10">
                  <c:v>41945</c:v>
                </c:pt>
                <c:pt idx="11">
                  <c:v>41952</c:v>
                </c:pt>
                <c:pt idx="12">
                  <c:v>41959</c:v>
                </c:pt>
                <c:pt idx="13">
                  <c:v>41966</c:v>
                </c:pt>
                <c:pt idx="14">
                  <c:v>41973</c:v>
                </c:pt>
                <c:pt idx="15">
                  <c:v>41980</c:v>
                </c:pt>
                <c:pt idx="16">
                  <c:v>41987</c:v>
                </c:pt>
                <c:pt idx="17">
                  <c:v>41994</c:v>
                </c:pt>
              </c:numCache>
            </c:numRef>
          </c:cat>
          <c:val>
            <c:numRef>
              <c:f>Cass_Can!$C$2:$C$19</c:f>
              <c:numCache>
                <c:formatCode>_-* #,##0_-;\-* #,##0_-;_-* "-"_-;_-@_-</c:formatCode>
                <c:ptCount val="18"/>
                <c:pt idx="0">
                  <c:v>484925.49599999998</c:v>
                </c:pt>
                <c:pt idx="1">
                  <c:v>732774.19199999946</c:v>
                </c:pt>
                <c:pt idx="2">
                  <c:v>171055.49399999998</c:v>
                </c:pt>
                <c:pt idx="3">
                  <c:v>354423.85799999989</c:v>
                </c:pt>
                <c:pt idx="4">
                  <c:v>403076.11199999985</c:v>
                </c:pt>
                <c:pt idx="5">
                  <c:v>372880.62</c:v>
                </c:pt>
                <c:pt idx="6">
                  <c:v>365203.05799999984</c:v>
                </c:pt>
                <c:pt idx="7">
                  <c:v>393001.76199999999</c:v>
                </c:pt>
                <c:pt idx="8">
                  <c:v>388226.55300000001</c:v>
                </c:pt>
                <c:pt idx="9">
                  <c:v>369493.97899999999</c:v>
                </c:pt>
                <c:pt idx="10">
                  <c:v>342394.22300000029</c:v>
                </c:pt>
                <c:pt idx="11">
                  <c:v>303978.2040000002</c:v>
                </c:pt>
                <c:pt idx="12">
                  <c:v>317306.02799999999</c:v>
                </c:pt>
                <c:pt idx="13">
                  <c:v>294295.56</c:v>
                </c:pt>
                <c:pt idx="14">
                  <c:v>328654.39500000002</c:v>
                </c:pt>
                <c:pt idx="15">
                  <c:v>294371.12</c:v>
                </c:pt>
                <c:pt idx="16">
                  <c:v>315539.80799999984</c:v>
                </c:pt>
                <c:pt idx="17">
                  <c:v>331705.22500000021</c:v>
                </c:pt>
              </c:numCache>
            </c:numRef>
          </c:val>
        </c:ser>
        <c:ser>
          <c:idx val="1"/>
          <c:order val="1"/>
          <c:tx>
            <c:strRef>
              <c:f>Cass_Can!$D$1</c:f>
              <c:strCache>
                <c:ptCount val="1"/>
                <c:pt idx="0">
                  <c:v>예측</c:v>
                </c:pt>
              </c:strCache>
            </c:strRef>
          </c:tx>
          <c:marker>
            <c:symbol val="square"/>
            <c:size val="5"/>
          </c:marker>
          <c:cat>
            <c:numRef>
              <c:f>Cass_Can!$B$2:$B$19</c:f>
              <c:numCache>
                <c:formatCode>yyyy/mm/dd</c:formatCode>
                <c:ptCount val="18"/>
                <c:pt idx="0">
                  <c:v>41875</c:v>
                </c:pt>
                <c:pt idx="1">
                  <c:v>41882</c:v>
                </c:pt>
                <c:pt idx="2">
                  <c:v>41889</c:v>
                </c:pt>
                <c:pt idx="3">
                  <c:v>41896</c:v>
                </c:pt>
                <c:pt idx="4">
                  <c:v>41903</c:v>
                </c:pt>
                <c:pt idx="5">
                  <c:v>41910</c:v>
                </c:pt>
                <c:pt idx="6">
                  <c:v>41917</c:v>
                </c:pt>
                <c:pt idx="7">
                  <c:v>41924</c:v>
                </c:pt>
                <c:pt idx="8">
                  <c:v>41931</c:v>
                </c:pt>
                <c:pt idx="9">
                  <c:v>41938</c:v>
                </c:pt>
                <c:pt idx="10">
                  <c:v>41945</c:v>
                </c:pt>
                <c:pt idx="11">
                  <c:v>41952</c:v>
                </c:pt>
                <c:pt idx="12">
                  <c:v>41959</c:v>
                </c:pt>
                <c:pt idx="13">
                  <c:v>41966</c:v>
                </c:pt>
                <c:pt idx="14">
                  <c:v>41973</c:v>
                </c:pt>
                <c:pt idx="15">
                  <c:v>41980</c:v>
                </c:pt>
                <c:pt idx="16">
                  <c:v>41987</c:v>
                </c:pt>
                <c:pt idx="17">
                  <c:v>41994</c:v>
                </c:pt>
              </c:numCache>
            </c:numRef>
          </c:cat>
          <c:val>
            <c:numRef>
              <c:f>Cass_Can!$D$2:$D$19</c:f>
              <c:numCache>
                <c:formatCode>_-* #,##0_-;\-* #,##0_-;_-* "-"_-;_-@_-</c:formatCode>
                <c:ptCount val="18"/>
                <c:pt idx="0">
                  <c:v>500572.19765856699</c:v>
                </c:pt>
                <c:pt idx="1">
                  <c:v>748745.88047244702</c:v>
                </c:pt>
                <c:pt idx="2">
                  <c:v>170271.39675605085</c:v>
                </c:pt>
                <c:pt idx="3">
                  <c:v>367489.75688974699</c:v>
                </c:pt>
                <c:pt idx="4">
                  <c:v>365241.96211610199</c:v>
                </c:pt>
                <c:pt idx="5">
                  <c:v>374484.68134302937</c:v>
                </c:pt>
                <c:pt idx="6">
                  <c:v>383741.43660972145</c:v>
                </c:pt>
                <c:pt idx="7">
                  <c:v>356549.19452454703</c:v>
                </c:pt>
                <c:pt idx="8">
                  <c:v>358249.69043110602</c:v>
                </c:pt>
                <c:pt idx="9">
                  <c:v>331614.29324588802</c:v>
                </c:pt>
                <c:pt idx="10">
                  <c:v>360054.07551279629</c:v>
                </c:pt>
                <c:pt idx="11">
                  <c:v>321822.78751140297</c:v>
                </c:pt>
                <c:pt idx="12">
                  <c:v>317263.40302447701</c:v>
                </c:pt>
                <c:pt idx="13">
                  <c:v>304648.26227126701</c:v>
                </c:pt>
                <c:pt idx="14">
                  <c:v>324637.19366247137</c:v>
                </c:pt>
                <c:pt idx="15">
                  <c:v>292788.602993323</c:v>
                </c:pt>
                <c:pt idx="16">
                  <c:v>315855.4374759043</c:v>
                </c:pt>
                <c:pt idx="17">
                  <c:v>343857.45943062898</c:v>
                </c:pt>
              </c:numCache>
            </c:numRef>
          </c:val>
        </c:ser>
        <c:marker val="1"/>
        <c:axId val="102447360"/>
        <c:axId val="102457344"/>
      </c:lineChart>
      <c:dateAx>
        <c:axId val="102447360"/>
        <c:scaling>
          <c:orientation val="minMax"/>
        </c:scaling>
        <c:axPos val="b"/>
        <c:numFmt formatCode="yyyy/mm/dd" sourceLinked="1"/>
        <c:tickLblPos val="nextTo"/>
        <c:crossAx val="102457344"/>
        <c:crosses val="autoZero"/>
        <c:auto val="1"/>
        <c:lblOffset val="100"/>
        <c:baseTimeUnit val="days"/>
        <c:majorUnit val="7"/>
        <c:majorTimeUnit val="days"/>
      </c:dateAx>
      <c:valAx>
        <c:axId val="102457344"/>
        <c:scaling>
          <c:orientation val="minMax"/>
        </c:scaling>
        <c:axPos val="l"/>
        <c:majorGridlines/>
        <c:numFmt formatCode="_-* #,##0_-;\-* #,##0_-;_-* &quot;-&quot;_-;_-@_-" sourceLinked="1"/>
        <c:tickLblPos val="nextTo"/>
        <c:crossAx val="10244736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7379773834455921"/>
          <c:y val="0.5622305355693048"/>
          <c:w val="0.11255139860037015"/>
          <c:h val="0.17992948642613885"/>
        </c:manualLayout>
      </c:layout>
    </c:legend>
    <c:plotVisOnly val="1"/>
    <c:dispBlanksAs val="gap"/>
  </c:chart>
  <c:externalData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w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18.wmf"/><Relationship Id="rId2" Type="http://schemas.openxmlformats.org/officeDocument/2006/relationships/image" Target="../media/image17.wmf"/><Relationship Id="rId1" Type="http://schemas.openxmlformats.org/officeDocument/2006/relationships/image" Target="../media/image16.wmf"/><Relationship Id="rId5" Type="http://schemas.openxmlformats.org/officeDocument/2006/relationships/image" Target="../media/image20.wmf"/><Relationship Id="rId4" Type="http://schemas.openxmlformats.org/officeDocument/2006/relationships/image" Target="../media/image19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w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26.wmf"/><Relationship Id="rId7" Type="http://schemas.openxmlformats.org/officeDocument/2006/relationships/image" Target="../media/image30.wmf"/><Relationship Id="rId2" Type="http://schemas.openxmlformats.org/officeDocument/2006/relationships/image" Target="../media/image25.wmf"/><Relationship Id="rId1" Type="http://schemas.openxmlformats.org/officeDocument/2006/relationships/image" Target="../media/image24.wmf"/><Relationship Id="rId6" Type="http://schemas.openxmlformats.org/officeDocument/2006/relationships/image" Target="../media/image29.wmf"/><Relationship Id="rId5" Type="http://schemas.openxmlformats.org/officeDocument/2006/relationships/image" Target="../media/image28.wmf"/><Relationship Id="rId4" Type="http://schemas.openxmlformats.org/officeDocument/2006/relationships/image" Target="../media/image27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85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281488" cy="339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806" tIns="45904" rIns="91806" bIns="45904" numCol="1" anchor="t" anchorCtr="0" compatLnSpc="1">
            <a:prstTxWarp prst="textNoShape">
              <a:avLst/>
            </a:prstTxWarp>
          </a:bodyPr>
          <a:lstStyle>
            <a:lvl1pPr latinLnBrk="1">
              <a:defRPr kumimoji="1" sz="1200" b="0" u="none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44851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591175" y="0"/>
            <a:ext cx="4281488" cy="339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806" tIns="45904" rIns="91806" bIns="45904" numCol="1" anchor="t" anchorCtr="0" compatLnSpc="1">
            <a:prstTxWarp prst="textNoShape">
              <a:avLst/>
            </a:prstTxWarp>
          </a:bodyPr>
          <a:lstStyle>
            <a:lvl1pPr algn="r" latinLnBrk="1">
              <a:defRPr kumimoji="1" sz="1200" b="0" u="none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44851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456363"/>
            <a:ext cx="4281488" cy="339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806" tIns="45904" rIns="91806" bIns="45904" numCol="1" anchor="b" anchorCtr="0" compatLnSpc="1">
            <a:prstTxWarp prst="textNoShape">
              <a:avLst/>
            </a:prstTxWarp>
          </a:bodyPr>
          <a:lstStyle>
            <a:lvl1pPr latinLnBrk="1">
              <a:defRPr kumimoji="1" sz="1200" b="0" u="none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44851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591175" y="6456363"/>
            <a:ext cx="4281488" cy="339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806" tIns="45904" rIns="91806" bIns="45904" numCol="1" anchor="b" anchorCtr="0" compatLnSpc="1">
            <a:prstTxWarp prst="textNoShape">
              <a:avLst/>
            </a:prstTxWarp>
          </a:bodyPr>
          <a:lstStyle>
            <a:lvl1pPr algn="r" latinLnBrk="1">
              <a:defRPr kumimoji="1" sz="1200" b="0" u="none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fld id="{B955FD3C-EE48-4B20-8DFE-77C65ADD8652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10694280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281488" cy="339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806" tIns="45904" rIns="91806" bIns="45904" numCol="1" anchor="t" anchorCtr="0" compatLnSpc="1">
            <a:prstTxWarp prst="textNoShape">
              <a:avLst/>
            </a:prstTxWarp>
          </a:bodyPr>
          <a:lstStyle>
            <a:lvl1pPr latinLnBrk="1">
              <a:defRPr kumimoji="1" sz="1200" b="0" u="none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591175" y="0"/>
            <a:ext cx="4281488" cy="339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806" tIns="45904" rIns="91806" bIns="45904" numCol="1" anchor="t" anchorCtr="0" compatLnSpc="1">
            <a:prstTxWarp prst="textNoShape">
              <a:avLst/>
            </a:prstTxWarp>
          </a:bodyPr>
          <a:lstStyle>
            <a:lvl1pPr algn="r" latinLnBrk="1">
              <a:defRPr kumimoji="1" sz="1200" b="0" u="none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3194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097213" y="509588"/>
            <a:ext cx="3684587" cy="25511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337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85838" y="3228975"/>
            <a:ext cx="7902575" cy="3059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806" tIns="45904" rIns="91806" bIns="459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</a:p>
        </p:txBody>
      </p:sp>
      <p:sp>
        <p:nvSpPr>
          <p:cNvPr id="337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456363"/>
            <a:ext cx="4281488" cy="339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806" tIns="45904" rIns="91806" bIns="45904" numCol="1" anchor="b" anchorCtr="0" compatLnSpc="1">
            <a:prstTxWarp prst="textNoShape">
              <a:avLst/>
            </a:prstTxWarp>
          </a:bodyPr>
          <a:lstStyle>
            <a:lvl1pPr latinLnBrk="1">
              <a:defRPr kumimoji="1" sz="1200" b="0" u="none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337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591175" y="6456363"/>
            <a:ext cx="4281488" cy="339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806" tIns="45904" rIns="91806" bIns="45904" numCol="1" anchor="b" anchorCtr="0" compatLnSpc="1">
            <a:prstTxWarp prst="textNoShape">
              <a:avLst/>
            </a:prstTxWarp>
          </a:bodyPr>
          <a:lstStyle>
            <a:lvl1pPr algn="r" latinLnBrk="1">
              <a:defRPr kumimoji="1" sz="1200" b="0" u="none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fld id="{2308711F-883B-4C9B-B8B7-D07104C93854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326294664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3098800" y="511175"/>
            <a:ext cx="3679825" cy="2547938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12936">
              <a:defRPr/>
            </a:pPr>
            <a:endParaRPr lang="ko-KR" altLang="en-US" dirty="0" smtClean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19AC97-4AF6-434E-9795-549E08642F71}" type="slidenum">
              <a:rPr lang="ko-KR" altLang="en-US" smtClean="0">
                <a:solidFill>
                  <a:prstClr val="black"/>
                </a:solidFill>
              </a:rPr>
              <a:pPr/>
              <a:t>33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756238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3098800" y="511175"/>
            <a:ext cx="3679825" cy="2547938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13046">
              <a:defRPr/>
            </a:pPr>
            <a:r>
              <a:rPr lang="en-US" altLang="ko-KR" baseline="0" smtClean="0"/>
              <a:t>Big pack is LG CNS Hadoop distribution</a:t>
            </a:r>
            <a:r>
              <a:rPr lang="en-US" altLang="ko-KR" baseline="0" dirty="0" smtClean="0"/>
              <a:t>.</a:t>
            </a:r>
          </a:p>
          <a:p>
            <a:pPr defTabSz="913046">
              <a:defRPr/>
            </a:pPr>
            <a:r>
              <a:rPr lang="en-US" altLang="ko-KR" baseline="0" smtClean="0"/>
              <a:t>It consists of pure Apache Hadoop and nine core Hadoop eco systems with compatibility verified  between various versions. </a:t>
            </a:r>
            <a:endParaRPr lang="en-US" altLang="ko-KR" baseline="0" dirty="0" smtClean="0"/>
          </a:p>
          <a:p>
            <a:pPr defTabSz="913046">
              <a:defRPr/>
            </a:pPr>
            <a:r>
              <a:rPr lang="en-US" altLang="ko-KR" baseline="0" smtClean="0"/>
              <a:t>We continuously discover and verify core ecosystems for enterprises and add them to BigPack. </a:t>
            </a:r>
            <a:endParaRPr lang="en-US" altLang="ko-KR" baseline="0" dirty="0" smtClean="0"/>
          </a:p>
          <a:p>
            <a:endParaRPr lang="en-US" altLang="ko-KR" baseline="0" dirty="0" smtClean="0"/>
          </a:p>
          <a:p>
            <a:r>
              <a:rPr lang="en-US" altLang="ko-KR" baseline="0" smtClean="0"/>
              <a:t>This guarantees 100% compatibility with any other solutions based on Apache Hadoop</a:t>
            </a:r>
            <a:endParaRPr lang="en-US" altLang="ko-KR" baseline="0" dirty="0" smtClean="0"/>
          </a:p>
          <a:p>
            <a:r>
              <a:rPr lang="en-US" altLang="ko-KR" baseline="0" smtClean="0"/>
              <a:t>and we are planning to release upgraded edition with hadoop 2.0 </a:t>
            </a:r>
            <a:endParaRPr lang="en-US" altLang="ko-KR" baseline="0" dirty="0" smtClean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19AC97-4AF6-434E-9795-549E08642F71}" type="slidenum">
              <a:rPr lang="ko-KR" altLang="en-US" smtClean="0">
                <a:solidFill>
                  <a:prstClr val="black"/>
                </a:solidFill>
              </a:rPr>
              <a:pPr/>
              <a:t>34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ags" Target="../tags/tag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5.xml"/><Relationship Id="rId1" Type="http://schemas.openxmlformats.org/officeDocument/2006/relationships/tags" Target="../tags/tag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8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9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0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2.xml"/><Relationship Id="rId1" Type="http://schemas.openxmlformats.org/officeDocument/2006/relationships/tags" Target="../tags/tag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5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9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0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1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3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4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5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6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7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8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9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0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1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3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4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5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6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7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:p14="http://schemas.microsoft.com/office/powerpoint/2010/main" xmlns="" val="313551864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1453707522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3628680434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1236902592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626507830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004785706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748463619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:p14="http://schemas.microsoft.com/office/powerpoint/2010/main" xmlns="" val="2120378708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2797609065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104594246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183332527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538313429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600838596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446249604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045491916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434102493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3935698679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230025941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418841908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770467023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89028821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:p14="http://schemas.microsoft.com/office/powerpoint/2010/main" xmlns="" val="3284600835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355751076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4167881906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94206092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473636911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544129317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535123681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902036538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678786216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4045469585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523594848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03133301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23578529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803713758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58701109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:p14="http://schemas.microsoft.com/office/powerpoint/2010/main" xmlns="" val="2093950724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3212511765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3006457227"/>
      </p:ext>
    </p:extLst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389376271"/>
      </p:ext>
    </p:extLst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802596752"/>
      </p:ext>
    </p:extLst>
  </p:cSld>
  <p:clrMapOvr>
    <a:masterClrMapping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575531077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852191294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3046766994"/>
      </p:ext>
    </p:extLst>
  </p:cSld>
  <p:clrMapOvr>
    <a:masterClrMapping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223531509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:p14="http://schemas.microsoft.com/office/powerpoint/2010/main" xmlns="" val="3853743894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1030919270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111841695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587960010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953728539"/>
      </p:ext>
    </p:extLst>
  </p:cSld>
  <p:clrMapOvr>
    <a:masterClrMapping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:p14="http://schemas.microsoft.com/office/powerpoint/2010/main" xmlns="" val="746010596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3037444922"/>
      </p:ext>
    </p:extLst>
  </p:cSld>
  <p:clrMapOvr>
    <a:masterClrMapping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2365564379"/>
      </p:ext>
    </p:extLst>
  </p:cSld>
  <p:clrMapOvr>
    <a:masterClrMapping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049310715"/>
      </p:ext>
    </p:extLst>
  </p:cSld>
  <p:clrMapOvr>
    <a:masterClrMapping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942261110"/>
      </p:ext>
    </p:extLst>
  </p:cSld>
  <p:clrMapOvr>
    <a:masterClrMapping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70818262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4020294979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361298598"/>
      </p:ext>
    </p:extLst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3676284421"/>
      </p:ext>
    </p:extLst>
  </p:cSld>
  <p:clrMapOvr>
    <a:masterClrMapping/>
  </p:clrMapOvr>
  <p:transition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4182167572"/>
      </p:ext>
    </p:extLst>
  </p:cSld>
  <p:clrMapOvr>
    <a:masterClrMapping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2580869186"/>
      </p:ext>
    </p:extLst>
  </p:cSld>
  <p:clrMapOvr>
    <a:masterClrMapping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498025770"/>
      </p:ext>
    </p:extLst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717027475"/>
      </p:ext>
    </p:extLst>
  </p:cSld>
  <p:clrMapOvr>
    <a:masterClrMapping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704292178"/>
      </p:ext>
    </p:extLst>
  </p:cSld>
  <p:clrMapOvr>
    <a:masterClrMapping/>
  </p:clrMapOvr>
  <p:transition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4481513"/>
            <a:ext cx="9906000" cy="238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284541"/>
            <a:ext cx="8420100" cy="549275"/>
          </a:xfrm>
          <a:extLst/>
        </p:spPr>
        <p:txBody>
          <a:bodyPr anchor="b"/>
          <a:lstStyle>
            <a:lvl1pPr>
              <a:defRPr sz="2800"/>
            </a:lvl1pPr>
          </a:lstStyle>
          <a:p>
            <a:pPr lvl="0"/>
            <a:r>
              <a:rPr lang="en-US" altLang="ko-KR" noProof="0" dirty="0" smtClean="0"/>
              <a:t>Click to add title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40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:p14="http://schemas.microsoft.com/office/powerpoint/2010/main" xmlns="" val="1273309584"/>
      </p:ext>
    </p:extLst>
  </p:cSld>
  <p:clrMapOvr>
    <a:masterClrMapping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960F3C5E-5695-485B-8DD0-20275D95286E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3902889507"/>
      </p:ext>
    </p:extLst>
  </p:cSld>
  <p:clrMapOvr>
    <a:masterClrMapping/>
  </p:clrMapOvr>
  <p:transition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7" name="제목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E4DA21FB-380C-4387-AD7F-2E8AD8B56817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1787081695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507998975"/>
      </p:ext>
    </p:ext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3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3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B845A0E9-20B0-46C9-8EF9-9C3C3E82F05B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2699772494"/>
      </p:ext>
    </p:extLst>
  </p:cSld>
  <p:clrMapOvr>
    <a:masterClrMapping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8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8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D8E5E131-7990-42FF-9F4F-97A5EC5A1637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505331070"/>
      </p:ext>
    </p:extLst>
  </p:cSld>
  <p:clrMapOvr>
    <a:masterClrMapping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5A0BFE1A-5E3C-4D0E-93F4-C3F22A77BE90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2915782188"/>
      </p:ext>
    </p:extLst>
  </p:cSld>
  <p:clrMapOvr>
    <a:masterClrMapping/>
  </p:clrMapOvr>
  <p:transition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EF41FB6B-6B88-4AA7-B686-7EF21AD8EEAC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769039490"/>
      </p:ext>
    </p:extLst>
  </p:cSld>
  <p:clrMapOvr>
    <a:masterClrMapping/>
  </p:clrMapOvr>
  <p:transition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1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499" y="273053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1" y="1435103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A0D130F5-054B-4C61-A852-BF172F7F3812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1687938721"/>
      </p:ext>
    </p:extLst>
  </p:cSld>
  <p:clrMapOvr>
    <a:masterClrMapping/>
  </p:clrMapOvr>
  <p:transition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04DF5E0D-1E35-4B1F-B987-B04488E5A8A2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2313264090"/>
      </p:ext>
    </p:extLst>
  </p:cSld>
  <p:clrMapOvr>
    <a:masterClrMapping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BB625393-4152-408C-9769-F9789B2F8393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3692139013"/>
      </p:ext>
    </p:extLst>
  </p:cSld>
  <p:clrMapOvr>
    <a:masterClrMapping/>
  </p:clrMapOvr>
  <p:transition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5" y="114304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3" y="114304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346AB3DF-2F0A-4DBC-85D3-7DDDEA07BAAC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284621189"/>
      </p:ext>
    </p:extLst>
  </p:cSld>
  <p:clrMapOvr>
    <a:masterClrMapping/>
  </p:clrMapOvr>
  <p:transition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제목, 텍스트 및 차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2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3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차트 개체 틀 3"/>
          <p:cNvSpPr>
            <a:spLocks noGrp="1"/>
          </p:cNvSpPr>
          <p:nvPr>
            <p:ph type="chart" sz="half" idx="2"/>
          </p:nvPr>
        </p:nvSpPr>
        <p:spPr>
          <a:xfrm>
            <a:off x="5016500" y="628653"/>
            <a:ext cx="4592638" cy="536575"/>
          </a:xfrm>
        </p:spPr>
        <p:txBody>
          <a:bodyPr/>
          <a:lstStyle/>
          <a:p>
            <a:pPr lvl="0"/>
            <a:endParaRPr lang="ko-KR" altLang="en-US" noProof="0" dirty="0" smtClean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CA2A6E0A-B2B9-4176-A664-7C5055942FEA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2470326875"/>
      </p:ext>
    </p:extLst>
  </p:cSld>
  <p:clrMapOvr>
    <a:masterClrMapping/>
  </p:clrMapOvr>
  <p:transition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2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3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3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67D4EBEC-91D4-4950-91B9-B2518121DAD3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304584922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6885209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34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6429375"/>
            <a:ext cx="9906000" cy="4286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0" hangingPunct="0"/>
            <a:endParaRPr lang="ko-KR" altLang="en-US" sz="1700" b="0" u="none">
              <a:solidFill>
                <a:srgbClr val="000000"/>
              </a:solidFill>
              <a:latin typeface="Arial" pitchFamily="34" charset="0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11342782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1" y="121742"/>
            <a:ext cx="5032375" cy="360362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맑은 고딕" pitchFamily="50" charset="-127"/>
                <a:ea typeface="맑은 고딕" pitchFamily="50" charset="-127"/>
              </a:defRPr>
            </a:lvl1pPr>
            <a:lvl2pPr>
              <a:defRPr>
                <a:latin typeface="맑은 고딕" pitchFamily="50" charset="-127"/>
                <a:ea typeface="맑은 고딕" pitchFamily="50" charset="-127"/>
              </a:defRPr>
            </a:lvl2pPr>
            <a:lvl3pPr>
              <a:defRPr>
                <a:latin typeface="맑은 고딕" pitchFamily="50" charset="-127"/>
                <a:ea typeface="맑은 고딕" pitchFamily="50" charset="-127"/>
              </a:defRPr>
            </a:lvl3pPr>
            <a:lvl4pPr>
              <a:defRPr>
                <a:latin typeface="맑은 고딕" pitchFamily="50" charset="-127"/>
                <a:ea typeface="맑은 고딕" pitchFamily="50" charset="-127"/>
              </a:defRPr>
            </a:lvl4pPr>
            <a:lvl5pPr>
              <a:defRPr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  <a:endParaRPr lang="en-US" dirty="0"/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0"/>
          </p:nvPr>
        </p:nvSpPr>
        <p:spPr>
          <a:xfrm>
            <a:off x="5305425" y="63798"/>
            <a:ext cx="4333875" cy="476250"/>
          </a:xfrm>
        </p:spPr>
        <p:txBody>
          <a:bodyPr anchor="ctr"/>
          <a:lstStyle>
            <a:lvl1pPr algn="r">
              <a:defRPr sz="1400">
                <a:latin typeface="맑은 고딕" pitchFamily="50" charset="-127"/>
                <a:ea typeface="맑은 고딕" pitchFamily="50" charset="-127"/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  <a:endParaRPr lang="en-US" altLang="ko-KR" dirty="0" smtClean="0"/>
          </a:p>
        </p:txBody>
      </p:sp>
    </p:spTree>
    <p:extLst>
      <p:ext uri="{BB962C8B-B14F-4D97-AF65-F5344CB8AC3E}">
        <p14:creationId xmlns:p14="http://schemas.microsoft.com/office/powerpoint/2010/main" xmlns="" val="3736442041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34057"/>
            <a:ext cx="5039179" cy="3449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40" tIns="45720" rIns="91440" bIns="45720"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ko-KR" altLang="en-US" smtClean="0"/>
              <a:t>마스터 제목 스타일 편집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idx="1"/>
          </p:nvPr>
        </p:nvSpPr>
        <p:spPr bwMode="auto">
          <a:xfrm>
            <a:off x="273050" y="589919"/>
            <a:ext cx="9361488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40" tIns="45720" rIns="91440" bIns="45720"/>
          <a:lstStyle>
            <a:lvl1pPr>
              <a:defRPr kumimoji="1" lang="en-US" altLang="ko-KR" b="1" dirty="0" smtClean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1pPr>
          </a:lstStyle>
          <a:p>
            <a:pPr lvl="0"/>
            <a:endParaRPr lang="en-US" altLang="ko-KR" dirty="0" smtClean="0"/>
          </a:p>
        </p:txBody>
      </p:sp>
    </p:spTree>
    <p:extLst>
      <p:ext uri="{BB962C8B-B14F-4D97-AF65-F5344CB8AC3E}">
        <p14:creationId xmlns:p14="http://schemas.microsoft.com/office/powerpoint/2010/main" xmlns="" val="258258918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34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6429375"/>
            <a:ext cx="9906000" cy="4286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0" hangingPunct="0"/>
            <a:endParaRPr lang="ko-KR" altLang="en-US" sz="1700" b="0" u="none">
              <a:solidFill>
                <a:srgbClr val="000000"/>
              </a:solidFill>
              <a:latin typeface="Arial" pitchFamily="34" charset="0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4306536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1" y="121742"/>
            <a:ext cx="5032375" cy="360362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맑은 고딕" pitchFamily="50" charset="-127"/>
                <a:ea typeface="맑은 고딕" pitchFamily="50" charset="-127"/>
              </a:defRPr>
            </a:lvl1pPr>
            <a:lvl2pPr>
              <a:defRPr>
                <a:latin typeface="맑은 고딕" pitchFamily="50" charset="-127"/>
                <a:ea typeface="맑은 고딕" pitchFamily="50" charset="-127"/>
              </a:defRPr>
            </a:lvl2pPr>
            <a:lvl3pPr>
              <a:defRPr>
                <a:latin typeface="맑은 고딕" pitchFamily="50" charset="-127"/>
                <a:ea typeface="맑은 고딕" pitchFamily="50" charset="-127"/>
              </a:defRPr>
            </a:lvl3pPr>
            <a:lvl4pPr>
              <a:defRPr>
                <a:latin typeface="맑은 고딕" pitchFamily="50" charset="-127"/>
                <a:ea typeface="맑은 고딕" pitchFamily="50" charset="-127"/>
              </a:defRPr>
            </a:lvl4pPr>
            <a:lvl5pPr>
              <a:defRPr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  <a:endParaRPr lang="en-US" dirty="0"/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0"/>
          </p:nvPr>
        </p:nvSpPr>
        <p:spPr>
          <a:xfrm>
            <a:off x="5305425" y="63798"/>
            <a:ext cx="4333875" cy="476250"/>
          </a:xfrm>
        </p:spPr>
        <p:txBody>
          <a:bodyPr anchor="ctr"/>
          <a:lstStyle>
            <a:lvl1pPr algn="r">
              <a:defRPr sz="1400">
                <a:latin typeface="맑은 고딕" pitchFamily="50" charset="-127"/>
                <a:ea typeface="맑은 고딕" pitchFamily="50" charset="-127"/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  <a:endParaRPr lang="en-US" altLang="ko-KR" dirty="0" smtClean="0"/>
          </a:p>
        </p:txBody>
      </p:sp>
    </p:spTree>
    <p:extLst>
      <p:ext uri="{BB962C8B-B14F-4D97-AF65-F5344CB8AC3E}">
        <p14:creationId xmlns:p14="http://schemas.microsoft.com/office/powerpoint/2010/main" xmlns="" val="90581893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34057"/>
            <a:ext cx="5039179" cy="3449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40" tIns="45720" rIns="91440" bIns="45720"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ko-KR" altLang="en-US" smtClean="0"/>
              <a:t>마스터 제목 스타일 편집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idx="1"/>
          </p:nvPr>
        </p:nvSpPr>
        <p:spPr bwMode="auto">
          <a:xfrm>
            <a:off x="273050" y="589919"/>
            <a:ext cx="9361488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40" tIns="45720" rIns="91440" bIns="45720"/>
          <a:lstStyle>
            <a:lvl1pPr>
              <a:defRPr kumimoji="1" lang="en-US" altLang="ko-KR" b="1" dirty="0" smtClean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defRPr>
            </a:lvl1pPr>
          </a:lstStyle>
          <a:p>
            <a:pPr lvl="0"/>
            <a:endParaRPr lang="en-US" altLang="ko-KR" dirty="0" smtClean="0"/>
          </a:p>
        </p:txBody>
      </p:sp>
    </p:spTree>
    <p:extLst>
      <p:ext uri="{BB962C8B-B14F-4D97-AF65-F5344CB8AC3E}">
        <p14:creationId xmlns:p14="http://schemas.microsoft.com/office/powerpoint/2010/main" xmlns="" val="410884816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4481513"/>
            <a:ext cx="9906000" cy="238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284541"/>
            <a:ext cx="8420100" cy="549275"/>
          </a:xfrm>
          <a:extLst/>
        </p:spPr>
        <p:txBody>
          <a:bodyPr anchor="b"/>
          <a:lstStyle>
            <a:lvl1pPr>
              <a:defRPr sz="2800"/>
            </a:lvl1pPr>
          </a:lstStyle>
          <a:p>
            <a:pPr lvl="0"/>
            <a:r>
              <a:rPr lang="en-US" altLang="ko-KR" noProof="0" dirty="0" smtClean="0"/>
              <a:t>Click to add title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40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:p14="http://schemas.microsoft.com/office/powerpoint/2010/main" xmlns="" val="1060337741"/>
      </p:ext>
    </p:extLst>
  </p:cSld>
  <p:clrMapOvr>
    <a:masterClrMapping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F855BEBF-2A0E-4D3E-BC31-40C744172984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1732802374"/>
      </p:ext>
    </p:extLst>
  </p:cSld>
  <p:clrMapOvr>
    <a:masterClrMapping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7" name="제목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6AE82150-2EC5-41FA-8B4A-A5E959367C6A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1732915938"/>
      </p:ext>
    </p:extLst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3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3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953F4715-B119-415D-8293-7405AAD67DD9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61696037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613263950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8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8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0797D121-4AE1-4F6A-AD19-56880C58835D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3529397668"/>
      </p:ext>
    </p:extLst>
  </p:cSld>
  <p:clrMapOvr>
    <a:masterClrMapping/>
  </p:clrMapOvr>
  <p:transition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CE00DD4A-D416-4D6E-AF44-633AFF225ED7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3691528629"/>
      </p:ext>
    </p:extLst>
  </p:cSld>
  <p:clrMapOvr>
    <a:masterClrMapping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EA4044CA-8AFC-469D-9EB3-FB81AC18A067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3756027040"/>
      </p:ext>
    </p:extLst>
  </p:cSld>
  <p:clrMapOvr>
    <a:masterClrMapping/>
  </p:clrMapOvr>
  <p:transition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C0B30114-8CC4-4C14-A2B6-01C6C0779EAE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2121333084"/>
      </p:ext>
    </p:extLst>
  </p:cSld>
  <p:clrMapOvr>
    <a:masterClrMapping/>
  </p:clrMapOvr>
  <p:transition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68C5194F-A586-4E58-B664-10128F0BD018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3665784702"/>
      </p:ext>
    </p:extLst>
  </p:cSld>
  <p:clrMapOvr>
    <a:masterClrMapping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6686C050-8588-41ED-9CDB-34C5D8E8F8DC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3374192659"/>
      </p:ext>
    </p:extLst>
  </p:cSld>
  <p:clrMapOvr>
    <a:masterClrMapping/>
  </p:clrMapOvr>
  <p:transition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5" y="114303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3" y="114303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82A49FAC-5877-42DC-98B7-0517D2BEE0DE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2528459125"/>
      </p:ext>
    </p:extLst>
  </p:cSld>
  <p:clrMapOvr>
    <a:masterClrMapping/>
  </p:clrMapOvr>
  <p:transition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제목, 텍스트 및 차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2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3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차트 개체 틀 3"/>
          <p:cNvSpPr>
            <a:spLocks noGrp="1"/>
          </p:cNvSpPr>
          <p:nvPr>
            <p:ph type="chart" sz="half" idx="2"/>
          </p:nvPr>
        </p:nvSpPr>
        <p:spPr>
          <a:xfrm>
            <a:off x="5016500" y="628653"/>
            <a:ext cx="4592638" cy="536575"/>
          </a:xfrm>
        </p:spPr>
        <p:txBody>
          <a:bodyPr/>
          <a:lstStyle/>
          <a:p>
            <a:pPr lvl="0"/>
            <a:endParaRPr lang="ko-KR" altLang="en-US" noProof="0" dirty="0" smtClean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E69E02F6-9275-4611-A860-864B76E5F223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2052487528"/>
      </p:ext>
    </p:extLst>
  </p:cSld>
  <p:clrMapOvr>
    <a:masterClrMapping/>
  </p:clrMapOvr>
  <p:transition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2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3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3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9A431C80-FA22-463E-9CA9-2673486DD88C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2902808905"/>
      </p:ext>
    </p:extLst>
  </p:cSld>
  <p:clrMapOvr>
    <a:masterClrMapping/>
  </p:clrMapOvr>
  <p:transition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:p14="http://schemas.microsoft.com/office/powerpoint/2010/main" xmlns="" val="184622853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4001477303"/>
      </p:ext>
    </p:extLst>
  </p:cSld>
  <p:clrMapOvr>
    <a:masterClrMapping/>
  </p:clrMapOvr>
  <p:transition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3364926788"/>
      </p:ext>
    </p:extLst>
  </p:cSld>
  <p:clrMapOvr>
    <a:masterClrMapping/>
  </p:clrMapOvr>
  <p:transition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725979384"/>
      </p:ext>
    </p:extLst>
  </p:cSld>
  <p:clrMapOvr>
    <a:masterClrMapping/>
  </p:clrMapOvr>
  <p:transition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441761483"/>
      </p:ext>
    </p:extLst>
  </p:cSld>
  <p:clrMapOvr>
    <a:masterClrMapping/>
  </p:clrMapOvr>
  <p:transition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445366150"/>
      </p:ext>
    </p:extLst>
  </p:cSld>
  <p:clrMapOvr>
    <a:masterClrMapping/>
  </p:clrMapOvr>
  <p:transition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552408189"/>
      </p:ext>
    </p:extLst>
  </p:cSld>
  <p:clrMapOvr>
    <a:masterClrMapping/>
  </p:clrMapOvr>
  <p:transition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058043646"/>
      </p:ext>
    </p:extLst>
  </p:cSld>
  <p:clrMapOvr>
    <a:masterClrMapping/>
  </p:clrMapOvr>
  <p:transition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095334878"/>
      </p:ext>
    </p:extLst>
  </p:cSld>
  <p:clrMapOvr>
    <a:masterClrMapping/>
  </p:clrMapOvr>
  <p:transition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092488291"/>
      </p:ext>
    </p:extLst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4042321437"/>
      </p:ext>
    </p:extLst>
  </p:cSld>
  <p:clrMapOvr>
    <a:masterClrMapping/>
  </p:clrMapOvr>
  <p:transition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405662149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1567866929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066111406"/>
      </p:ext>
    </p:extLst>
  </p:cSld>
  <p:clrMapOvr>
    <a:masterClrMapping/>
  </p:clrMapOvr>
  <p:transition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680896114"/>
      </p:ext>
    </p:extLst>
  </p:cSld>
  <p:clrMapOvr>
    <a:masterClrMapping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13984416"/>
      </p:ext>
    </p:extLst>
  </p:cSld>
  <p:clrMapOvr>
    <a:masterClrMapping/>
  </p:clrMapOvr>
  <p:transition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:p14="http://schemas.microsoft.com/office/powerpoint/2010/main" xmlns="" val="1801990215"/>
      </p:ext>
    </p:extLst>
  </p:cSld>
  <p:clrMapOvr>
    <a:masterClrMapping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3315313670"/>
      </p:ext>
    </p:extLst>
  </p:cSld>
  <p:clrMapOvr>
    <a:masterClrMapping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2554960006"/>
      </p:ext>
    </p:extLst>
  </p:cSld>
  <p:clrMapOvr>
    <a:masterClrMapping/>
  </p:clrMapOvr>
  <p:transition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448415175"/>
      </p:ext>
    </p:extLst>
  </p:cSld>
  <p:clrMapOvr>
    <a:masterClrMapping/>
  </p:clrMapOvr>
  <p:transition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893156498"/>
      </p:ext>
    </p:extLst>
  </p:cSld>
  <p:clrMapOvr>
    <a:masterClrMapping/>
  </p:clrMapOvr>
  <p:transition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4015601572"/>
      </p:ext>
    </p:extLst>
  </p:cSld>
  <p:clrMapOvr>
    <a:masterClrMapping/>
  </p:clrMapOvr>
  <p:transition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715786241"/>
      </p:ext>
    </p:extLst>
  </p:cSld>
  <p:clrMapOvr>
    <a:masterClrMapping/>
  </p:clrMapOvr>
  <p:transition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3175181050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142363890"/>
      </p:ext>
    </p:extLst>
  </p:cSld>
  <p:clrMapOvr>
    <a:masterClrMapping/>
  </p:clrMapOvr>
  <p:transition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250390808"/>
      </p:ext>
    </p:extLst>
  </p:cSld>
  <p:clrMapOvr>
    <a:masterClrMapping/>
  </p:clrMapOvr>
  <p:transition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968511087"/>
      </p:ext>
    </p:extLst>
  </p:cSld>
  <p:clrMapOvr>
    <a:masterClrMapping/>
  </p:clrMapOvr>
  <p:transition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4090821420"/>
      </p:ext>
    </p:extLst>
  </p:cSld>
  <p:clrMapOvr>
    <a:masterClrMapping/>
  </p:clrMapOvr>
  <p:transition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800871456"/>
      </p:ext>
    </p:extLst>
  </p:cSld>
  <p:clrMapOvr>
    <a:masterClrMapping/>
  </p:clrMapOvr>
  <p:transition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219931933"/>
      </p:ext>
    </p:extLst>
  </p:cSld>
  <p:clrMapOvr>
    <a:masterClrMapping/>
  </p:clrMapOvr>
  <p:transition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:p14="http://schemas.microsoft.com/office/powerpoint/2010/main" xmlns="" val="3827961485"/>
      </p:ext>
    </p:extLst>
  </p:cSld>
  <p:clrMapOvr>
    <a:masterClrMapping/>
  </p:clrMapOvr>
  <p:transition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1665490796"/>
      </p:ext>
    </p:extLst>
  </p:cSld>
  <p:clrMapOvr>
    <a:masterClrMapping/>
  </p:clrMapOvr>
  <p:transition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366512699"/>
      </p:ext>
    </p:extLst>
  </p:cSld>
  <p:clrMapOvr>
    <a:masterClrMapping/>
  </p:clrMapOvr>
  <p:transition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944154371"/>
      </p:ext>
    </p:extLst>
  </p:cSld>
  <p:clrMapOvr>
    <a:masterClrMapping/>
  </p:clrMapOvr>
  <p:transition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84746911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3373983798"/>
      </p:ext>
    </p:extLst>
  </p:cSld>
  <p:clrMapOvr>
    <a:masterClrMapping/>
  </p:clrMapOvr>
  <p:transition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106082941"/>
      </p:ext>
    </p:extLst>
  </p:cSld>
  <p:clrMapOvr>
    <a:masterClrMapping/>
  </p:clrMapOvr>
  <p:transition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3153733"/>
      </p:ext>
    </p:extLst>
  </p:cSld>
  <p:clrMapOvr>
    <a:masterClrMapping/>
  </p:clrMapOvr>
  <p:transition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532389204"/>
      </p:ext>
    </p:extLst>
  </p:cSld>
  <p:clrMapOvr>
    <a:masterClrMapping/>
  </p:clrMapOvr>
  <p:transition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289711224"/>
      </p:ext>
    </p:extLst>
  </p:cSld>
  <p:clrMapOvr>
    <a:masterClrMapping/>
  </p:clrMapOvr>
  <p:transition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342238992"/>
      </p:ext>
    </p:extLst>
  </p:cSld>
  <p:clrMapOvr>
    <a:masterClrMapping/>
  </p:clrMapOvr>
  <p:transition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776518931"/>
      </p:ext>
    </p:extLst>
  </p:cSld>
  <p:clrMapOvr>
    <a:masterClrMapping/>
  </p:clrMapOvr>
  <p:transition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4160234742"/>
      </p:ext>
    </p:extLst>
  </p:cSld>
  <p:clrMapOvr>
    <a:masterClrMapping/>
  </p:clrMapOvr>
  <p:transition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066828044"/>
      </p:ext>
    </p:extLst>
  </p:cSld>
  <p:clrMapOvr>
    <a:masterClrMapping/>
  </p:clrMapOvr>
  <p:transition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:p14="http://schemas.microsoft.com/office/powerpoint/2010/main" xmlns="" val="1306488435"/>
      </p:ext>
    </p:extLst>
  </p:cSld>
  <p:clrMapOvr>
    <a:masterClrMapping/>
  </p:clrMapOvr>
  <p:transition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61322936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3701101660"/>
      </p:ext>
    </p:extLst>
  </p:cSld>
  <p:clrMapOvr>
    <a:masterClrMapping/>
  </p:clrMapOvr>
  <p:transition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566461886"/>
      </p:ext>
    </p:extLst>
  </p:cSld>
  <p:clrMapOvr>
    <a:masterClrMapping/>
  </p:clrMapOvr>
  <p:transition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830988081"/>
      </p:ext>
    </p:extLst>
  </p:cSld>
  <p:clrMapOvr>
    <a:masterClrMapping/>
  </p:clrMapOvr>
  <p:transition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403879808"/>
      </p:ext>
    </p:extLst>
  </p:cSld>
  <p:clrMapOvr>
    <a:masterClrMapping/>
  </p:clrMapOvr>
  <p:transition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760637466"/>
      </p:ext>
    </p:extLst>
  </p:cSld>
  <p:clrMapOvr>
    <a:masterClrMapping/>
  </p:clrMapOvr>
  <p:transition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84790548"/>
      </p:ext>
    </p:extLst>
  </p:cSld>
  <p:clrMapOvr>
    <a:masterClrMapping/>
  </p:clrMapOvr>
  <p:transition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3386583032"/>
      </p:ext>
    </p:extLst>
  </p:cSld>
  <p:clrMapOvr>
    <a:masterClrMapping/>
  </p:clrMapOvr>
  <p:transition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3675794613"/>
      </p:ext>
    </p:extLst>
  </p:cSld>
  <p:clrMapOvr>
    <a:masterClrMapping/>
  </p:clrMapOvr>
  <p:transition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2397946095"/>
      </p:ext>
    </p:extLst>
  </p:cSld>
  <p:clrMapOvr>
    <a:masterClrMapping/>
  </p:clrMapOvr>
  <p:transition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517512242"/>
      </p:ext>
    </p:extLst>
  </p:cSld>
  <p:clrMapOvr>
    <a:masterClrMapping/>
  </p:clrMapOvr>
  <p:transition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672616101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863421903"/>
      </p:ext>
    </p:extLst>
  </p:cSld>
  <p:clrMapOvr>
    <a:masterClrMapping/>
  </p:clrMapOvr>
  <p:transition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363100"/>
      </p:ext>
    </p:extLst>
  </p:cSld>
  <p:clrMapOvr>
    <a:masterClrMapping/>
  </p:clrMapOvr>
  <p:transition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:p14="http://schemas.microsoft.com/office/powerpoint/2010/main" xmlns="" val="3133406978"/>
      </p:ext>
    </p:extLst>
  </p:cSld>
  <p:clrMapOvr>
    <a:masterClrMapping/>
  </p:clrMapOvr>
  <p:transition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2018303148"/>
      </p:ext>
    </p:extLst>
  </p:cSld>
  <p:clrMapOvr>
    <a:masterClrMapping/>
  </p:clrMapOvr>
  <p:transition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571918439"/>
      </p:ext>
    </p:extLst>
  </p:cSld>
  <p:clrMapOvr>
    <a:masterClrMapping/>
  </p:clrMapOvr>
  <p:transition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184488654"/>
      </p:ext>
    </p:extLst>
  </p:cSld>
  <p:clrMapOvr>
    <a:masterClrMapping/>
  </p:clrMapOvr>
  <p:transition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448483297"/>
      </p:ext>
    </p:extLst>
  </p:cSld>
  <p:clrMapOvr>
    <a:masterClrMapping/>
  </p:clrMapOvr>
  <p:transition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468935398"/>
      </p:ext>
    </p:extLst>
  </p:cSld>
  <p:clrMapOvr>
    <a:masterClrMapping/>
  </p:clrMapOvr>
  <p:transition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4021780913"/>
      </p:ext>
    </p:extLst>
  </p:cSld>
  <p:clrMapOvr>
    <a:masterClrMapping/>
  </p:clrMapOvr>
  <p:transition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778029270"/>
      </p:ext>
    </p:extLst>
  </p:cSld>
  <p:clrMapOvr>
    <a:masterClrMapping/>
  </p:clrMapOvr>
  <p:transition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0682736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388422997"/>
      </p:ext>
    </p:extLst>
  </p:cSld>
  <p:clrMapOvr>
    <a:masterClrMapping/>
  </p:clrMapOvr>
  <p:transition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2332078551"/>
      </p:ext>
    </p:extLst>
  </p:cSld>
  <p:clrMapOvr>
    <a:masterClrMapping/>
  </p:clrMapOvr>
  <p:transition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109532469"/>
      </p:ext>
    </p:extLst>
  </p:cSld>
  <p:clrMapOvr>
    <a:masterClrMapping/>
  </p:clrMapOvr>
  <p:transition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814283116"/>
      </p:ext>
    </p:extLst>
  </p:cSld>
  <p:clrMapOvr>
    <a:masterClrMapping/>
  </p:clrMapOvr>
  <p:transition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917792020"/>
      </p:ext>
    </p:extLst>
  </p:cSld>
  <p:clrMapOvr>
    <a:masterClrMapping/>
  </p:clrMapOvr>
  <p:transition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34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6429375"/>
            <a:ext cx="9906000" cy="4286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0" hangingPunct="0"/>
            <a:endParaRPr lang="ko-KR" altLang="en-US" sz="1700" b="0" u="none">
              <a:solidFill>
                <a:srgbClr val="000000"/>
              </a:solidFill>
              <a:latin typeface="Arial" pitchFamily="34" charset="0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05927783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1" y="121742"/>
            <a:ext cx="5032375" cy="360362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나눔고딕 ExtraBold" pitchFamily="50" charset="-127"/>
                <a:ea typeface="나눔고딕 ExtraBold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  <a:lvl2pPr>
              <a:defRPr>
                <a:latin typeface="맑은 고딕" pitchFamily="50" charset="-127"/>
                <a:ea typeface="맑은 고딕" pitchFamily="50" charset="-127"/>
              </a:defRPr>
            </a:lvl2pPr>
            <a:lvl3pPr>
              <a:defRPr>
                <a:latin typeface="맑은 고딕" pitchFamily="50" charset="-127"/>
                <a:ea typeface="맑은 고딕" pitchFamily="50" charset="-127"/>
              </a:defRPr>
            </a:lvl3pPr>
            <a:lvl4pPr>
              <a:defRPr>
                <a:latin typeface="맑은 고딕" pitchFamily="50" charset="-127"/>
                <a:ea typeface="맑은 고딕" pitchFamily="50" charset="-127"/>
              </a:defRPr>
            </a:lvl4pPr>
            <a:lvl5pPr>
              <a:defRPr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  <a:endParaRPr lang="en-US" dirty="0"/>
          </a:p>
        </p:txBody>
      </p:sp>
      <p:sp>
        <p:nvSpPr>
          <p:cNvPr id="6" name="텍스트 개체 틀 5"/>
          <p:cNvSpPr>
            <a:spLocks noGrp="1"/>
          </p:cNvSpPr>
          <p:nvPr>
            <p:ph type="body" sz="quarter" idx="10"/>
          </p:nvPr>
        </p:nvSpPr>
        <p:spPr>
          <a:xfrm>
            <a:off x="5305425" y="63798"/>
            <a:ext cx="4333875" cy="476250"/>
          </a:xfrm>
        </p:spPr>
        <p:txBody>
          <a:bodyPr anchor="ctr"/>
          <a:lstStyle>
            <a:lvl1pPr algn="r">
              <a:defRPr sz="1400">
                <a:latin typeface="나눔고딕 ExtraBold" pitchFamily="50" charset="-127"/>
                <a:ea typeface="나눔고딕 ExtraBold" pitchFamily="50" charset="-127"/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  <a:endParaRPr lang="en-US" altLang="ko-KR" dirty="0" smtClean="0"/>
          </a:p>
        </p:txBody>
      </p:sp>
    </p:spTree>
    <p:extLst>
      <p:ext uri="{BB962C8B-B14F-4D97-AF65-F5344CB8AC3E}">
        <p14:creationId xmlns:p14="http://schemas.microsoft.com/office/powerpoint/2010/main" xmlns="" val="3067184695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34057"/>
            <a:ext cx="5039179" cy="3449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40" tIns="45720" rIns="91440" bIns="45720"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ko-KR" altLang="en-US" smtClean="0"/>
              <a:t>마스터 제목 스타일 편집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idx="1"/>
          </p:nvPr>
        </p:nvSpPr>
        <p:spPr bwMode="auto">
          <a:xfrm>
            <a:off x="273050" y="589919"/>
            <a:ext cx="9361488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40" tIns="45720" rIns="91440" bIns="45720"/>
          <a:lstStyle>
            <a:lvl1pPr>
              <a:defRPr kumimoji="1" lang="en-US" altLang="ko-KR" b="1" dirty="0" smtClean="0">
                <a:solidFill>
                  <a:schemeClr val="tx1"/>
                </a:solidFill>
                <a:latin typeface="Arial" pitchFamily="34" charset="0"/>
                <a:ea typeface="나눔고딕" pitchFamily="50" charset="-127"/>
                <a:cs typeface="Arial" pitchFamily="34" charset="0"/>
              </a:defRPr>
            </a:lvl1pPr>
          </a:lstStyle>
          <a:p>
            <a:pPr lvl="0"/>
            <a:endParaRPr lang="en-US" altLang="ko-KR" dirty="0" smtClean="0"/>
          </a:p>
        </p:txBody>
      </p:sp>
    </p:spTree>
    <p:extLst>
      <p:ext uri="{BB962C8B-B14F-4D97-AF65-F5344CB8AC3E}">
        <p14:creationId xmlns:p14="http://schemas.microsoft.com/office/powerpoint/2010/main" xmlns="" val="2002879389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8"/>
            <a:ext cx="8420100" cy="14700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 lIns="95746" tIns="47874" rIns="95746" bIns="47874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  <a:lvl2pPr marL="4787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7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6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4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3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24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1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29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 smtClean="0"/>
              <a:t>마스터 부제목 스타일 편집</a:t>
            </a:r>
            <a:endParaRPr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88B592C2-5AA7-476F-9F0B-4D20DA763190}" type="datetime1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  <a:lvl2pPr>
              <a:defRPr>
                <a:latin typeface="나눔고딕" pitchFamily="50" charset="-127"/>
                <a:ea typeface="나눔고딕" pitchFamily="50" charset="-127"/>
              </a:defRPr>
            </a:lvl2pPr>
            <a:lvl3pPr>
              <a:defRPr>
                <a:latin typeface="나눔고딕" pitchFamily="50" charset="-127"/>
                <a:ea typeface="나눔고딕" pitchFamily="50" charset="-127"/>
              </a:defRPr>
            </a:lvl3pPr>
            <a:lvl4pPr>
              <a:defRPr>
                <a:latin typeface="나눔고딕" pitchFamily="50" charset="-127"/>
                <a:ea typeface="나눔고딕" pitchFamily="50" charset="-127"/>
              </a:defRPr>
            </a:lvl4pPr>
            <a:lvl5pPr>
              <a:defRPr>
                <a:latin typeface="나눔고딕" pitchFamily="50" charset="-127"/>
                <a:ea typeface="나눔고딕" pitchFamily="50" charset="-127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A57F2ACC-8A3A-42F1-8A7C-A26BD276D6DC}" type="datetime1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506" y="4406903"/>
            <a:ext cx="8420100" cy="1362075"/>
          </a:xfrm>
          <a:prstGeom prst="rect">
            <a:avLst/>
          </a:prstGeom>
        </p:spPr>
        <p:txBody>
          <a:bodyPr lIns="95746" tIns="47874" rIns="95746" bIns="47874" anchor="t"/>
          <a:lstStyle>
            <a:lvl1pPr algn="l">
              <a:defRPr sz="4200" b="1" cap="all"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506" y="2906714"/>
            <a:ext cx="8420100" cy="1500187"/>
          </a:xfrm>
          <a:prstGeom prst="rect">
            <a:avLst/>
          </a:prstGeom>
        </p:spPr>
        <p:txBody>
          <a:bodyPr lIns="95746" tIns="47874" rIns="95746" bIns="47874" anchor="b"/>
          <a:lstStyle>
            <a:lvl1pPr marL="0" indent="0">
              <a:buNone/>
              <a:defRPr sz="2100"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  <a:lvl2pPr marL="47873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9574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43620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91494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39367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87241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35114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82988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57925CB2-7415-40FA-8471-6D1F730328A9}" type="datetime1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903425009"/>
      </p:ext>
    </p:extLst>
  </p:cSld>
  <p:clrMapOvr>
    <a:masterClrMapping/>
  </p:clrMapOvr>
  <p:transition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 sz="2900">
                <a:latin typeface="나눔고딕" pitchFamily="50" charset="-127"/>
                <a:ea typeface="나눔고딕" pitchFamily="50" charset="-127"/>
              </a:defRPr>
            </a:lvl1pPr>
            <a:lvl2pPr>
              <a:defRPr sz="2500">
                <a:latin typeface="나눔고딕" pitchFamily="50" charset="-127"/>
                <a:ea typeface="나눔고딕" pitchFamily="50" charset="-127"/>
              </a:defRPr>
            </a:lvl2pPr>
            <a:lvl3pPr>
              <a:defRPr sz="2100">
                <a:latin typeface="나눔고딕" pitchFamily="50" charset="-127"/>
                <a:ea typeface="나눔고딕" pitchFamily="50" charset="-127"/>
              </a:defRPr>
            </a:lvl3pPr>
            <a:lvl4pPr>
              <a:defRPr sz="1900">
                <a:latin typeface="나눔고딕" pitchFamily="50" charset="-127"/>
                <a:ea typeface="나눔고딕" pitchFamily="50" charset="-127"/>
              </a:defRPr>
            </a:lvl4pPr>
            <a:lvl5pPr>
              <a:defRPr sz="1900">
                <a:latin typeface="나눔고딕" pitchFamily="50" charset="-127"/>
                <a:ea typeface="나눔고딕" pitchFamily="50" charset="-127"/>
              </a:defRPr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 sz="2900">
                <a:latin typeface="나눔고딕" pitchFamily="50" charset="-127"/>
                <a:ea typeface="나눔고딕" pitchFamily="50" charset="-127"/>
              </a:defRPr>
            </a:lvl1pPr>
            <a:lvl2pPr>
              <a:defRPr sz="2500">
                <a:latin typeface="나눔고딕" pitchFamily="50" charset="-127"/>
                <a:ea typeface="나눔고딕" pitchFamily="50" charset="-127"/>
              </a:defRPr>
            </a:lvl2pPr>
            <a:lvl3pPr>
              <a:defRPr sz="2100">
                <a:latin typeface="나눔고딕" pitchFamily="50" charset="-127"/>
                <a:ea typeface="나눔고딕" pitchFamily="50" charset="-127"/>
              </a:defRPr>
            </a:lvl3pPr>
            <a:lvl4pPr>
              <a:defRPr sz="1900">
                <a:latin typeface="나눔고딕" pitchFamily="50" charset="-127"/>
                <a:ea typeface="나눔고딕" pitchFamily="50" charset="-127"/>
              </a:defRPr>
            </a:lvl4pPr>
            <a:lvl5pPr>
              <a:defRPr sz="1900">
                <a:latin typeface="나눔고딕" pitchFamily="50" charset="-127"/>
                <a:ea typeface="나눔고딕" pitchFamily="50" charset="-127"/>
              </a:defRPr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93963BD1-DCD4-4B09-BC01-1DCABBA563FE}" type="datetime1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  <a:prstGeom prst="rect">
            <a:avLst/>
          </a:prstGeom>
        </p:spPr>
        <p:txBody>
          <a:bodyPr lIns="95746" tIns="47874" rIns="95746" bIns="47874" anchor="b"/>
          <a:lstStyle>
            <a:lvl1pPr marL="0" indent="0">
              <a:buNone/>
              <a:defRPr sz="2500" b="1">
                <a:latin typeface="나눔고딕" pitchFamily="50" charset="-127"/>
                <a:ea typeface="나눔고딕" pitchFamily="50" charset="-127"/>
              </a:defRPr>
            </a:lvl1pPr>
            <a:lvl2pPr marL="478736" indent="0">
              <a:buNone/>
              <a:defRPr sz="2100" b="1"/>
            </a:lvl2pPr>
            <a:lvl3pPr marL="957472" indent="0">
              <a:buNone/>
              <a:defRPr sz="1900" b="1"/>
            </a:lvl3pPr>
            <a:lvl4pPr marL="1436206" indent="0">
              <a:buNone/>
              <a:defRPr sz="1600" b="1"/>
            </a:lvl4pPr>
            <a:lvl5pPr marL="1914941" indent="0">
              <a:buNone/>
              <a:defRPr sz="1600" b="1"/>
            </a:lvl5pPr>
            <a:lvl6pPr marL="2393675" indent="0">
              <a:buNone/>
              <a:defRPr sz="1600" b="1"/>
            </a:lvl6pPr>
            <a:lvl7pPr marL="2872411" indent="0">
              <a:buNone/>
              <a:defRPr sz="1600" b="1"/>
            </a:lvl7pPr>
            <a:lvl8pPr marL="3351146" indent="0">
              <a:buNone/>
              <a:defRPr sz="1600" b="1"/>
            </a:lvl8pPr>
            <a:lvl9pPr marL="3829881" indent="0">
              <a:buNone/>
              <a:defRPr sz="1600" b="1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 sz="2500">
                <a:latin typeface="나눔고딕" pitchFamily="50" charset="-127"/>
                <a:ea typeface="나눔고딕" pitchFamily="50" charset="-127"/>
              </a:defRPr>
            </a:lvl1pPr>
            <a:lvl2pPr>
              <a:defRPr sz="2100">
                <a:latin typeface="나눔고딕" pitchFamily="50" charset="-127"/>
                <a:ea typeface="나눔고딕" pitchFamily="50" charset="-127"/>
              </a:defRPr>
            </a:lvl2pPr>
            <a:lvl3pPr>
              <a:defRPr sz="1900">
                <a:latin typeface="나눔고딕" pitchFamily="50" charset="-127"/>
                <a:ea typeface="나눔고딕" pitchFamily="50" charset="-127"/>
              </a:defRPr>
            </a:lvl3pPr>
            <a:lvl4pPr>
              <a:defRPr sz="1600">
                <a:latin typeface="나눔고딕" pitchFamily="50" charset="-127"/>
                <a:ea typeface="나눔고딕" pitchFamily="50" charset="-127"/>
              </a:defRPr>
            </a:lvl4pPr>
            <a:lvl5pPr>
              <a:defRPr sz="1600">
                <a:latin typeface="나눔고딕" pitchFamily="50" charset="-127"/>
                <a:ea typeface="나눔고딕" pitchFamily="50" charset="-127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  <a:prstGeom prst="rect">
            <a:avLst/>
          </a:prstGeom>
        </p:spPr>
        <p:txBody>
          <a:bodyPr lIns="95746" tIns="47874" rIns="95746" bIns="47874" anchor="b"/>
          <a:lstStyle>
            <a:lvl1pPr marL="0" indent="0">
              <a:buNone/>
              <a:defRPr sz="2500" b="1">
                <a:latin typeface="나눔고딕" pitchFamily="50" charset="-127"/>
                <a:ea typeface="나눔고딕" pitchFamily="50" charset="-127"/>
              </a:defRPr>
            </a:lvl1pPr>
            <a:lvl2pPr marL="478736" indent="0">
              <a:buNone/>
              <a:defRPr sz="2100" b="1"/>
            </a:lvl2pPr>
            <a:lvl3pPr marL="957472" indent="0">
              <a:buNone/>
              <a:defRPr sz="1900" b="1"/>
            </a:lvl3pPr>
            <a:lvl4pPr marL="1436206" indent="0">
              <a:buNone/>
              <a:defRPr sz="1600" b="1"/>
            </a:lvl4pPr>
            <a:lvl5pPr marL="1914941" indent="0">
              <a:buNone/>
              <a:defRPr sz="1600" b="1"/>
            </a:lvl5pPr>
            <a:lvl6pPr marL="2393675" indent="0">
              <a:buNone/>
              <a:defRPr sz="1600" b="1"/>
            </a:lvl6pPr>
            <a:lvl7pPr marL="2872411" indent="0">
              <a:buNone/>
              <a:defRPr sz="1600" b="1"/>
            </a:lvl7pPr>
            <a:lvl8pPr marL="3351146" indent="0">
              <a:buNone/>
              <a:defRPr sz="1600" b="1"/>
            </a:lvl8pPr>
            <a:lvl9pPr marL="3829881" indent="0">
              <a:buNone/>
              <a:defRPr sz="1600" b="1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 sz="2500">
                <a:latin typeface="나눔고딕" pitchFamily="50" charset="-127"/>
                <a:ea typeface="나눔고딕" pitchFamily="50" charset="-127"/>
              </a:defRPr>
            </a:lvl1pPr>
            <a:lvl2pPr>
              <a:defRPr sz="2100">
                <a:latin typeface="나눔고딕" pitchFamily="50" charset="-127"/>
                <a:ea typeface="나눔고딕" pitchFamily="50" charset="-127"/>
              </a:defRPr>
            </a:lvl2pPr>
            <a:lvl3pPr>
              <a:defRPr sz="1900">
                <a:latin typeface="나눔고딕" pitchFamily="50" charset="-127"/>
                <a:ea typeface="나눔고딕" pitchFamily="50" charset="-127"/>
              </a:defRPr>
            </a:lvl3pPr>
            <a:lvl4pPr>
              <a:defRPr sz="1600">
                <a:latin typeface="나눔고딕" pitchFamily="50" charset="-127"/>
                <a:ea typeface="나눔고딕" pitchFamily="50" charset="-127"/>
              </a:defRPr>
            </a:lvl4pPr>
            <a:lvl5pPr>
              <a:defRPr sz="1600">
                <a:latin typeface="나눔고딕" pitchFamily="50" charset="-127"/>
                <a:ea typeface="나눔고딕" pitchFamily="50" charset="-127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303C2D57-6852-42A8-841C-E999A1B0D50F}" type="datetime1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0E1816D3-0CD0-4BBC-BF6D-C32C7E2E71BC}" type="datetime1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8373D4AB-4C1B-458F-9C66-C8074593111F}" type="datetime1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1" y="273050"/>
            <a:ext cx="3259006" cy="1162050"/>
          </a:xfrm>
          <a:prstGeom prst="rect">
            <a:avLst/>
          </a:prstGeom>
        </p:spPr>
        <p:txBody>
          <a:bodyPr lIns="95746" tIns="47874" rIns="95746" bIns="47874" anchor="b"/>
          <a:lstStyle>
            <a:lvl1pPr algn="l">
              <a:defRPr sz="2100" b="1"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2972" y="273051"/>
            <a:ext cx="5537729" cy="5853113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 sz="3400">
                <a:latin typeface="나눔고딕" pitchFamily="50" charset="-127"/>
                <a:ea typeface="나눔고딕" pitchFamily="50" charset="-127"/>
              </a:defRPr>
            </a:lvl1pPr>
            <a:lvl2pPr>
              <a:defRPr sz="2900">
                <a:latin typeface="나눔고딕" pitchFamily="50" charset="-127"/>
                <a:ea typeface="나눔고딕" pitchFamily="50" charset="-127"/>
              </a:defRPr>
            </a:lvl2pPr>
            <a:lvl3pPr>
              <a:defRPr sz="2500">
                <a:latin typeface="나눔고딕" pitchFamily="50" charset="-127"/>
                <a:ea typeface="나눔고딕" pitchFamily="50" charset="-127"/>
              </a:defRPr>
            </a:lvl3pPr>
            <a:lvl4pPr>
              <a:defRPr sz="2100">
                <a:latin typeface="나눔고딕" pitchFamily="50" charset="-127"/>
                <a:ea typeface="나눔고딕" pitchFamily="50" charset="-127"/>
              </a:defRPr>
            </a:lvl4pPr>
            <a:lvl5pPr>
              <a:defRPr sz="2100">
                <a:latin typeface="나눔고딕" pitchFamily="50" charset="-127"/>
                <a:ea typeface="나눔고딕" pitchFamily="50" charset="-127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1" y="1435101"/>
            <a:ext cx="3259006" cy="4691063"/>
          </a:xfrm>
          <a:prstGeom prst="rect">
            <a:avLst/>
          </a:prstGeom>
        </p:spPr>
        <p:txBody>
          <a:bodyPr lIns="95746" tIns="47874" rIns="95746" bIns="47874"/>
          <a:lstStyle>
            <a:lvl1pPr marL="0" indent="0">
              <a:buNone/>
              <a:defRPr sz="1500">
                <a:latin typeface="나눔고딕" pitchFamily="50" charset="-127"/>
                <a:ea typeface="나눔고딕" pitchFamily="50" charset="-127"/>
              </a:defRPr>
            </a:lvl1pPr>
            <a:lvl2pPr marL="478736" indent="0">
              <a:buNone/>
              <a:defRPr sz="1300"/>
            </a:lvl2pPr>
            <a:lvl3pPr marL="957472" indent="0">
              <a:buNone/>
              <a:defRPr sz="1000"/>
            </a:lvl3pPr>
            <a:lvl4pPr marL="1436206" indent="0">
              <a:buNone/>
              <a:defRPr sz="1000"/>
            </a:lvl4pPr>
            <a:lvl5pPr marL="1914941" indent="0">
              <a:buNone/>
              <a:defRPr sz="1000"/>
            </a:lvl5pPr>
            <a:lvl6pPr marL="2393675" indent="0">
              <a:buNone/>
              <a:defRPr sz="1000"/>
            </a:lvl6pPr>
            <a:lvl7pPr marL="2872411" indent="0">
              <a:buNone/>
              <a:defRPr sz="1000"/>
            </a:lvl7pPr>
            <a:lvl8pPr marL="3351146" indent="0">
              <a:buNone/>
              <a:defRPr sz="1000"/>
            </a:lvl8pPr>
            <a:lvl9pPr marL="3829881" indent="0">
              <a:buNone/>
              <a:defRPr sz="10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7D17A795-B6E3-4D16-B139-B3646F2E8000}" type="datetime1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  <a:prstGeom prst="rect">
            <a:avLst/>
          </a:prstGeom>
        </p:spPr>
        <p:txBody>
          <a:bodyPr lIns="95746" tIns="47874" rIns="95746" bIns="47874" anchor="b"/>
          <a:lstStyle>
            <a:lvl1pPr algn="l">
              <a:defRPr sz="2100" b="1"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  <a:prstGeom prst="rect">
            <a:avLst/>
          </a:prstGeom>
        </p:spPr>
        <p:txBody>
          <a:bodyPr lIns="95746" tIns="47874" rIns="95746" bIns="47874"/>
          <a:lstStyle>
            <a:lvl1pPr marL="0" indent="0">
              <a:buNone/>
              <a:defRPr sz="3400">
                <a:latin typeface="나눔고딕" pitchFamily="50" charset="-127"/>
                <a:ea typeface="나눔고딕" pitchFamily="50" charset="-127"/>
              </a:defRPr>
            </a:lvl1pPr>
            <a:lvl2pPr marL="478736" indent="0">
              <a:buNone/>
              <a:defRPr sz="2900"/>
            </a:lvl2pPr>
            <a:lvl3pPr marL="957472" indent="0">
              <a:buNone/>
              <a:defRPr sz="2500"/>
            </a:lvl3pPr>
            <a:lvl4pPr marL="1436206" indent="0">
              <a:buNone/>
              <a:defRPr sz="2100"/>
            </a:lvl4pPr>
            <a:lvl5pPr marL="1914941" indent="0">
              <a:buNone/>
              <a:defRPr sz="2100"/>
            </a:lvl5pPr>
            <a:lvl6pPr marL="2393675" indent="0">
              <a:buNone/>
              <a:defRPr sz="2100"/>
            </a:lvl6pPr>
            <a:lvl7pPr marL="2872411" indent="0">
              <a:buNone/>
              <a:defRPr sz="2100"/>
            </a:lvl7pPr>
            <a:lvl8pPr marL="3351146" indent="0">
              <a:buNone/>
              <a:defRPr sz="2100"/>
            </a:lvl8pPr>
            <a:lvl9pPr marL="3829881" indent="0">
              <a:buNone/>
              <a:defRPr sz="2100"/>
            </a:lvl9pPr>
          </a:lstStyle>
          <a:p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  <a:prstGeom prst="rect">
            <a:avLst/>
          </a:prstGeom>
        </p:spPr>
        <p:txBody>
          <a:bodyPr lIns="95746" tIns="47874" rIns="95746" bIns="47874"/>
          <a:lstStyle>
            <a:lvl1pPr marL="0" indent="0">
              <a:buNone/>
              <a:defRPr sz="1500">
                <a:latin typeface="나눔고딕" pitchFamily="50" charset="-127"/>
                <a:ea typeface="나눔고딕" pitchFamily="50" charset="-127"/>
              </a:defRPr>
            </a:lvl1pPr>
            <a:lvl2pPr marL="478736" indent="0">
              <a:buNone/>
              <a:defRPr sz="1300"/>
            </a:lvl2pPr>
            <a:lvl3pPr marL="957472" indent="0">
              <a:buNone/>
              <a:defRPr sz="1000"/>
            </a:lvl3pPr>
            <a:lvl4pPr marL="1436206" indent="0">
              <a:buNone/>
              <a:defRPr sz="1000"/>
            </a:lvl4pPr>
            <a:lvl5pPr marL="1914941" indent="0">
              <a:buNone/>
              <a:defRPr sz="1000"/>
            </a:lvl5pPr>
            <a:lvl6pPr marL="2393675" indent="0">
              <a:buNone/>
              <a:defRPr sz="1000"/>
            </a:lvl6pPr>
            <a:lvl7pPr marL="2872411" indent="0">
              <a:buNone/>
              <a:defRPr sz="1000"/>
            </a:lvl7pPr>
            <a:lvl8pPr marL="3351146" indent="0">
              <a:buNone/>
              <a:defRPr sz="1000"/>
            </a:lvl8pPr>
            <a:lvl9pPr marL="3829881" indent="0">
              <a:buNone/>
              <a:defRPr sz="10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C83DB778-8B2B-4DE0-9B7B-10FC9699C677}" type="datetime1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eaVert"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  <a:lvl2pPr>
              <a:defRPr>
                <a:latin typeface="나눔고딕" pitchFamily="50" charset="-127"/>
                <a:ea typeface="나눔고딕" pitchFamily="50" charset="-127"/>
              </a:defRPr>
            </a:lvl2pPr>
            <a:lvl3pPr>
              <a:defRPr>
                <a:latin typeface="나눔고딕" pitchFamily="50" charset="-127"/>
                <a:ea typeface="나눔고딕" pitchFamily="50" charset="-127"/>
              </a:defRPr>
            </a:lvl3pPr>
            <a:lvl4pPr>
              <a:defRPr>
                <a:latin typeface="나눔고딕" pitchFamily="50" charset="-127"/>
                <a:ea typeface="나눔고딕" pitchFamily="50" charset="-127"/>
              </a:defRPr>
            </a:lvl4pPr>
            <a:lvl5pPr>
              <a:defRPr>
                <a:latin typeface="나눔고딕" pitchFamily="50" charset="-127"/>
                <a:ea typeface="나눔고딕" pitchFamily="50" charset="-127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B50CBA34-01F2-43F6-B521-AA89AB76B0D4}" type="datetime1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41"/>
            <a:ext cx="2228850" cy="5851525"/>
          </a:xfrm>
          <a:prstGeom prst="rect">
            <a:avLst/>
          </a:prstGeom>
        </p:spPr>
        <p:txBody>
          <a:bodyPr vert="eaVert"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41"/>
            <a:ext cx="6521450" cy="5851525"/>
          </a:xfrm>
          <a:prstGeom prst="rect">
            <a:avLst/>
          </a:prstGeom>
        </p:spPr>
        <p:txBody>
          <a:bodyPr vert="eaVert"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  <a:lvl2pPr>
              <a:defRPr>
                <a:latin typeface="나눔고딕" pitchFamily="50" charset="-127"/>
                <a:ea typeface="나눔고딕" pitchFamily="50" charset="-127"/>
              </a:defRPr>
            </a:lvl2pPr>
            <a:lvl3pPr>
              <a:defRPr>
                <a:latin typeface="나눔고딕" pitchFamily="50" charset="-127"/>
                <a:ea typeface="나눔고딕" pitchFamily="50" charset="-127"/>
              </a:defRPr>
            </a:lvl3pPr>
            <a:lvl4pPr>
              <a:defRPr>
                <a:latin typeface="나눔고딕" pitchFamily="50" charset="-127"/>
                <a:ea typeface="나눔고딕" pitchFamily="50" charset="-127"/>
              </a:defRPr>
            </a:lvl4pPr>
            <a:lvl5pPr>
              <a:defRPr>
                <a:latin typeface="나눔고딕" pitchFamily="50" charset="-127"/>
                <a:ea typeface="나눔고딕" pitchFamily="50" charset="-127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82125C8A-E5B9-4B6C-810E-147DA74CE633}" type="datetime1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bg_21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310188"/>
            <a:ext cx="9906000" cy="1547812"/>
          </a:xfrm>
          <a:prstGeom prst="rect">
            <a:avLst/>
          </a:prstGeom>
          <a:noFill/>
        </p:spPr>
      </p:pic>
      <p:sp>
        <p:nvSpPr>
          <p:cNvPr id="10" name="Rectangle 3"/>
          <p:cNvSpPr>
            <a:spLocks noChangeArrowheads="1"/>
          </p:cNvSpPr>
          <p:nvPr userDrawn="1"/>
        </p:nvSpPr>
        <p:spPr bwMode="auto">
          <a:xfrm>
            <a:off x="0" y="0"/>
            <a:ext cx="9906000" cy="523875"/>
          </a:xfrm>
          <a:prstGeom prst="rect">
            <a:avLst/>
          </a:prstGeom>
          <a:gradFill rotWithShape="1">
            <a:gsLst>
              <a:gs pos="0">
                <a:srgbClr val="C70952">
                  <a:gamma/>
                  <a:shade val="85882"/>
                  <a:invGamma/>
                </a:srgbClr>
              </a:gs>
              <a:gs pos="100000">
                <a:srgbClr val="C7095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spcBef>
                <a:spcPct val="30000"/>
              </a:spcBef>
            </a:pPr>
            <a:endParaRPr kumimoji="1" lang="ko-KR" altLang="en-US" sz="1300" u="none" dirty="0">
              <a:solidFill>
                <a:srgbClr val="B60638"/>
              </a:solidFill>
              <a:latin typeface="돋움" pitchFamily="50" charset="-127"/>
              <a:ea typeface="돋움" pitchFamily="50" charset="-127"/>
            </a:endParaRPr>
          </a:p>
        </p:txBody>
      </p:sp>
      <p:pic>
        <p:nvPicPr>
          <p:cNvPr id="12" name="Picture 48" descr="bg_29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12829" y="1588"/>
            <a:ext cx="3032125" cy="768350"/>
          </a:xfrm>
          <a:prstGeom prst="rect">
            <a:avLst/>
          </a:prstGeom>
          <a:noFill/>
        </p:spPr>
      </p:pic>
      <p:pic>
        <p:nvPicPr>
          <p:cNvPr id="13" name="Picture 49" descr="bg_06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737350" y="0"/>
            <a:ext cx="1995488" cy="514350"/>
          </a:xfrm>
          <a:prstGeom prst="rect">
            <a:avLst/>
          </a:prstGeom>
          <a:noFill/>
        </p:spPr>
      </p:pic>
      <p:pic>
        <p:nvPicPr>
          <p:cNvPr id="14" name="Picture 52" descr="LGCNS_02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705403" y="6483380"/>
            <a:ext cx="1000125" cy="233363"/>
          </a:xfrm>
          <a:prstGeom prst="rect">
            <a:avLst/>
          </a:prstGeom>
          <a:noFill/>
        </p:spPr>
      </p:pic>
      <p:pic>
        <p:nvPicPr>
          <p:cNvPr id="15" name="Picture 4" descr="D:\WORK\작업판\비주얼 관련 자료\U+LTE_로고_기본형(최종)투명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3845" y="6354793"/>
            <a:ext cx="774700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4481513"/>
            <a:ext cx="9906000" cy="238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284541"/>
            <a:ext cx="8420100" cy="549275"/>
          </a:xfrm>
          <a:extLst/>
        </p:spPr>
        <p:txBody>
          <a:bodyPr anchor="b"/>
          <a:lstStyle>
            <a:lvl1pPr>
              <a:defRPr sz="2800"/>
            </a:lvl1pPr>
          </a:lstStyle>
          <a:p>
            <a:pPr lvl="0"/>
            <a:r>
              <a:rPr lang="en-US" altLang="ko-KR" noProof="0" dirty="0" smtClean="0"/>
              <a:t>Click to add title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40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:p14="http://schemas.microsoft.com/office/powerpoint/2010/main" xmlns="" val="1749614199"/>
      </p:ext>
    </p:extLst>
  </p:cSld>
  <p:clrMapOvr>
    <a:masterClrMapping/>
  </p:clrMapOvr>
  <p:transition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9"/>
            <a:ext cx="8420100" cy="14700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1" y="3886200"/>
            <a:ext cx="6934200" cy="1752600"/>
          </a:xfrm>
          <a:prstGeom prst="rect">
            <a:avLst/>
          </a:prstGeom>
        </p:spPr>
        <p:txBody>
          <a:bodyPr lIns="95741" tIns="47872" rIns="95741" bIns="47872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  <a:lvl2pPr marL="4787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7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61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4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3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22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09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297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 smtClean="0"/>
              <a:t>마스터 부제목 스타일 편집</a:t>
            </a:r>
            <a:endParaRPr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88B592C2-5AA7-476F-9F0B-4D20DA763190}" type="datetime1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1" y="6356353"/>
            <a:ext cx="31369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2"/>
            <a:ext cx="8915400" cy="4525963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  <a:lvl2pPr>
              <a:defRPr>
                <a:latin typeface="나눔고딕" pitchFamily="50" charset="-127"/>
                <a:ea typeface="나눔고딕" pitchFamily="50" charset="-127"/>
              </a:defRPr>
            </a:lvl2pPr>
            <a:lvl3pPr>
              <a:defRPr>
                <a:latin typeface="나눔고딕" pitchFamily="50" charset="-127"/>
                <a:ea typeface="나눔고딕" pitchFamily="50" charset="-127"/>
              </a:defRPr>
            </a:lvl3pPr>
            <a:lvl4pPr>
              <a:defRPr>
                <a:latin typeface="나눔고딕" pitchFamily="50" charset="-127"/>
                <a:ea typeface="나눔고딕" pitchFamily="50" charset="-127"/>
              </a:defRPr>
            </a:lvl4pPr>
            <a:lvl5pPr>
              <a:defRPr>
                <a:latin typeface="나눔고딕" pitchFamily="50" charset="-127"/>
                <a:ea typeface="나눔고딕" pitchFamily="50" charset="-127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A57F2ACC-8A3A-42F1-8A7C-A26BD276D6DC}" type="datetime1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1" y="6356353"/>
            <a:ext cx="31369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506" y="4406903"/>
            <a:ext cx="8420100" cy="1362075"/>
          </a:xfrm>
          <a:prstGeom prst="rect">
            <a:avLst/>
          </a:prstGeom>
        </p:spPr>
        <p:txBody>
          <a:bodyPr lIns="95741" tIns="47872" rIns="95741" bIns="47872" anchor="t"/>
          <a:lstStyle>
            <a:lvl1pPr algn="l">
              <a:defRPr sz="4200" b="1" cap="all"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506" y="2906714"/>
            <a:ext cx="8420100" cy="1500187"/>
          </a:xfrm>
          <a:prstGeom prst="rect">
            <a:avLst/>
          </a:prstGeom>
        </p:spPr>
        <p:txBody>
          <a:bodyPr lIns="95741" tIns="47872" rIns="95741" bIns="47872" anchor="b"/>
          <a:lstStyle>
            <a:lvl1pPr marL="0" indent="0">
              <a:buNone/>
              <a:defRPr sz="2100"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  <a:lvl2pPr marL="47871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9574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4361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91485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39357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87228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35099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82971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57925CB2-7415-40FA-8471-6D1F730328A9}" type="datetime1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1" y="6356353"/>
            <a:ext cx="31369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75150" cy="4525963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 sz="2900">
                <a:latin typeface="나눔고딕" pitchFamily="50" charset="-127"/>
                <a:ea typeface="나눔고딕" pitchFamily="50" charset="-127"/>
              </a:defRPr>
            </a:lvl1pPr>
            <a:lvl2pPr>
              <a:defRPr sz="2500">
                <a:latin typeface="나눔고딕" pitchFamily="50" charset="-127"/>
                <a:ea typeface="나눔고딕" pitchFamily="50" charset="-127"/>
              </a:defRPr>
            </a:lvl2pPr>
            <a:lvl3pPr>
              <a:defRPr sz="2100">
                <a:latin typeface="나눔고딕" pitchFamily="50" charset="-127"/>
                <a:ea typeface="나눔고딕" pitchFamily="50" charset="-127"/>
              </a:defRPr>
            </a:lvl3pPr>
            <a:lvl4pPr>
              <a:defRPr sz="1900">
                <a:latin typeface="나눔고딕" pitchFamily="50" charset="-127"/>
                <a:ea typeface="나눔고딕" pitchFamily="50" charset="-127"/>
              </a:defRPr>
            </a:lvl4pPr>
            <a:lvl5pPr>
              <a:defRPr sz="1900">
                <a:latin typeface="나눔고딕" pitchFamily="50" charset="-127"/>
                <a:ea typeface="나눔고딕" pitchFamily="50" charset="-127"/>
              </a:defRPr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35550" y="1600202"/>
            <a:ext cx="4375150" cy="4525963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 sz="2900">
                <a:latin typeface="나눔고딕" pitchFamily="50" charset="-127"/>
                <a:ea typeface="나눔고딕" pitchFamily="50" charset="-127"/>
              </a:defRPr>
            </a:lvl1pPr>
            <a:lvl2pPr>
              <a:defRPr sz="2500">
                <a:latin typeface="나눔고딕" pitchFamily="50" charset="-127"/>
                <a:ea typeface="나눔고딕" pitchFamily="50" charset="-127"/>
              </a:defRPr>
            </a:lvl2pPr>
            <a:lvl3pPr>
              <a:defRPr sz="2100">
                <a:latin typeface="나눔고딕" pitchFamily="50" charset="-127"/>
                <a:ea typeface="나눔고딕" pitchFamily="50" charset="-127"/>
              </a:defRPr>
            </a:lvl3pPr>
            <a:lvl4pPr>
              <a:defRPr sz="1900">
                <a:latin typeface="나눔고딕" pitchFamily="50" charset="-127"/>
                <a:ea typeface="나눔고딕" pitchFamily="50" charset="-127"/>
              </a:defRPr>
            </a:lvl4pPr>
            <a:lvl5pPr>
              <a:defRPr sz="1900">
                <a:latin typeface="나눔고딕" pitchFamily="50" charset="-127"/>
                <a:ea typeface="나눔고딕" pitchFamily="50" charset="-127"/>
              </a:defRPr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93963BD1-DCD4-4B09-BC01-1DCABBA563FE}" type="datetime1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384551" y="6356353"/>
            <a:ext cx="31369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  <a:prstGeom prst="rect">
            <a:avLst/>
          </a:prstGeom>
        </p:spPr>
        <p:txBody>
          <a:bodyPr lIns="95741" tIns="47872" rIns="95741" bIns="47872" anchor="b"/>
          <a:lstStyle>
            <a:lvl1pPr marL="0" indent="0">
              <a:buNone/>
              <a:defRPr sz="2500" b="1">
                <a:latin typeface="나눔고딕" pitchFamily="50" charset="-127"/>
                <a:ea typeface="나눔고딕" pitchFamily="50" charset="-127"/>
              </a:defRPr>
            </a:lvl1pPr>
            <a:lvl2pPr marL="478715" indent="0">
              <a:buNone/>
              <a:defRPr sz="2100" b="1"/>
            </a:lvl2pPr>
            <a:lvl3pPr marL="957430" indent="0">
              <a:buNone/>
              <a:defRPr sz="1900" b="1"/>
            </a:lvl3pPr>
            <a:lvl4pPr marL="1436143" indent="0">
              <a:buNone/>
              <a:defRPr sz="1600" b="1"/>
            </a:lvl4pPr>
            <a:lvl5pPr marL="1914856" indent="0">
              <a:buNone/>
              <a:defRPr sz="1600" b="1"/>
            </a:lvl5pPr>
            <a:lvl6pPr marL="2393570" indent="0">
              <a:buNone/>
              <a:defRPr sz="1600" b="1"/>
            </a:lvl6pPr>
            <a:lvl7pPr marL="2872284" indent="0">
              <a:buNone/>
              <a:defRPr sz="1600" b="1"/>
            </a:lvl7pPr>
            <a:lvl8pPr marL="3350998" indent="0">
              <a:buNone/>
              <a:defRPr sz="1600" b="1"/>
            </a:lvl8pPr>
            <a:lvl9pPr marL="3829713" indent="0">
              <a:buNone/>
              <a:defRPr sz="1600" b="1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 sz="2500">
                <a:latin typeface="나눔고딕" pitchFamily="50" charset="-127"/>
                <a:ea typeface="나눔고딕" pitchFamily="50" charset="-127"/>
              </a:defRPr>
            </a:lvl1pPr>
            <a:lvl2pPr>
              <a:defRPr sz="2100">
                <a:latin typeface="나눔고딕" pitchFamily="50" charset="-127"/>
                <a:ea typeface="나눔고딕" pitchFamily="50" charset="-127"/>
              </a:defRPr>
            </a:lvl2pPr>
            <a:lvl3pPr>
              <a:defRPr sz="1900">
                <a:latin typeface="나눔고딕" pitchFamily="50" charset="-127"/>
                <a:ea typeface="나눔고딕" pitchFamily="50" charset="-127"/>
              </a:defRPr>
            </a:lvl3pPr>
            <a:lvl4pPr>
              <a:defRPr sz="1600">
                <a:latin typeface="나눔고딕" pitchFamily="50" charset="-127"/>
                <a:ea typeface="나눔고딕" pitchFamily="50" charset="-127"/>
              </a:defRPr>
            </a:lvl4pPr>
            <a:lvl5pPr>
              <a:defRPr sz="1600">
                <a:latin typeface="나눔고딕" pitchFamily="50" charset="-127"/>
                <a:ea typeface="나눔고딕" pitchFamily="50" charset="-127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  <a:prstGeom prst="rect">
            <a:avLst/>
          </a:prstGeom>
        </p:spPr>
        <p:txBody>
          <a:bodyPr lIns="95741" tIns="47872" rIns="95741" bIns="47872" anchor="b"/>
          <a:lstStyle>
            <a:lvl1pPr marL="0" indent="0">
              <a:buNone/>
              <a:defRPr sz="2500" b="1">
                <a:latin typeface="나눔고딕" pitchFamily="50" charset="-127"/>
                <a:ea typeface="나눔고딕" pitchFamily="50" charset="-127"/>
              </a:defRPr>
            </a:lvl1pPr>
            <a:lvl2pPr marL="478715" indent="0">
              <a:buNone/>
              <a:defRPr sz="2100" b="1"/>
            </a:lvl2pPr>
            <a:lvl3pPr marL="957430" indent="0">
              <a:buNone/>
              <a:defRPr sz="1900" b="1"/>
            </a:lvl3pPr>
            <a:lvl4pPr marL="1436143" indent="0">
              <a:buNone/>
              <a:defRPr sz="1600" b="1"/>
            </a:lvl4pPr>
            <a:lvl5pPr marL="1914856" indent="0">
              <a:buNone/>
              <a:defRPr sz="1600" b="1"/>
            </a:lvl5pPr>
            <a:lvl6pPr marL="2393570" indent="0">
              <a:buNone/>
              <a:defRPr sz="1600" b="1"/>
            </a:lvl6pPr>
            <a:lvl7pPr marL="2872284" indent="0">
              <a:buNone/>
              <a:defRPr sz="1600" b="1"/>
            </a:lvl7pPr>
            <a:lvl8pPr marL="3350998" indent="0">
              <a:buNone/>
              <a:defRPr sz="1600" b="1"/>
            </a:lvl8pPr>
            <a:lvl9pPr marL="3829713" indent="0">
              <a:buNone/>
              <a:defRPr sz="1600" b="1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 sz="2500">
                <a:latin typeface="나눔고딕" pitchFamily="50" charset="-127"/>
                <a:ea typeface="나눔고딕" pitchFamily="50" charset="-127"/>
              </a:defRPr>
            </a:lvl1pPr>
            <a:lvl2pPr>
              <a:defRPr sz="2100">
                <a:latin typeface="나눔고딕" pitchFamily="50" charset="-127"/>
                <a:ea typeface="나눔고딕" pitchFamily="50" charset="-127"/>
              </a:defRPr>
            </a:lvl2pPr>
            <a:lvl3pPr>
              <a:defRPr sz="1900">
                <a:latin typeface="나눔고딕" pitchFamily="50" charset="-127"/>
                <a:ea typeface="나눔고딕" pitchFamily="50" charset="-127"/>
              </a:defRPr>
            </a:lvl3pPr>
            <a:lvl4pPr>
              <a:defRPr sz="1600">
                <a:latin typeface="나눔고딕" pitchFamily="50" charset="-127"/>
                <a:ea typeface="나눔고딕" pitchFamily="50" charset="-127"/>
              </a:defRPr>
            </a:lvl4pPr>
            <a:lvl5pPr>
              <a:defRPr sz="1600">
                <a:latin typeface="나눔고딕" pitchFamily="50" charset="-127"/>
                <a:ea typeface="나눔고딕" pitchFamily="50" charset="-127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303C2D57-6852-42A8-841C-E999A1B0D50F}" type="datetime1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>
          <a:xfrm>
            <a:off x="3384551" y="6356353"/>
            <a:ext cx="31369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0E1816D3-0CD0-4BBC-BF6D-C32C7E2E71BC}" type="datetime1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3384551" y="6356353"/>
            <a:ext cx="31369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8373D4AB-4C1B-458F-9C66-C8074593111F}" type="datetime1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84551" y="6356353"/>
            <a:ext cx="31369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1" y="273050"/>
            <a:ext cx="3259006" cy="1162050"/>
          </a:xfrm>
          <a:prstGeom prst="rect">
            <a:avLst/>
          </a:prstGeom>
        </p:spPr>
        <p:txBody>
          <a:bodyPr lIns="95741" tIns="47872" rIns="95741" bIns="47872" anchor="b"/>
          <a:lstStyle>
            <a:lvl1pPr algn="l">
              <a:defRPr sz="2100" b="1"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2973" y="273052"/>
            <a:ext cx="5537729" cy="5853113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 sz="3400">
                <a:latin typeface="나눔고딕" pitchFamily="50" charset="-127"/>
                <a:ea typeface="나눔고딕" pitchFamily="50" charset="-127"/>
              </a:defRPr>
            </a:lvl1pPr>
            <a:lvl2pPr>
              <a:defRPr sz="2900">
                <a:latin typeface="나눔고딕" pitchFamily="50" charset="-127"/>
                <a:ea typeface="나눔고딕" pitchFamily="50" charset="-127"/>
              </a:defRPr>
            </a:lvl2pPr>
            <a:lvl3pPr>
              <a:defRPr sz="2500">
                <a:latin typeface="나눔고딕" pitchFamily="50" charset="-127"/>
                <a:ea typeface="나눔고딕" pitchFamily="50" charset="-127"/>
              </a:defRPr>
            </a:lvl3pPr>
            <a:lvl4pPr>
              <a:defRPr sz="2100">
                <a:latin typeface="나눔고딕" pitchFamily="50" charset="-127"/>
                <a:ea typeface="나눔고딕" pitchFamily="50" charset="-127"/>
              </a:defRPr>
            </a:lvl4pPr>
            <a:lvl5pPr>
              <a:defRPr sz="2100">
                <a:latin typeface="나눔고딕" pitchFamily="50" charset="-127"/>
                <a:ea typeface="나눔고딕" pitchFamily="50" charset="-127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1" y="1435101"/>
            <a:ext cx="3259006" cy="4691063"/>
          </a:xfrm>
          <a:prstGeom prst="rect">
            <a:avLst/>
          </a:prstGeom>
        </p:spPr>
        <p:txBody>
          <a:bodyPr lIns="95741" tIns="47872" rIns="95741" bIns="47872"/>
          <a:lstStyle>
            <a:lvl1pPr marL="0" indent="0">
              <a:buNone/>
              <a:defRPr sz="1500">
                <a:latin typeface="나눔고딕" pitchFamily="50" charset="-127"/>
                <a:ea typeface="나눔고딕" pitchFamily="50" charset="-127"/>
              </a:defRPr>
            </a:lvl1pPr>
            <a:lvl2pPr marL="478715" indent="0">
              <a:buNone/>
              <a:defRPr sz="1300"/>
            </a:lvl2pPr>
            <a:lvl3pPr marL="957430" indent="0">
              <a:buNone/>
              <a:defRPr sz="1000"/>
            </a:lvl3pPr>
            <a:lvl4pPr marL="1436143" indent="0">
              <a:buNone/>
              <a:defRPr sz="1000"/>
            </a:lvl4pPr>
            <a:lvl5pPr marL="1914856" indent="0">
              <a:buNone/>
              <a:defRPr sz="1000"/>
            </a:lvl5pPr>
            <a:lvl6pPr marL="2393570" indent="0">
              <a:buNone/>
              <a:defRPr sz="1000"/>
            </a:lvl6pPr>
            <a:lvl7pPr marL="2872284" indent="0">
              <a:buNone/>
              <a:defRPr sz="1000"/>
            </a:lvl7pPr>
            <a:lvl8pPr marL="3350998" indent="0">
              <a:buNone/>
              <a:defRPr sz="1000"/>
            </a:lvl8pPr>
            <a:lvl9pPr marL="3829713" indent="0">
              <a:buNone/>
              <a:defRPr sz="10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7D17A795-B6E3-4D16-B139-B3646F2E8000}" type="datetime1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384551" y="6356353"/>
            <a:ext cx="31369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  <a:prstGeom prst="rect">
            <a:avLst/>
          </a:prstGeom>
        </p:spPr>
        <p:txBody>
          <a:bodyPr lIns="95741" tIns="47872" rIns="95741" bIns="47872" anchor="b"/>
          <a:lstStyle>
            <a:lvl1pPr algn="l">
              <a:defRPr sz="2100" b="1"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  <a:prstGeom prst="rect">
            <a:avLst/>
          </a:prstGeom>
        </p:spPr>
        <p:txBody>
          <a:bodyPr lIns="95741" tIns="47872" rIns="95741" bIns="47872"/>
          <a:lstStyle>
            <a:lvl1pPr marL="0" indent="0">
              <a:buNone/>
              <a:defRPr sz="3400">
                <a:latin typeface="나눔고딕" pitchFamily="50" charset="-127"/>
                <a:ea typeface="나눔고딕" pitchFamily="50" charset="-127"/>
              </a:defRPr>
            </a:lvl1pPr>
            <a:lvl2pPr marL="478715" indent="0">
              <a:buNone/>
              <a:defRPr sz="2900"/>
            </a:lvl2pPr>
            <a:lvl3pPr marL="957430" indent="0">
              <a:buNone/>
              <a:defRPr sz="2500"/>
            </a:lvl3pPr>
            <a:lvl4pPr marL="1436143" indent="0">
              <a:buNone/>
              <a:defRPr sz="2100"/>
            </a:lvl4pPr>
            <a:lvl5pPr marL="1914856" indent="0">
              <a:buNone/>
              <a:defRPr sz="2100"/>
            </a:lvl5pPr>
            <a:lvl6pPr marL="2393570" indent="0">
              <a:buNone/>
              <a:defRPr sz="2100"/>
            </a:lvl6pPr>
            <a:lvl7pPr marL="2872284" indent="0">
              <a:buNone/>
              <a:defRPr sz="2100"/>
            </a:lvl7pPr>
            <a:lvl8pPr marL="3350998" indent="0">
              <a:buNone/>
              <a:defRPr sz="2100"/>
            </a:lvl8pPr>
            <a:lvl9pPr marL="3829713" indent="0">
              <a:buNone/>
              <a:defRPr sz="2100"/>
            </a:lvl9pPr>
          </a:lstStyle>
          <a:p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  <a:prstGeom prst="rect">
            <a:avLst/>
          </a:prstGeom>
        </p:spPr>
        <p:txBody>
          <a:bodyPr lIns="95741" tIns="47872" rIns="95741" bIns="47872"/>
          <a:lstStyle>
            <a:lvl1pPr marL="0" indent="0">
              <a:buNone/>
              <a:defRPr sz="1500">
                <a:latin typeface="나눔고딕" pitchFamily="50" charset="-127"/>
                <a:ea typeface="나눔고딕" pitchFamily="50" charset="-127"/>
              </a:defRPr>
            </a:lvl1pPr>
            <a:lvl2pPr marL="478715" indent="0">
              <a:buNone/>
              <a:defRPr sz="1300"/>
            </a:lvl2pPr>
            <a:lvl3pPr marL="957430" indent="0">
              <a:buNone/>
              <a:defRPr sz="1000"/>
            </a:lvl3pPr>
            <a:lvl4pPr marL="1436143" indent="0">
              <a:buNone/>
              <a:defRPr sz="1000"/>
            </a:lvl4pPr>
            <a:lvl5pPr marL="1914856" indent="0">
              <a:buNone/>
              <a:defRPr sz="1000"/>
            </a:lvl5pPr>
            <a:lvl6pPr marL="2393570" indent="0">
              <a:buNone/>
              <a:defRPr sz="1000"/>
            </a:lvl6pPr>
            <a:lvl7pPr marL="2872284" indent="0">
              <a:buNone/>
              <a:defRPr sz="1000"/>
            </a:lvl7pPr>
            <a:lvl8pPr marL="3350998" indent="0">
              <a:buNone/>
              <a:defRPr sz="1000"/>
            </a:lvl8pPr>
            <a:lvl9pPr marL="3829713" indent="0">
              <a:buNone/>
              <a:defRPr sz="10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C83DB778-8B2B-4DE0-9B7B-10FC9699C677}" type="datetime1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384551" y="6356353"/>
            <a:ext cx="31369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2"/>
            <a:ext cx="8915400" cy="4525963"/>
          </a:xfrm>
          <a:prstGeom prst="rect">
            <a:avLst/>
          </a:prstGeom>
        </p:spPr>
        <p:txBody>
          <a:bodyPr vert="eaVert"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  <a:lvl2pPr>
              <a:defRPr>
                <a:latin typeface="나눔고딕" pitchFamily="50" charset="-127"/>
                <a:ea typeface="나눔고딕" pitchFamily="50" charset="-127"/>
              </a:defRPr>
            </a:lvl2pPr>
            <a:lvl3pPr>
              <a:defRPr>
                <a:latin typeface="나눔고딕" pitchFamily="50" charset="-127"/>
                <a:ea typeface="나눔고딕" pitchFamily="50" charset="-127"/>
              </a:defRPr>
            </a:lvl3pPr>
            <a:lvl4pPr>
              <a:defRPr>
                <a:latin typeface="나눔고딕" pitchFamily="50" charset="-127"/>
                <a:ea typeface="나눔고딕" pitchFamily="50" charset="-127"/>
              </a:defRPr>
            </a:lvl4pPr>
            <a:lvl5pPr>
              <a:defRPr>
                <a:latin typeface="나눔고딕" pitchFamily="50" charset="-127"/>
                <a:ea typeface="나눔고딕" pitchFamily="50" charset="-127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B50CBA34-01F2-43F6-B521-AA89AB76B0D4}" type="datetime1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1" y="6356353"/>
            <a:ext cx="31369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F6CC01F3-D823-435B-9136-31CF6548367C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318109684"/>
      </p:ext>
    </p:extLst>
  </p:cSld>
  <p:clrMapOvr>
    <a:masterClrMapping/>
  </p:clrMapOvr>
  <p:transition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41"/>
            <a:ext cx="2228850" cy="5851525"/>
          </a:xfrm>
          <a:prstGeom prst="rect">
            <a:avLst/>
          </a:prstGeom>
        </p:spPr>
        <p:txBody>
          <a:bodyPr vert="eaVert"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41"/>
            <a:ext cx="6521450" cy="5851525"/>
          </a:xfrm>
          <a:prstGeom prst="rect">
            <a:avLst/>
          </a:prstGeom>
        </p:spPr>
        <p:txBody>
          <a:bodyPr vert="eaVert"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  <a:lvl2pPr>
              <a:defRPr>
                <a:latin typeface="나눔고딕" pitchFamily="50" charset="-127"/>
                <a:ea typeface="나눔고딕" pitchFamily="50" charset="-127"/>
              </a:defRPr>
            </a:lvl2pPr>
            <a:lvl3pPr>
              <a:defRPr>
                <a:latin typeface="나눔고딕" pitchFamily="50" charset="-127"/>
                <a:ea typeface="나눔고딕" pitchFamily="50" charset="-127"/>
              </a:defRPr>
            </a:lvl3pPr>
            <a:lvl4pPr>
              <a:defRPr>
                <a:latin typeface="나눔고딕" pitchFamily="50" charset="-127"/>
                <a:ea typeface="나눔고딕" pitchFamily="50" charset="-127"/>
              </a:defRPr>
            </a:lvl4pPr>
            <a:lvl5pPr>
              <a:defRPr>
                <a:latin typeface="나눔고딕" pitchFamily="50" charset="-127"/>
                <a:ea typeface="나눔고딕" pitchFamily="50" charset="-127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82125C8A-E5B9-4B6C-810E-147DA74CE633}" type="datetime1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1" y="6356353"/>
            <a:ext cx="31369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:p14="http://schemas.microsoft.com/office/powerpoint/2010/main" xmlns="" val="1846228532"/>
      </p:ext>
    </p:extLst>
  </p:cSld>
  <p:clrMapOvr>
    <a:masterClrMapping/>
  </p:clrMapOvr>
  <p:transition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3364926788"/>
      </p:ext>
    </p:extLst>
  </p:cSld>
  <p:clrMapOvr>
    <a:masterClrMapping/>
  </p:clrMapOvr>
  <p:transition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725979384"/>
      </p:ext>
    </p:extLst>
  </p:cSld>
  <p:clrMapOvr>
    <a:masterClrMapping/>
  </p:clrMapOvr>
  <p:transition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441761483"/>
      </p:ext>
    </p:extLst>
  </p:cSld>
  <p:clrMapOvr>
    <a:masterClrMapping/>
  </p:clrMapOvr>
  <p:transition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445366150"/>
      </p:ext>
    </p:extLst>
  </p:cSld>
  <p:clrMapOvr>
    <a:masterClrMapping/>
  </p:clrMapOvr>
  <p:transition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552408189"/>
      </p:ext>
    </p:extLst>
  </p:cSld>
  <p:clrMapOvr>
    <a:masterClrMapping/>
  </p:clrMapOvr>
  <p:transition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058043646"/>
      </p:ext>
    </p:extLst>
  </p:cSld>
  <p:clrMapOvr>
    <a:masterClrMapping/>
  </p:clrMapOvr>
  <p:transition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095334878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7" name="제목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7727B0F6-AF49-4B73-9C1F-6BC839524FAE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3611093406"/>
      </p:ext>
    </p:extLst>
  </p:cSld>
  <p:clrMapOvr>
    <a:masterClrMapping/>
  </p:clrMapOvr>
  <p:transition>
    <p:fade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092488291"/>
      </p:ext>
    </p:extLst>
  </p:cSld>
  <p:clrMapOvr>
    <a:masterClrMapping/>
  </p:clrMapOvr>
  <p:transition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4042321437"/>
      </p:ext>
    </p:extLst>
  </p:cSld>
  <p:clrMapOvr>
    <a:masterClrMapping/>
  </p:clrMapOvr>
  <p:transition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4056621495"/>
      </p:ext>
    </p:extLst>
  </p:cSld>
  <p:clrMapOvr>
    <a:masterClrMapping/>
  </p:clrMapOvr>
  <p:transition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680896114"/>
      </p:ext>
    </p:extLst>
  </p:cSld>
  <p:clrMapOvr>
    <a:masterClrMapping/>
  </p:clrMapOvr>
  <p:transition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13984416"/>
      </p:ext>
    </p:extLst>
  </p:cSld>
  <p:clrMapOvr>
    <a:masterClrMapping/>
  </p:clrMapOvr>
  <p:transition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38"/>
            <a:ext cx="8420100" cy="14700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 lIns="95746" tIns="47874" rIns="95746" bIns="47874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  <a:lvl2pPr marL="4787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7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6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4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3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24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1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29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 smtClean="0"/>
              <a:t>마스터 부제목 스타일 편집</a:t>
            </a:r>
            <a:endParaRPr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6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88B592C2-5AA7-476F-9F0B-4D20DA763190}" type="datetime1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  <a:lvl2pPr>
              <a:defRPr>
                <a:latin typeface="나눔고딕" pitchFamily="50" charset="-127"/>
                <a:ea typeface="나눔고딕" pitchFamily="50" charset="-127"/>
              </a:defRPr>
            </a:lvl2pPr>
            <a:lvl3pPr>
              <a:defRPr>
                <a:latin typeface="나눔고딕" pitchFamily="50" charset="-127"/>
                <a:ea typeface="나눔고딕" pitchFamily="50" charset="-127"/>
              </a:defRPr>
            </a:lvl3pPr>
            <a:lvl4pPr>
              <a:defRPr>
                <a:latin typeface="나눔고딕" pitchFamily="50" charset="-127"/>
                <a:ea typeface="나눔고딕" pitchFamily="50" charset="-127"/>
              </a:defRPr>
            </a:lvl4pPr>
            <a:lvl5pPr>
              <a:defRPr>
                <a:latin typeface="나눔고딕" pitchFamily="50" charset="-127"/>
                <a:ea typeface="나눔고딕" pitchFamily="50" charset="-127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6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A57F2ACC-8A3A-42F1-8A7C-A26BD276D6DC}" type="datetime1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506" y="4406913"/>
            <a:ext cx="8420100" cy="1362075"/>
          </a:xfrm>
          <a:prstGeom prst="rect">
            <a:avLst/>
          </a:prstGeom>
        </p:spPr>
        <p:txBody>
          <a:bodyPr lIns="95746" tIns="47874" rIns="95746" bIns="47874" anchor="t"/>
          <a:lstStyle>
            <a:lvl1pPr algn="l">
              <a:defRPr sz="4200" b="1" cap="all"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506" y="2906722"/>
            <a:ext cx="8420100" cy="1500187"/>
          </a:xfrm>
          <a:prstGeom prst="rect">
            <a:avLst/>
          </a:prstGeom>
        </p:spPr>
        <p:txBody>
          <a:bodyPr lIns="95746" tIns="47874" rIns="95746" bIns="47874" anchor="b"/>
          <a:lstStyle>
            <a:lvl1pPr marL="0" indent="0">
              <a:buNone/>
              <a:defRPr sz="2100"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  <a:lvl2pPr marL="47873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9574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43620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91494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39367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87241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35114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82988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6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57925CB2-7415-40FA-8471-6D1F730328A9}" type="datetime1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6"/>
            <a:ext cx="4375150" cy="4525963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 sz="2900">
                <a:latin typeface="나눔고딕" pitchFamily="50" charset="-127"/>
                <a:ea typeface="나눔고딕" pitchFamily="50" charset="-127"/>
              </a:defRPr>
            </a:lvl1pPr>
            <a:lvl2pPr>
              <a:defRPr sz="2500">
                <a:latin typeface="나눔고딕" pitchFamily="50" charset="-127"/>
                <a:ea typeface="나눔고딕" pitchFamily="50" charset="-127"/>
              </a:defRPr>
            </a:lvl2pPr>
            <a:lvl3pPr>
              <a:defRPr sz="2100">
                <a:latin typeface="나눔고딕" pitchFamily="50" charset="-127"/>
                <a:ea typeface="나눔고딕" pitchFamily="50" charset="-127"/>
              </a:defRPr>
            </a:lvl3pPr>
            <a:lvl4pPr>
              <a:defRPr sz="1900">
                <a:latin typeface="나눔고딕" pitchFamily="50" charset="-127"/>
                <a:ea typeface="나눔고딕" pitchFamily="50" charset="-127"/>
              </a:defRPr>
            </a:lvl4pPr>
            <a:lvl5pPr>
              <a:defRPr sz="1900">
                <a:latin typeface="나눔고딕" pitchFamily="50" charset="-127"/>
                <a:ea typeface="나눔고딕" pitchFamily="50" charset="-127"/>
              </a:defRPr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35550" y="1600206"/>
            <a:ext cx="4375150" cy="4525963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 sz="2900">
                <a:latin typeface="나눔고딕" pitchFamily="50" charset="-127"/>
                <a:ea typeface="나눔고딕" pitchFamily="50" charset="-127"/>
              </a:defRPr>
            </a:lvl1pPr>
            <a:lvl2pPr>
              <a:defRPr sz="2500">
                <a:latin typeface="나눔고딕" pitchFamily="50" charset="-127"/>
                <a:ea typeface="나눔고딕" pitchFamily="50" charset="-127"/>
              </a:defRPr>
            </a:lvl2pPr>
            <a:lvl3pPr>
              <a:defRPr sz="2100">
                <a:latin typeface="나눔고딕" pitchFamily="50" charset="-127"/>
                <a:ea typeface="나눔고딕" pitchFamily="50" charset="-127"/>
              </a:defRPr>
            </a:lvl3pPr>
            <a:lvl4pPr>
              <a:defRPr sz="1900">
                <a:latin typeface="나눔고딕" pitchFamily="50" charset="-127"/>
                <a:ea typeface="나눔고딕" pitchFamily="50" charset="-127"/>
              </a:defRPr>
            </a:lvl4pPr>
            <a:lvl5pPr>
              <a:defRPr sz="1900">
                <a:latin typeface="나눔고딕" pitchFamily="50" charset="-127"/>
                <a:ea typeface="나눔고딕" pitchFamily="50" charset="-127"/>
              </a:defRPr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95300" y="635636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93963BD1-DCD4-4B09-BC01-1DCABBA563FE}" type="datetime1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  <a:prstGeom prst="rect">
            <a:avLst/>
          </a:prstGeom>
        </p:spPr>
        <p:txBody>
          <a:bodyPr lIns="95746" tIns="47874" rIns="95746" bIns="47874" anchor="b"/>
          <a:lstStyle>
            <a:lvl1pPr marL="0" indent="0">
              <a:buNone/>
              <a:defRPr sz="2500" b="1">
                <a:latin typeface="나눔고딕" pitchFamily="50" charset="-127"/>
                <a:ea typeface="나눔고딕" pitchFamily="50" charset="-127"/>
              </a:defRPr>
            </a:lvl1pPr>
            <a:lvl2pPr marL="478736" indent="0">
              <a:buNone/>
              <a:defRPr sz="2100" b="1"/>
            </a:lvl2pPr>
            <a:lvl3pPr marL="957472" indent="0">
              <a:buNone/>
              <a:defRPr sz="1900" b="1"/>
            </a:lvl3pPr>
            <a:lvl4pPr marL="1436206" indent="0">
              <a:buNone/>
              <a:defRPr sz="1600" b="1"/>
            </a:lvl4pPr>
            <a:lvl5pPr marL="1914941" indent="0">
              <a:buNone/>
              <a:defRPr sz="1600" b="1"/>
            </a:lvl5pPr>
            <a:lvl6pPr marL="2393675" indent="0">
              <a:buNone/>
              <a:defRPr sz="1600" b="1"/>
            </a:lvl6pPr>
            <a:lvl7pPr marL="2872411" indent="0">
              <a:buNone/>
              <a:defRPr sz="1600" b="1"/>
            </a:lvl7pPr>
            <a:lvl8pPr marL="3351146" indent="0">
              <a:buNone/>
              <a:defRPr sz="1600" b="1"/>
            </a:lvl8pPr>
            <a:lvl9pPr marL="3829881" indent="0">
              <a:buNone/>
              <a:defRPr sz="1600" b="1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 sz="2500">
                <a:latin typeface="나눔고딕" pitchFamily="50" charset="-127"/>
                <a:ea typeface="나눔고딕" pitchFamily="50" charset="-127"/>
              </a:defRPr>
            </a:lvl1pPr>
            <a:lvl2pPr>
              <a:defRPr sz="2100">
                <a:latin typeface="나눔고딕" pitchFamily="50" charset="-127"/>
                <a:ea typeface="나눔고딕" pitchFamily="50" charset="-127"/>
              </a:defRPr>
            </a:lvl2pPr>
            <a:lvl3pPr>
              <a:defRPr sz="1900">
                <a:latin typeface="나눔고딕" pitchFamily="50" charset="-127"/>
                <a:ea typeface="나눔고딕" pitchFamily="50" charset="-127"/>
              </a:defRPr>
            </a:lvl3pPr>
            <a:lvl4pPr>
              <a:defRPr sz="1600">
                <a:latin typeface="나눔고딕" pitchFamily="50" charset="-127"/>
                <a:ea typeface="나눔고딕" pitchFamily="50" charset="-127"/>
              </a:defRPr>
            </a:lvl4pPr>
            <a:lvl5pPr>
              <a:defRPr sz="1600">
                <a:latin typeface="나눔고딕" pitchFamily="50" charset="-127"/>
                <a:ea typeface="나눔고딕" pitchFamily="50" charset="-127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  <a:prstGeom prst="rect">
            <a:avLst/>
          </a:prstGeom>
        </p:spPr>
        <p:txBody>
          <a:bodyPr lIns="95746" tIns="47874" rIns="95746" bIns="47874" anchor="b"/>
          <a:lstStyle>
            <a:lvl1pPr marL="0" indent="0">
              <a:buNone/>
              <a:defRPr sz="2500" b="1">
                <a:latin typeface="나눔고딕" pitchFamily="50" charset="-127"/>
                <a:ea typeface="나눔고딕" pitchFamily="50" charset="-127"/>
              </a:defRPr>
            </a:lvl1pPr>
            <a:lvl2pPr marL="478736" indent="0">
              <a:buNone/>
              <a:defRPr sz="2100" b="1"/>
            </a:lvl2pPr>
            <a:lvl3pPr marL="957472" indent="0">
              <a:buNone/>
              <a:defRPr sz="1900" b="1"/>
            </a:lvl3pPr>
            <a:lvl4pPr marL="1436206" indent="0">
              <a:buNone/>
              <a:defRPr sz="1600" b="1"/>
            </a:lvl4pPr>
            <a:lvl5pPr marL="1914941" indent="0">
              <a:buNone/>
              <a:defRPr sz="1600" b="1"/>
            </a:lvl5pPr>
            <a:lvl6pPr marL="2393675" indent="0">
              <a:buNone/>
              <a:defRPr sz="1600" b="1"/>
            </a:lvl6pPr>
            <a:lvl7pPr marL="2872411" indent="0">
              <a:buNone/>
              <a:defRPr sz="1600" b="1"/>
            </a:lvl7pPr>
            <a:lvl8pPr marL="3351146" indent="0">
              <a:buNone/>
              <a:defRPr sz="1600" b="1"/>
            </a:lvl8pPr>
            <a:lvl9pPr marL="3829881" indent="0">
              <a:buNone/>
              <a:defRPr sz="1600" b="1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 sz="2500">
                <a:latin typeface="나눔고딕" pitchFamily="50" charset="-127"/>
                <a:ea typeface="나눔고딕" pitchFamily="50" charset="-127"/>
              </a:defRPr>
            </a:lvl1pPr>
            <a:lvl2pPr>
              <a:defRPr sz="2100">
                <a:latin typeface="나눔고딕" pitchFamily="50" charset="-127"/>
                <a:ea typeface="나눔고딕" pitchFamily="50" charset="-127"/>
              </a:defRPr>
            </a:lvl2pPr>
            <a:lvl3pPr>
              <a:defRPr sz="1900">
                <a:latin typeface="나눔고딕" pitchFamily="50" charset="-127"/>
                <a:ea typeface="나눔고딕" pitchFamily="50" charset="-127"/>
              </a:defRPr>
            </a:lvl3pPr>
            <a:lvl4pPr>
              <a:defRPr sz="1600">
                <a:latin typeface="나눔고딕" pitchFamily="50" charset="-127"/>
                <a:ea typeface="나눔고딕" pitchFamily="50" charset="-127"/>
              </a:defRPr>
            </a:lvl4pPr>
            <a:lvl5pPr>
              <a:defRPr sz="1600">
                <a:latin typeface="나눔고딕" pitchFamily="50" charset="-127"/>
                <a:ea typeface="나눔고딕" pitchFamily="50" charset="-127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>
          <a:xfrm>
            <a:off x="495300" y="635636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303C2D57-6852-42A8-841C-E999A1B0D50F}" type="datetime1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265457267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3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3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2B62634F-D9A5-4973-982F-01BC74DC673B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717183733"/>
      </p:ext>
    </p:extLst>
  </p:cSld>
  <p:clrMapOvr>
    <a:masterClrMapping/>
  </p:clrMapOvr>
  <p:transition>
    <p:fad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495300" y="635636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0E1816D3-0CD0-4BBC-BF6D-C32C7E2E71BC}" type="datetime1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495300" y="635636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8373D4AB-4C1B-458F-9C66-C8074593111F}" type="datetime1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6" y="273050"/>
            <a:ext cx="3259006" cy="1162050"/>
          </a:xfrm>
          <a:prstGeom prst="rect">
            <a:avLst/>
          </a:prstGeom>
        </p:spPr>
        <p:txBody>
          <a:bodyPr lIns="95746" tIns="47874" rIns="95746" bIns="47874" anchor="b"/>
          <a:lstStyle>
            <a:lvl1pPr algn="l">
              <a:defRPr sz="2100" b="1"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2972" y="273061"/>
            <a:ext cx="5537729" cy="5853113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 sz="3400">
                <a:latin typeface="나눔고딕" pitchFamily="50" charset="-127"/>
                <a:ea typeface="나눔고딕" pitchFamily="50" charset="-127"/>
              </a:defRPr>
            </a:lvl1pPr>
            <a:lvl2pPr>
              <a:defRPr sz="2900">
                <a:latin typeface="나눔고딕" pitchFamily="50" charset="-127"/>
                <a:ea typeface="나눔고딕" pitchFamily="50" charset="-127"/>
              </a:defRPr>
            </a:lvl2pPr>
            <a:lvl3pPr>
              <a:defRPr sz="2500">
                <a:latin typeface="나눔고딕" pitchFamily="50" charset="-127"/>
                <a:ea typeface="나눔고딕" pitchFamily="50" charset="-127"/>
              </a:defRPr>
            </a:lvl3pPr>
            <a:lvl4pPr>
              <a:defRPr sz="2100">
                <a:latin typeface="나눔고딕" pitchFamily="50" charset="-127"/>
                <a:ea typeface="나눔고딕" pitchFamily="50" charset="-127"/>
              </a:defRPr>
            </a:lvl4pPr>
            <a:lvl5pPr>
              <a:defRPr sz="2100">
                <a:latin typeface="나눔고딕" pitchFamily="50" charset="-127"/>
                <a:ea typeface="나눔고딕" pitchFamily="50" charset="-127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6" y="1435103"/>
            <a:ext cx="3259006" cy="4691063"/>
          </a:xfrm>
          <a:prstGeom prst="rect">
            <a:avLst/>
          </a:prstGeom>
        </p:spPr>
        <p:txBody>
          <a:bodyPr lIns="95746" tIns="47874" rIns="95746" bIns="47874"/>
          <a:lstStyle>
            <a:lvl1pPr marL="0" indent="0">
              <a:buNone/>
              <a:defRPr sz="1500">
                <a:latin typeface="나눔고딕" pitchFamily="50" charset="-127"/>
                <a:ea typeface="나눔고딕" pitchFamily="50" charset="-127"/>
              </a:defRPr>
            </a:lvl1pPr>
            <a:lvl2pPr marL="478736" indent="0">
              <a:buNone/>
              <a:defRPr sz="1300"/>
            </a:lvl2pPr>
            <a:lvl3pPr marL="957472" indent="0">
              <a:buNone/>
              <a:defRPr sz="1000"/>
            </a:lvl3pPr>
            <a:lvl4pPr marL="1436206" indent="0">
              <a:buNone/>
              <a:defRPr sz="1000"/>
            </a:lvl4pPr>
            <a:lvl5pPr marL="1914941" indent="0">
              <a:buNone/>
              <a:defRPr sz="1000"/>
            </a:lvl5pPr>
            <a:lvl6pPr marL="2393675" indent="0">
              <a:buNone/>
              <a:defRPr sz="1000"/>
            </a:lvl6pPr>
            <a:lvl7pPr marL="2872411" indent="0">
              <a:buNone/>
              <a:defRPr sz="1000"/>
            </a:lvl7pPr>
            <a:lvl8pPr marL="3351146" indent="0">
              <a:buNone/>
              <a:defRPr sz="1000"/>
            </a:lvl8pPr>
            <a:lvl9pPr marL="3829881" indent="0">
              <a:buNone/>
              <a:defRPr sz="10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95300" y="635636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7D17A795-B6E3-4D16-B139-B3646F2E8000}" type="datetime1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  <a:prstGeom prst="rect">
            <a:avLst/>
          </a:prstGeom>
        </p:spPr>
        <p:txBody>
          <a:bodyPr lIns="95746" tIns="47874" rIns="95746" bIns="47874" anchor="b"/>
          <a:lstStyle>
            <a:lvl1pPr algn="l">
              <a:defRPr sz="2100" b="1"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  <a:prstGeom prst="rect">
            <a:avLst/>
          </a:prstGeom>
        </p:spPr>
        <p:txBody>
          <a:bodyPr lIns="95746" tIns="47874" rIns="95746" bIns="47874"/>
          <a:lstStyle>
            <a:lvl1pPr marL="0" indent="0">
              <a:buNone/>
              <a:defRPr sz="3400">
                <a:latin typeface="나눔고딕" pitchFamily="50" charset="-127"/>
                <a:ea typeface="나눔고딕" pitchFamily="50" charset="-127"/>
              </a:defRPr>
            </a:lvl1pPr>
            <a:lvl2pPr marL="478736" indent="0">
              <a:buNone/>
              <a:defRPr sz="2900"/>
            </a:lvl2pPr>
            <a:lvl3pPr marL="957472" indent="0">
              <a:buNone/>
              <a:defRPr sz="2500"/>
            </a:lvl3pPr>
            <a:lvl4pPr marL="1436206" indent="0">
              <a:buNone/>
              <a:defRPr sz="2100"/>
            </a:lvl4pPr>
            <a:lvl5pPr marL="1914941" indent="0">
              <a:buNone/>
              <a:defRPr sz="2100"/>
            </a:lvl5pPr>
            <a:lvl6pPr marL="2393675" indent="0">
              <a:buNone/>
              <a:defRPr sz="2100"/>
            </a:lvl6pPr>
            <a:lvl7pPr marL="2872411" indent="0">
              <a:buNone/>
              <a:defRPr sz="2100"/>
            </a:lvl7pPr>
            <a:lvl8pPr marL="3351146" indent="0">
              <a:buNone/>
              <a:defRPr sz="2100"/>
            </a:lvl8pPr>
            <a:lvl9pPr marL="3829881" indent="0">
              <a:buNone/>
              <a:defRPr sz="2100"/>
            </a:lvl9pPr>
          </a:lstStyle>
          <a:p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  <a:prstGeom prst="rect">
            <a:avLst/>
          </a:prstGeom>
        </p:spPr>
        <p:txBody>
          <a:bodyPr lIns="95746" tIns="47874" rIns="95746" bIns="47874"/>
          <a:lstStyle>
            <a:lvl1pPr marL="0" indent="0">
              <a:buNone/>
              <a:defRPr sz="1500">
                <a:latin typeface="나눔고딕" pitchFamily="50" charset="-127"/>
                <a:ea typeface="나눔고딕" pitchFamily="50" charset="-127"/>
              </a:defRPr>
            </a:lvl1pPr>
            <a:lvl2pPr marL="478736" indent="0">
              <a:buNone/>
              <a:defRPr sz="1300"/>
            </a:lvl2pPr>
            <a:lvl3pPr marL="957472" indent="0">
              <a:buNone/>
              <a:defRPr sz="1000"/>
            </a:lvl3pPr>
            <a:lvl4pPr marL="1436206" indent="0">
              <a:buNone/>
              <a:defRPr sz="1000"/>
            </a:lvl4pPr>
            <a:lvl5pPr marL="1914941" indent="0">
              <a:buNone/>
              <a:defRPr sz="1000"/>
            </a:lvl5pPr>
            <a:lvl6pPr marL="2393675" indent="0">
              <a:buNone/>
              <a:defRPr sz="1000"/>
            </a:lvl6pPr>
            <a:lvl7pPr marL="2872411" indent="0">
              <a:buNone/>
              <a:defRPr sz="1000"/>
            </a:lvl7pPr>
            <a:lvl8pPr marL="3351146" indent="0">
              <a:buNone/>
              <a:defRPr sz="1000"/>
            </a:lvl8pPr>
            <a:lvl9pPr marL="3829881" indent="0">
              <a:buNone/>
              <a:defRPr sz="10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95300" y="635636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C83DB778-8B2B-4DE0-9B7B-10FC9699C677}" type="datetime1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 vert="eaVert"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  <a:lvl2pPr>
              <a:defRPr>
                <a:latin typeface="나눔고딕" pitchFamily="50" charset="-127"/>
                <a:ea typeface="나눔고딕" pitchFamily="50" charset="-127"/>
              </a:defRPr>
            </a:lvl2pPr>
            <a:lvl3pPr>
              <a:defRPr>
                <a:latin typeface="나눔고딕" pitchFamily="50" charset="-127"/>
                <a:ea typeface="나눔고딕" pitchFamily="50" charset="-127"/>
              </a:defRPr>
            </a:lvl3pPr>
            <a:lvl4pPr>
              <a:defRPr>
                <a:latin typeface="나눔고딕" pitchFamily="50" charset="-127"/>
                <a:ea typeface="나눔고딕" pitchFamily="50" charset="-127"/>
              </a:defRPr>
            </a:lvl4pPr>
            <a:lvl5pPr>
              <a:defRPr>
                <a:latin typeface="나눔고딕" pitchFamily="50" charset="-127"/>
                <a:ea typeface="나눔고딕" pitchFamily="50" charset="-127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6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B50CBA34-01F2-43F6-B521-AA89AB76B0D4}" type="datetime1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51"/>
            <a:ext cx="2228850" cy="5851525"/>
          </a:xfrm>
          <a:prstGeom prst="rect">
            <a:avLst/>
          </a:prstGeom>
        </p:spPr>
        <p:txBody>
          <a:bodyPr vert="eaVert"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51"/>
            <a:ext cx="6521450" cy="5851525"/>
          </a:xfrm>
          <a:prstGeom prst="rect">
            <a:avLst/>
          </a:prstGeom>
        </p:spPr>
        <p:txBody>
          <a:bodyPr vert="eaVert"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  <a:lvl2pPr>
              <a:defRPr>
                <a:latin typeface="나눔고딕" pitchFamily="50" charset="-127"/>
                <a:ea typeface="나눔고딕" pitchFamily="50" charset="-127"/>
              </a:defRPr>
            </a:lvl2pPr>
            <a:lvl3pPr>
              <a:defRPr>
                <a:latin typeface="나눔고딕" pitchFamily="50" charset="-127"/>
                <a:ea typeface="나눔고딕" pitchFamily="50" charset="-127"/>
              </a:defRPr>
            </a:lvl3pPr>
            <a:lvl4pPr>
              <a:defRPr>
                <a:latin typeface="나눔고딕" pitchFamily="50" charset="-127"/>
                <a:ea typeface="나눔고딕" pitchFamily="50" charset="-127"/>
              </a:defRPr>
            </a:lvl4pPr>
            <a:lvl5pPr>
              <a:defRPr>
                <a:latin typeface="나눔고딕" pitchFamily="50" charset="-127"/>
                <a:ea typeface="나눔고딕" pitchFamily="50" charset="-127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6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82125C8A-E5B9-4B6C-810E-147DA74CE633}" type="datetime1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Freeform 144"/>
          <p:cNvSpPr>
            <a:spLocks/>
          </p:cNvSpPr>
          <p:nvPr userDrawn="1"/>
        </p:nvSpPr>
        <p:spPr bwMode="auto">
          <a:xfrm>
            <a:off x="6" y="1056613"/>
            <a:ext cx="427695" cy="427696"/>
          </a:xfrm>
          <a:custGeom>
            <a:avLst/>
            <a:gdLst/>
            <a:ahLst/>
            <a:cxnLst>
              <a:cxn ang="0">
                <a:pos x="116" y="0"/>
              </a:cxn>
              <a:cxn ang="0">
                <a:pos x="116" y="0"/>
              </a:cxn>
              <a:cxn ang="0">
                <a:pos x="92" y="2"/>
              </a:cxn>
              <a:cxn ang="0">
                <a:pos x="70" y="8"/>
              </a:cxn>
              <a:cxn ang="0">
                <a:pos x="50" y="18"/>
              </a:cxn>
              <a:cxn ang="0">
                <a:pos x="34" y="34"/>
              </a:cxn>
              <a:cxn ang="0">
                <a:pos x="20" y="50"/>
              </a:cxn>
              <a:cxn ang="0">
                <a:pos x="10" y="70"/>
              </a:cxn>
              <a:cxn ang="0">
                <a:pos x="2" y="92"/>
              </a:cxn>
              <a:cxn ang="0">
                <a:pos x="0" y="114"/>
              </a:cxn>
              <a:cxn ang="0">
                <a:pos x="0" y="114"/>
              </a:cxn>
              <a:cxn ang="0">
                <a:pos x="2" y="138"/>
              </a:cxn>
              <a:cxn ang="0">
                <a:pos x="10" y="160"/>
              </a:cxn>
              <a:cxn ang="0">
                <a:pos x="20" y="178"/>
              </a:cxn>
              <a:cxn ang="0">
                <a:pos x="34" y="196"/>
              </a:cxn>
              <a:cxn ang="0">
                <a:pos x="50" y="210"/>
              </a:cxn>
              <a:cxn ang="0">
                <a:pos x="70" y="220"/>
              </a:cxn>
              <a:cxn ang="0">
                <a:pos x="92" y="228"/>
              </a:cxn>
              <a:cxn ang="0">
                <a:pos x="116" y="230"/>
              </a:cxn>
              <a:cxn ang="0">
                <a:pos x="116" y="230"/>
              </a:cxn>
              <a:cxn ang="0">
                <a:pos x="138" y="228"/>
              </a:cxn>
              <a:cxn ang="0">
                <a:pos x="160" y="220"/>
              </a:cxn>
              <a:cxn ang="0">
                <a:pos x="180" y="210"/>
              </a:cxn>
              <a:cxn ang="0">
                <a:pos x="196" y="196"/>
              </a:cxn>
              <a:cxn ang="0">
                <a:pos x="210" y="178"/>
              </a:cxn>
              <a:cxn ang="0">
                <a:pos x="222" y="160"/>
              </a:cxn>
              <a:cxn ang="0">
                <a:pos x="228" y="138"/>
              </a:cxn>
              <a:cxn ang="0">
                <a:pos x="230" y="114"/>
              </a:cxn>
              <a:cxn ang="0">
                <a:pos x="230" y="114"/>
              </a:cxn>
              <a:cxn ang="0">
                <a:pos x="228" y="92"/>
              </a:cxn>
              <a:cxn ang="0">
                <a:pos x="222" y="70"/>
              </a:cxn>
              <a:cxn ang="0">
                <a:pos x="210" y="50"/>
              </a:cxn>
              <a:cxn ang="0">
                <a:pos x="196" y="34"/>
              </a:cxn>
              <a:cxn ang="0">
                <a:pos x="180" y="18"/>
              </a:cxn>
              <a:cxn ang="0">
                <a:pos x="160" y="8"/>
              </a:cxn>
              <a:cxn ang="0">
                <a:pos x="138" y="2"/>
              </a:cxn>
              <a:cxn ang="0">
                <a:pos x="116" y="0"/>
              </a:cxn>
            </a:cxnLst>
            <a:rect l="0" t="0" r="r" b="b"/>
            <a:pathLst>
              <a:path w="230" h="230">
                <a:moveTo>
                  <a:pt x="116" y="0"/>
                </a:moveTo>
                <a:lnTo>
                  <a:pt x="116" y="0"/>
                </a:lnTo>
                <a:lnTo>
                  <a:pt x="92" y="2"/>
                </a:lnTo>
                <a:lnTo>
                  <a:pt x="70" y="8"/>
                </a:lnTo>
                <a:lnTo>
                  <a:pt x="50" y="18"/>
                </a:lnTo>
                <a:lnTo>
                  <a:pt x="34" y="34"/>
                </a:lnTo>
                <a:lnTo>
                  <a:pt x="20" y="50"/>
                </a:lnTo>
                <a:lnTo>
                  <a:pt x="10" y="70"/>
                </a:lnTo>
                <a:lnTo>
                  <a:pt x="2" y="92"/>
                </a:lnTo>
                <a:lnTo>
                  <a:pt x="0" y="114"/>
                </a:lnTo>
                <a:lnTo>
                  <a:pt x="0" y="114"/>
                </a:lnTo>
                <a:lnTo>
                  <a:pt x="2" y="138"/>
                </a:lnTo>
                <a:lnTo>
                  <a:pt x="10" y="160"/>
                </a:lnTo>
                <a:lnTo>
                  <a:pt x="20" y="178"/>
                </a:lnTo>
                <a:lnTo>
                  <a:pt x="34" y="196"/>
                </a:lnTo>
                <a:lnTo>
                  <a:pt x="50" y="210"/>
                </a:lnTo>
                <a:lnTo>
                  <a:pt x="70" y="220"/>
                </a:lnTo>
                <a:lnTo>
                  <a:pt x="92" y="228"/>
                </a:lnTo>
                <a:lnTo>
                  <a:pt x="116" y="230"/>
                </a:lnTo>
                <a:lnTo>
                  <a:pt x="116" y="230"/>
                </a:lnTo>
                <a:lnTo>
                  <a:pt x="138" y="228"/>
                </a:lnTo>
                <a:lnTo>
                  <a:pt x="160" y="220"/>
                </a:lnTo>
                <a:lnTo>
                  <a:pt x="180" y="210"/>
                </a:lnTo>
                <a:lnTo>
                  <a:pt x="196" y="196"/>
                </a:lnTo>
                <a:lnTo>
                  <a:pt x="210" y="178"/>
                </a:lnTo>
                <a:lnTo>
                  <a:pt x="222" y="160"/>
                </a:lnTo>
                <a:lnTo>
                  <a:pt x="228" y="138"/>
                </a:lnTo>
                <a:lnTo>
                  <a:pt x="230" y="114"/>
                </a:lnTo>
                <a:lnTo>
                  <a:pt x="230" y="114"/>
                </a:lnTo>
                <a:lnTo>
                  <a:pt x="228" y="92"/>
                </a:lnTo>
                <a:lnTo>
                  <a:pt x="222" y="70"/>
                </a:lnTo>
                <a:lnTo>
                  <a:pt x="210" y="50"/>
                </a:lnTo>
                <a:lnTo>
                  <a:pt x="196" y="34"/>
                </a:lnTo>
                <a:lnTo>
                  <a:pt x="180" y="18"/>
                </a:lnTo>
                <a:lnTo>
                  <a:pt x="160" y="8"/>
                </a:lnTo>
                <a:lnTo>
                  <a:pt x="138" y="2"/>
                </a:lnTo>
                <a:lnTo>
                  <a:pt x="116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277" name="Freeform 15"/>
          <p:cNvSpPr>
            <a:spLocks/>
          </p:cNvSpPr>
          <p:nvPr userDrawn="1"/>
        </p:nvSpPr>
        <p:spPr bwMode="auto">
          <a:xfrm>
            <a:off x="1208707" y="-471931"/>
            <a:ext cx="173247" cy="159921"/>
          </a:xfrm>
          <a:custGeom>
            <a:avLst/>
            <a:gdLst/>
            <a:ahLst/>
            <a:cxnLst>
              <a:cxn ang="0">
                <a:pos x="44" y="0"/>
              </a:cxn>
              <a:cxn ang="0">
                <a:pos x="44" y="0"/>
              </a:cxn>
              <a:cxn ang="0">
                <a:pos x="34" y="2"/>
              </a:cxn>
              <a:cxn ang="0">
                <a:pos x="26" y="4"/>
              </a:cxn>
              <a:cxn ang="0">
                <a:pos x="20" y="8"/>
              </a:cxn>
              <a:cxn ang="0">
                <a:pos x="14" y="14"/>
              </a:cxn>
              <a:cxn ang="0">
                <a:pos x="8" y="20"/>
              </a:cxn>
              <a:cxn ang="0">
                <a:pos x="4" y="28"/>
              </a:cxn>
              <a:cxn ang="0">
                <a:pos x="2" y="36"/>
              </a:cxn>
              <a:cxn ang="0">
                <a:pos x="0" y="44"/>
              </a:cxn>
              <a:cxn ang="0">
                <a:pos x="0" y="44"/>
              </a:cxn>
              <a:cxn ang="0">
                <a:pos x="2" y="52"/>
              </a:cxn>
              <a:cxn ang="0">
                <a:pos x="4" y="60"/>
              </a:cxn>
              <a:cxn ang="0">
                <a:pos x="8" y="68"/>
              </a:cxn>
              <a:cxn ang="0">
                <a:pos x="14" y="74"/>
              </a:cxn>
              <a:cxn ang="0">
                <a:pos x="20" y="80"/>
              </a:cxn>
              <a:cxn ang="0">
                <a:pos x="26" y="84"/>
              </a:cxn>
              <a:cxn ang="0">
                <a:pos x="34" y="86"/>
              </a:cxn>
              <a:cxn ang="0">
                <a:pos x="44" y="86"/>
              </a:cxn>
              <a:cxn ang="0">
                <a:pos x="44" y="86"/>
              </a:cxn>
              <a:cxn ang="0">
                <a:pos x="52" y="86"/>
              </a:cxn>
              <a:cxn ang="0">
                <a:pos x="60" y="84"/>
              </a:cxn>
              <a:cxn ang="0">
                <a:pos x="68" y="80"/>
              </a:cxn>
              <a:cxn ang="0">
                <a:pos x="74" y="74"/>
              </a:cxn>
              <a:cxn ang="0">
                <a:pos x="80" y="68"/>
              </a:cxn>
              <a:cxn ang="0">
                <a:pos x="84" y="60"/>
              </a:cxn>
              <a:cxn ang="0">
                <a:pos x="86" y="52"/>
              </a:cxn>
              <a:cxn ang="0">
                <a:pos x="86" y="44"/>
              </a:cxn>
              <a:cxn ang="0">
                <a:pos x="86" y="44"/>
              </a:cxn>
              <a:cxn ang="0">
                <a:pos x="86" y="36"/>
              </a:cxn>
              <a:cxn ang="0">
                <a:pos x="84" y="28"/>
              </a:cxn>
              <a:cxn ang="0">
                <a:pos x="80" y="20"/>
              </a:cxn>
              <a:cxn ang="0">
                <a:pos x="74" y="14"/>
              </a:cxn>
              <a:cxn ang="0">
                <a:pos x="68" y="8"/>
              </a:cxn>
              <a:cxn ang="0">
                <a:pos x="60" y="4"/>
              </a:cxn>
              <a:cxn ang="0">
                <a:pos x="52" y="2"/>
              </a:cxn>
              <a:cxn ang="0">
                <a:pos x="44" y="0"/>
              </a:cxn>
            </a:cxnLst>
            <a:rect l="0" t="0" r="r" b="b"/>
            <a:pathLst>
              <a:path w="86" h="86">
                <a:moveTo>
                  <a:pt x="44" y="0"/>
                </a:moveTo>
                <a:lnTo>
                  <a:pt x="44" y="0"/>
                </a:lnTo>
                <a:lnTo>
                  <a:pt x="34" y="2"/>
                </a:lnTo>
                <a:lnTo>
                  <a:pt x="26" y="4"/>
                </a:lnTo>
                <a:lnTo>
                  <a:pt x="20" y="8"/>
                </a:lnTo>
                <a:lnTo>
                  <a:pt x="14" y="14"/>
                </a:lnTo>
                <a:lnTo>
                  <a:pt x="8" y="20"/>
                </a:lnTo>
                <a:lnTo>
                  <a:pt x="4" y="28"/>
                </a:lnTo>
                <a:lnTo>
                  <a:pt x="2" y="36"/>
                </a:lnTo>
                <a:lnTo>
                  <a:pt x="0" y="44"/>
                </a:lnTo>
                <a:lnTo>
                  <a:pt x="0" y="44"/>
                </a:lnTo>
                <a:lnTo>
                  <a:pt x="2" y="52"/>
                </a:lnTo>
                <a:lnTo>
                  <a:pt x="4" y="60"/>
                </a:lnTo>
                <a:lnTo>
                  <a:pt x="8" y="68"/>
                </a:lnTo>
                <a:lnTo>
                  <a:pt x="14" y="74"/>
                </a:lnTo>
                <a:lnTo>
                  <a:pt x="20" y="80"/>
                </a:lnTo>
                <a:lnTo>
                  <a:pt x="26" y="84"/>
                </a:lnTo>
                <a:lnTo>
                  <a:pt x="34" y="86"/>
                </a:lnTo>
                <a:lnTo>
                  <a:pt x="44" y="86"/>
                </a:lnTo>
                <a:lnTo>
                  <a:pt x="44" y="86"/>
                </a:lnTo>
                <a:lnTo>
                  <a:pt x="52" y="86"/>
                </a:lnTo>
                <a:lnTo>
                  <a:pt x="60" y="84"/>
                </a:lnTo>
                <a:lnTo>
                  <a:pt x="68" y="80"/>
                </a:lnTo>
                <a:lnTo>
                  <a:pt x="74" y="74"/>
                </a:lnTo>
                <a:lnTo>
                  <a:pt x="80" y="68"/>
                </a:lnTo>
                <a:lnTo>
                  <a:pt x="84" y="60"/>
                </a:lnTo>
                <a:lnTo>
                  <a:pt x="86" y="52"/>
                </a:lnTo>
                <a:lnTo>
                  <a:pt x="86" y="44"/>
                </a:lnTo>
                <a:lnTo>
                  <a:pt x="86" y="44"/>
                </a:lnTo>
                <a:lnTo>
                  <a:pt x="86" y="36"/>
                </a:lnTo>
                <a:lnTo>
                  <a:pt x="84" y="28"/>
                </a:lnTo>
                <a:lnTo>
                  <a:pt x="80" y="20"/>
                </a:lnTo>
                <a:lnTo>
                  <a:pt x="74" y="14"/>
                </a:lnTo>
                <a:lnTo>
                  <a:pt x="68" y="8"/>
                </a:lnTo>
                <a:lnTo>
                  <a:pt x="60" y="4"/>
                </a:lnTo>
                <a:lnTo>
                  <a:pt x="52" y="2"/>
                </a:lnTo>
                <a:lnTo>
                  <a:pt x="44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278" name="Freeform 16"/>
          <p:cNvSpPr>
            <a:spLocks/>
          </p:cNvSpPr>
          <p:nvPr userDrawn="1"/>
        </p:nvSpPr>
        <p:spPr bwMode="auto">
          <a:xfrm>
            <a:off x="1208707" y="-471931"/>
            <a:ext cx="173247" cy="159921"/>
          </a:xfrm>
          <a:custGeom>
            <a:avLst/>
            <a:gdLst/>
            <a:ahLst/>
            <a:cxnLst>
              <a:cxn ang="0">
                <a:pos x="44" y="0"/>
              </a:cxn>
              <a:cxn ang="0">
                <a:pos x="44" y="0"/>
              </a:cxn>
              <a:cxn ang="0">
                <a:pos x="34" y="2"/>
              </a:cxn>
              <a:cxn ang="0">
                <a:pos x="26" y="4"/>
              </a:cxn>
              <a:cxn ang="0">
                <a:pos x="20" y="8"/>
              </a:cxn>
              <a:cxn ang="0">
                <a:pos x="14" y="14"/>
              </a:cxn>
              <a:cxn ang="0">
                <a:pos x="8" y="20"/>
              </a:cxn>
              <a:cxn ang="0">
                <a:pos x="4" y="28"/>
              </a:cxn>
              <a:cxn ang="0">
                <a:pos x="2" y="36"/>
              </a:cxn>
              <a:cxn ang="0">
                <a:pos x="0" y="44"/>
              </a:cxn>
              <a:cxn ang="0">
                <a:pos x="0" y="44"/>
              </a:cxn>
              <a:cxn ang="0">
                <a:pos x="2" y="52"/>
              </a:cxn>
              <a:cxn ang="0">
                <a:pos x="4" y="60"/>
              </a:cxn>
              <a:cxn ang="0">
                <a:pos x="8" y="68"/>
              </a:cxn>
              <a:cxn ang="0">
                <a:pos x="14" y="74"/>
              </a:cxn>
              <a:cxn ang="0">
                <a:pos x="20" y="80"/>
              </a:cxn>
              <a:cxn ang="0">
                <a:pos x="26" y="84"/>
              </a:cxn>
              <a:cxn ang="0">
                <a:pos x="34" y="86"/>
              </a:cxn>
              <a:cxn ang="0">
                <a:pos x="44" y="86"/>
              </a:cxn>
              <a:cxn ang="0">
                <a:pos x="44" y="86"/>
              </a:cxn>
              <a:cxn ang="0">
                <a:pos x="52" y="86"/>
              </a:cxn>
              <a:cxn ang="0">
                <a:pos x="60" y="84"/>
              </a:cxn>
              <a:cxn ang="0">
                <a:pos x="68" y="80"/>
              </a:cxn>
              <a:cxn ang="0">
                <a:pos x="74" y="74"/>
              </a:cxn>
              <a:cxn ang="0">
                <a:pos x="80" y="68"/>
              </a:cxn>
              <a:cxn ang="0">
                <a:pos x="84" y="60"/>
              </a:cxn>
              <a:cxn ang="0">
                <a:pos x="86" y="52"/>
              </a:cxn>
              <a:cxn ang="0">
                <a:pos x="86" y="44"/>
              </a:cxn>
              <a:cxn ang="0">
                <a:pos x="86" y="44"/>
              </a:cxn>
              <a:cxn ang="0">
                <a:pos x="86" y="36"/>
              </a:cxn>
              <a:cxn ang="0">
                <a:pos x="84" y="28"/>
              </a:cxn>
              <a:cxn ang="0">
                <a:pos x="80" y="20"/>
              </a:cxn>
              <a:cxn ang="0">
                <a:pos x="74" y="14"/>
              </a:cxn>
              <a:cxn ang="0">
                <a:pos x="68" y="8"/>
              </a:cxn>
              <a:cxn ang="0">
                <a:pos x="60" y="4"/>
              </a:cxn>
              <a:cxn ang="0">
                <a:pos x="52" y="2"/>
              </a:cxn>
              <a:cxn ang="0">
                <a:pos x="44" y="0"/>
              </a:cxn>
            </a:cxnLst>
            <a:rect l="0" t="0" r="r" b="b"/>
            <a:pathLst>
              <a:path w="86" h="86">
                <a:moveTo>
                  <a:pt x="44" y="0"/>
                </a:moveTo>
                <a:lnTo>
                  <a:pt x="44" y="0"/>
                </a:lnTo>
                <a:lnTo>
                  <a:pt x="34" y="2"/>
                </a:lnTo>
                <a:lnTo>
                  <a:pt x="26" y="4"/>
                </a:lnTo>
                <a:lnTo>
                  <a:pt x="20" y="8"/>
                </a:lnTo>
                <a:lnTo>
                  <a:pt x="14" y="14"/>
                </a:lnTo>
                <a:lnTo>
                  <a:pt x="8" y="20"/>
                </a:lnTo>
                <a:lnTo>
                  <a:pt x="4" y="28"/>
                </a:lnTo>
                <a:lnTo>
                  <a:pt x="2" y="36"/>
                </a:lnTo>
                <a:lnTo>
                  <a:pt x="0" y="44"/>
                </a:lnTo>
                <a:lnTo>
                  <a:pt x="0" y="44"/>
                </a:lnTo>
                <a:lnTo>
                  <a:pt x="2" y="52"/>
                </a:lnTo>
                <a:lnTo>
                  <a:pt x="4" y="60"/>
                </a:lnTo>
                <a:lnTo>
                  <a:pt x="8" y="68"/>
                </a:lnTo>
                <a:lnTo>
                  <a:pt x="14" y="74"/>
                </a:lnTo>
                <a:lnTo>
                  <a:pt x="20" y="80"/>
                </a:lnTo>
                <a:lnTo>
                  <a:pt x="26" y="84"/>
                </a:lnTo>
                <a:lnTo>
                  <a:pt x="34" y="86"/>
                </a:lnTo>
                <a:lnTo>
                  <a:pt x="44" y="86"/>
                </a:lnTo>
                <a:lnTo>
                  <a:pt x="44" y="86"/>
                </a:lnTo>
                <a:lnTo>
                  <a:pt x="52" y="86"/>
                </a:lnTo>
                <a:lnTo>
                  <a:pt x="60" y="84"/>
                </a:lnTo>
                <a:lnTo>
                  <a:pt x="68" y="80"/>
                </a:lnTo>
                <a:lnTo>
                  <a:pt x="74" y="74"/>
                </a:lnTo>
                <a:lnTo>
                  <a:pt x="80" y="68"/>
                </a:lnTo>
                <a:lnTo>
                  <a:pt x="84" y="60"/>
                </a:lnTo>
                <a:lnTo>
                  <a:pt x="86" y="52"/>
                </a:lnTo>
                <a:lnTo>
                  <a:pt x="86" y="44"/>
                </a:lnTo>
                <a:lnTo>
                  <a:pt x="86" y="44"/>
                </a:lnTo>
                <a:lnTo>
                  <a:pt x="86" y="36"/>
                </a:lnTo>
                <a:lnTo>
                  <a:pt x="84" y="28"/>
                </a:lnTo>
                <a:lnTo>
                  <a:pt x="80" y="20"/>
                </a:lnTo>
                <a:lnTo>
                  <a:pt x="74" y="14"/>
                </a:lnTo>
                <a:lnTo>
                  <a:pt x="68" y="8"/>
                </a:lnTo>
                <a:lnTo>
                  <a:pt x="60" y="4"/>
                </a:lnTo>
                <a:lnTo>
                  <a:pt x="52" y="2"/>
                </a:lnTo>
                <a:lnTo>
                  <a:pt x="44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279" name="Freeform 17"/>
          <p:cNvSpPr>
            <a:spLocks/>
          </p:cNvSpPr>
          <p:nvPr userDrawn="1"/>
        </p:nvSpPr>
        <p:spPr bwMode="auto">
          <a:xfrm>
            <a:off x="2268345" y="-7046"/>
            <a:ext cx="173247" cy="159921"/>
          </a:xfrm>
          <a:custGeom>
            <a:avLst/>
            <a:gdLst/>
            <a:ahLst/>
            <a:cxnLst>
              <a:cxn ang="0">
                <a:pos x="42" y="0"/>
              </a:cxn>
              <a:cxn ang="0">
                <a:pos x="42" y="0"/>
              </a:cxn>
              <a:cxn ang="0">
                <a:pos x="34" y="0"/>
              </a:cxn>
              <a:cxn ang="0">
                <a:pos x="26" y="2"/>
              </a:cxn>
              <a:cxn ang="0">
                <a:pos x="18" y="6"/>
              </a:cxn>
              <a:cxn ang="0">
                <a:pos x="12" y="12"/>
              </a:cxn>
              <a:cxn ang="0">
                <a:pos x="8" y="18"/>
              </a:cxn>
              <a:cxn ang="0">
                <a:pos x="4" y="26"/>
              </a:cxn>
              <a:cxn ang="0">
                <a:pos x="0" y="34"/>
              </a:cxn>
              <a:cxn ang="0">
                <a:pos x="0" y="42"/>
              </a:cxn>
              <a:cxn ang="0">
                <a:pos x="0" y="42"/>
              </a:cxn>
              <a:cxn ang="0">
                <a:pos x="0" y="50"/>
              </a:cxn>
              <a:cxn ang="0">
                <a:pos x="4" y="58"/>
              </a:cxn>
              <a:cxn ang="0">
                <a:pos x="8" y="66"/>
              </a:cxn>
              <a:cxn ang="0">
                <a:pos x="12" y="72"/>
              </a:cxn>
              <a:cxn ang="0">
                <a:pos x="18" y="78"/>
              </a:cxn>
              <a:cxn ang="0">
                <a:pos x="26" y="82"/>
              </a:cxn>
              <a:cxn ang="0">
                <a:pos x="34" y="84"/>
              </a:cxn>
              <a:cxn ang="0">
                <a:pos x="42" y="86"/>
              </a:cxn>
              <a:cxn ang="0">
                <a:pos x="42" y="86"/>
              </a:cxn>
              <a:cxn ang="0">
                <a:pos x="52" y="84"/>
              </a:cxn>
              <a:cxn ang="0">
                <a:pos x="60" y="82"/>
              </a:cxn>
              <a:cxn ang="0">
                <a:pos x="66" y="78"/>
              </a:cxn>
              <a:cxn ang="0">
                <a:pos x="74" y="72"/>
              </a:cxn>
              <a:cxn ang="0">
                <a:pos x="78" y="66"/>
              </a:cxn>
              <a:cxn ang="0">
                <a:pos x="82" y="58"/>
              </a:cxn>
              <a:cxn ang="0">
                <a:pos x="84" y="50"/>
              </a:cxn>
              <a:cxn ang="0">
                <a:pos x="86" y="42"/>
              </a:cxn>
              <a:cxn ang="0">
                <a:pos x="86" y="42"/>
              </a:cxn>
              <a:cxn ang="0">
                <a:pos x="84" y="34"/>
              </a:cxn>
              <a:cxn ang="0">
                <a:pos x="82" y="26"/>
              </a:cxn>
              <a:cxn ang="0">
                <a:pos x="78" y="18"/>
              </a:cxn>
              <a:cxn ang="0">
                <a:pos x="74" y="12"/>
              </a:cxn>
              <a:cxn ang="0">
                <a:pos x="66" y="6"/>
              </a:cxn>
              <a:cxn ang="0">
                <a:pos x="60" y="2"/>
              </a:cxn>
              <a:cxn ang="0">
                <a:pos x="52" y="0"/>
              </a:cxn>
              <a:cxn ang="0">
                <a:pos x="42" y="0"/>
              </a:cxn>
            </a:cxnLst>
            <a:rect l="0" t="0" r="r" b="b"/>
            <a:pathLst>
              <a:path w="86" h="86">
                <a:moveTo>
                  <a:pt x="42" y="0"/>
                </a:moveTo>
                <a:lnTo>
                  <a:pt x="42" y="0"/>
                </a:lnTo>
                <a:lnTo>
                  <a:pt x="34" y="0"/>
                </a:lnTo>
                <a:lnTo>
                  <a:pt x="26" y="2"/>
                </a:lnTo>
                <a:lnTo>
                  <a:pt x="18" y="6"/>
                </a:lnTo>
                <a:lnTo>
                  <a:pt x="12" y="12"/>
                </a:lnTo>
                <a:lnTo>
                  <a:pt x="8" y="18"/>
                </a:lnTo>
                <a:lnTo>
                  <a:pt x="4" y="26"/>
                </a:lnTo>
                <a:lnTo>
                  <a:pt x="0" y="34"/>
                </a:lnTo>
                <a:lnTo>
                  <a:pt x="0" y="42"/>
                </a:lnTo>
                <a:lnTo>
                  <a:pt x="0" y="42"/>
                </a:lnTo>
                <a:lnTo>
                  <a:pt x="0" y="50"/>
                </a:lnTo>
                <a:lnTo>
                  <a:pt x="4" y="58"/>
                </a:lnTo>
                <a:lnTo>
                  <a:pt x="8" y="66"/>
                </a:lnTo>
                <a:lnTo>
                  <a:pt x="12" y="72"/>
                </a:lnTo>
                <a:lnTo>
                  <a:pt x="18" y="78"/>
                </a:lnTo>
                <a:lnTo>
                  <a:pt x="26" y="82"/>
                </a:lnTo>
                <a:lnTo>
                  <a:pt x="34" y="84"/>
                </a:lnTo>
                <a:lnTo>
                  <a:pt x="42" y="86"/>
                </a:lnTo>
                <a:lnTo>
                  <a:pt x="42" y="86"/>
                </a:lnTo>
                <a:lnTo>
                  <a:pt x="52" y="84"/>
                </a:lnTo>
                <a:lnTo>
                  <a:pt x="60" y="82"/>
                </a:lnTo>
                <a:lnTo>
                  <a:pt x="66" y="78"/>
                </a:lnTo>
                <a:lnTo>
                  <a:pt x="74" y="72"/>
                </a:lnTo>
                <a:lnTo>
                  <a:pt x="78" y="66"/>
                </a:lnTo>
                <a:lnTo>
                  <a:pt x="82" y="58"/>
                </a:lnTo>
                <a:lnTo>
                  <a:pt x="84" y="50"/>
                </a:lnTo>
                <a:lnTo>
                  <a:pt x="86" y="42"/>
                </a:lnTo>
                <a:lnTo>
                  <a:pt x="86" y="42"/>
                </a:lnTo>
                <a:lnTo>
                  <a:pt x="84" y="34"/>
                </a:lnTo>
                <a:lnTo>
                  <a:pt x="82" y="26"/>
                </a:lnTo>
                <a:lnTo>
                  <a:pt x="78" y="18"/>
                </a:lnTo>
                <a:lnTo>
                  <a:pt x="74" y="12"/>
                </a:lnTo>
                <a:lnTo>
                  <a:pt x="66" y="6"/>
                </a:lnTo>
                <a:lnTo>
                  <a:pt x="60" y="2"/>
                </a:lnTo>
                <a:lnTo>
                  <a:pt x="52" y="0"/>
                </a:lnTo>
                <a:lnTo>
                  <a:pt x="42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280" name="Freeform 18"/>
          <p:cNvSpPr>
            <a:spLocks/>
          </p:cNvSpPr>
          <p:nvPr userDrawn="1"/>
        </p:nvSpPr>
        <p:spPr bwMode="auto">
          <a:xfrm>
            <a:off x="2268345" y="-7046"/>
            <a:ext cx="173247" cy="159921"/>
          </a:xfrm>
          <a:custGeom>
            <a:avLst/>
            <a:gdLst/>
            <a:ahLst/>
            <a:cxnLst>
              <a:cxn ang="0">
                <a:pos x="42" y="0"/>
              </a:cxn>
              <a:cxn ang="0">
                <a:pos x="42" y="0"/>
              </a:cxn>
              <a:cxn ang="0">
                <a:pos x="34" y="0"/>
              </a:cxn>
              <a:cxn ang="0">
                <a:pos x="26" y="2"/>
              </a:cxn>
              <a:cxn ang="0">
                <a:pos x="18" y="6"/>
              </a:cxn>
              <a:cxn ang="0">
                <a:pos x="12" y="12"/>
              </a:cxn>
              <a:cxn ang="0">
                <a:pos x="8" y="18"/>
              </a:cxn>
              <a:cxn ang="0">
                <a:pos x="4" y="26"/>
              </a:cxn>
              <a:cxn ang="0">
                <a:pos x="0" y="34"/>
              </a:cxn>
              <a:cxn ang="0">
                <a:pos x="0" y="42"/>
              </a:cxn>
              <a:cxn ang="0">
                <a:pos x="0" y="42"/>
              </a:cxn>
              <a:cxn ang="0">
                <a:pos x="0" y="50"/>
              </a:cxn>
              <a:cxn ang="0">
                <a:pos x="4" y="58"/>
              </a:cxn>
              <a:cxn ang="0">
                <a:pos x="8" y="66"/>
              </a:cxn>
              <a:cxn ang="0">
                <a:pos x="12" y="72"/>
              </a:cxn>
              <a:cxn ang="0">
                <a:pos x="18" y="78"/>
              </a:cxn>
              <a:cxn ang="0">
                <a:pos x="26" y="82"/>
              </a:cxn>
              <a:cxn ang="0">
                <a:pos x="34" y="84"/>
              </a:cxn>
              <a:cxn ang="0">
                <a:pos x="42" y="86"/>
              </a:cxn>
              <a:cxn ang="0">
                <a:pos x="42" y="86"/>
              </a:cxn>
              <a:cxn ang="0">
                <a:pos x="52" y="84"/>
              </a:cxn>
              <a:cxn ang="0">
                <a:pos x="60" y="82"/>
              </a:cxn>
              <a:cxn ang="0">
                <a:pos x="66" y="78"/>
              </a:cxn>
              <a:cxn ang="0">
                <a:pos x="74" y="72"/>
              </a:cxn>
              <a:cxn ang="0">
                <a:pos x="78" y="66"/>
              </a:cxn>
              <a:cxn ang="0">
                <a:pos x="82" y="58"/>
              </a:cxn>
              <a:cxn ang="0">
                <a:pos x="84" y="50"/>
              </a:cxn>
              <a:cxn ang="0">
                <a:pos x="86" y="42"/>
              </a:cxn>
              <a:cxn ang="0">
                <a:pos x="86" y="42"/>
              </a:cxn>
              <a:cxn ang="0">
                <a:pos x="84" y="34"/>
              </a:cxn>
              <a:cxn ang="0">
                <a:pos x="82" y="26"/>
              </a:cxn>
              <a:cxn ang="0">
                <a:pos x="78" y="18"/>
              </a:cxn>
              <a:cxn ang="0">
                <a:pos x="74" y="12"/>
              </a:cxn>
              <a:cxn ang="0">
                <a:pos x="66" y="6"/>
              </a:cxn>
              <a:cxn ang="0">
                <a:pos x="60" y="2"/>
              </a:cxn>
              <a:cxn ang="0">
                <a:pos x="52" y="0"/>
              </a:cxn>
              <a:cxn ang="0">
                <a:pos x="42" y="0"/>
              </a:cxn>
            </a:cxnLst>
            <a:rect l="0" t="0" r="r" b="b"/>
            <a:pathLst>
              <a:path w="86" h="86">
                <a:moveTo>
                  <a:pt x="42" y="0"/>
                </a:moveTo>
                <a:lnTo>
                  <a:pt x="42" y="0"/>
                </a:lnTo>
                <a:lnTo>
                  <a:pt x="34" y="0"/>
                </a:lnTo>
                <a:lnTo>
                  <a:pt x="26" y="2"/>
                </a:lnTo>
                <a:lnTo>
                  <a:pt x="18" y="6"/>
                </a:lnTo>
                <a:lnTo>
                  <a:pt x="12" y="12"/>
                </a:lnTo>
                <a:lnTo>
                  <a:pt x="8" y="18"/>
                </a:lnTo>
                <a:lnTo>
                  <a:pt x="4" y="26"/>
                </a:lnTo>
                <a:lnTo>
                  <a:pt x="0" y="34"/>
                </a:lnTo>
                <a:lnTo>
                  <a:pt x="0" y="42"/>
                </a:lnTo>
                <a:lnTo>
                  <a:pt x="0" y="42"/>
                </a:lnTo>
                <a:lnTo>
                  <a:pt x="0" y="50"/>
                </a:lnTo>
                <a:lnTo>
                  <a:pt x="4" y="58"/>
                </a:lnTo>
                <a:lnTo>
                  <a:pt x="8" y="66"/>
                </a:lnTo>
                <a:lnTo>
                  <a:pt x="12" y="72"/>
                </a:lnTo>
                <a:lnTo>
                  <a:pt x="18" y="78"/>
                </a:lnTo>
                <a:lnTo>
                  <a:pt x="26" y="82"/>
                </a:lnTo>
                <a:lnTo>
                  <a:pt x="34" y="84"/>
                </a:lnTo>
                <a:lnTo>
                  <a:pt x="42" y="86"/>
                </a:lnTo>
                <a:lnTo>
                  <a:pt x="42" y="86"/>
                </a:lnTo>
                <a:lnTo>
                  <a:pt x="52" y="84"/>
                </a:lnTo>
                <a:lnTo>
                  <a:pt x="60" y="82"/>
                </a:lnTo>
                <a:lnTo>
                  <a:pt x="66" y="78"/>
                </a:lnTo>
                <a:lnTo>
                  <a:pt x="74" y="72"/>
                </a:lnTo>
                <a:lnTo>
                  <a:pt x="78" y="66"/>
                </a:lnTo>
                <a:lnTo>
                  <a:pt x="82" y="58"/>
                </a:lnTo>
                <a:lnTo>
                  <a:pt x="84" y="50"/>
                </a:lnTo>
                <a:lnTo>
                  <a:pt x="86" y="42"/>
                </a:lnTo>
                <a:lnTo>
                  <a:pt x="86" y="42"/>
                </a:lnTo>
                <a:lnTo>
                  <a:pt x="84" y="34"/>
                </a:lnTo>
                <a:lnTo>
                  <a:pt x="82" y="26"/>
                </a:lnTo>
                <a:lnTo>
                  <a:pt x="78" y="18"/>
                </a:lnTo>
                <a:lnTo>
                  <a:pt x="74" y="12"/>
                </a:lnTo>
                <a:lnTo>
                  <a:pt x="66" y="6"/>
                </a:lnTo>
                <a:lnTo>
                  <a:pt x="60" y="2"/>
                </a:lnTo>
                <a:lnTo>
                  <a:pt x="52" y="0"/>
                </a:lnTo>
                <a:lnTo>
                  <a:pt x="42" y="0"/>
                </a:lnTo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281" name="Freeform 19"/>
          <p:cNvSpPr>
            <a:spLocks/>
          </p:cNvSpPr>
          <p:nvPr userDrawn="1"/>
        </p:nvSpPr>
        <p:spPr bwMode="auto">
          <a:xfrm>
            <a:off x="2361010" y="826037"/>
            <a:ext cx="173247" cy="159921"/>
          </a:xfrm>
          <a:custGeom>
            <a:avLst/>
            <a:gdLst/>
            <a:ahLst/>
            <a:cxnLst>
              <a:cxn ang="0">
                <a:pos x="44" y="0"/>
              </a:cxn>
              <a:cxn ang="0">
                <a:pos x="44" y="0"/>
              </a:cxn>
              <a:cxn ang="0">
                <a:pos x="34" y="0"/>
              </a:cxn>
              <a:cxn ang="0">
                <a:pos x="26" y="2"/>
              </a:cxn>
              <a:cxn ang="0">
                <a:pos x="20" y="6"/>
              </a:cxn>
              <a:cxn ang="0">
                <a:pos x="14" y="12"/>
              </a:cxn>
              <a:cxn ang="0">
                <a:pos x="8" y="18"/>
              </a:cxn>
              <a:cxn ang="0">
                <a:pos x="4" y="26"/>
              </a:cxn>
              <a:cxn ang="0">
                <a:pos x="2" y="34"/>
              </a:cxn>
              <a:cxn ang="0">
                <a:pos x="0" y="42"/>
              </a:cxn>
              <a:cxn ang="0">
                <a:pos x="0" y="42"/>
              </a:cxn>
              <a:cxn ang="0">
                <a:pos x="2" y="52"/>
              </a:cxn>
              <a:cxn ang="0">
                <a:pos x="4" y="60"/>
              </a:cxn>
              <a:cxn ang="0">
                <a:pos x="8" y="66"/>
              </a:cxn>
              <a:cxn ang="0">
                <a:pos x="14" y="74"/>
              </a:cxn>
              <a:cxn ang="0">
                <a:pos x="20" y="78"/>
              </a:cxn>
              <a:cxn ang="0">
                <a:pos x="26" y="82"/>
              </a:cxn>
              <a:cxn ang="0">
                <a:pos x="34" y="84"/>
              </a:cxn>
              <a:cxn ang="0">
                <a:pos x="44" y="86"/>
              </a:cxn>
              <a:cxn ang="0">
                <a:pos x="44" y="86"/>
              </a:cxn>
              <a:cxn ang="0">
                <a:pos x="52" y="84"/>
              </a:cxn>
              <a:cxn ang="0">
                <a:pos x="60" y="82"/>
              </a:cxn>
              <a:cxn ang="0">
                <a:pos x="68" y="78"/>
              </a:cxn>
              <a:cxn ang="0">
                <a:pos x="74" y="74"/>
              </a:cxn>
              <a:cxn ang="0">
                <a:pos x="80" y="66"/>
              </a:cxn>
              <a:cxn ang="0">
                <a:pos x="84" y="60"/>
              </a:cxn>
              <a:cxn ang="0">
                <a:pos x="86" y="52"/>
              </a:cxn>
              <a:cxn ang="0">
                <a:pos x="86" y="42"/>
              </a:cxn>
              <a:cxn ang="0">
                <a:pos x="86" y="42"/>
              </a:cxn>
              <a:cxn ang="0">
                <a:pos x="86" y="34"/>
              </a:cxn>
              <a:cxn ang="0">
                <a:pos x="84" y="26"/>
              </a:cxn>
              <a:cxn ang="0">
                <a:pos x="80" y="18"/>
              </a:cxn>
              <a:cxn ang="0">
                <a:pos x="74" y="12"/>
              </a:cxn>
              <a:cxn ang="0">
                <a:pos x="68" y="6"/>
              </a:cxn>
              <a:cxn ang="0">
                <a:pos x="60" y="2"/>
              </a:cxn>
              <a:cxn ang="0">
                <a:pos x="52" y="0"/>
              </a:cxn>
              <a:cxn ang="0">
                <a:pos x="44" y="0"/>
              </a:cxn>
            </a:cxnLst>
            <a:rect l="0" t="0" r="r" b="b"/>
            <a:pathLst>
              <a:path w="86" h="86">
                <a:moveTo>
                  <a:pt x="44" y="0"/>
                </a:moveTo>
                <a:lnTo>
                  <a:pt x="44" y="0"/>
                </a:lnTo>
                <a:lnTo>
                  <a:pt x="34" y="0"/>
                </a:lnTo>
                <a:lnTo>
                  <a:pt x="26" y="2"/>
                </a:lnTo>
                <a:lnTo>
                  <a:pt x="20" y="6"/>
                </a:lnTo>
                <a:lnTo>
                  <a:pt x="14" y="12"/>
                </a:lnTo>
                <a:lnTo>
                  <a:pt x="8" y="18"/>
                </a:lnTo>
                <a:lnTo>
                  <a:pt x="4" y="26"/>
                </a:lnTo>
                <a:lnTo>
                  <a:pt x="2" y="34"/>
                </a:lnTo>
                <a:lnTo>
                  <a:pt x="0" y="42"/>
                </a:lnTo>
                <a:lnTo>
                  <a:pt x="0" y="42"/>
                </a:lnTo>
                <a:lnTo>
                  <a:pt x="2" y="52"/>
                </a:lnTo>
                <a:lnTo>
                  <a:pt x="4" y="60"/>
                </a:lnTo>
                <a:lnTo>
                  <a:pt x="8" y="66"/>
                </a:lnTo>
                <a:lnTo>
                  <a:pt x="14" y="74"/>
                </a:lnTo>
                <a:lnTo>
                  <a:pt x="20" y="78"/>
                </a:lnTo>
                <a:lnTo>
                  <a:pt x="26" y="82"/>
                </a:lnTo>
                <a:lnTo>
                  <a:pt x="34" y="84"/>
                </a:lnTo>
                <a:lnTo>
                  <a:pt x="44" y="86"/>
                </a:lnTo>
                <a:lnTo>
                  <a:pt x="44" y="86"/>
                </a:lnTo>
                <a:lnTo>
                  <a:pt x="52" y="84"/>
                </a:lnTo>
                <a:lnTo>
                  <a:pt x="60" y="82"/>
                </a:lnTo>
                <a:lnTo>
                  <a:pt x="68" y="78"/>
                </a:lnTo>
                <a:lnTo>
                  <a:pt x="74" y="74"/>
                </a:lnTo>
                <a:lnTo>
                  <a:pt x="80" y="66"/>
                </a:lnTo>
                <a:lnTo>
                  <a:pt x="84" y="60"/>
                </a:lnTo>
                <a:lnTo>
                  <a:pt x="86" y="52"/>
                </a:lnTo>
                <a:lnTo>
                  <a:pt x="86" y="42"/>
                </a:lnTo>
                <a:lnTo>
                  <a:pt x="86" y="42"/>
                </a:lnTo>
                <a:lnTo>
                  <a:pt x="86" y="34"/>
                </a:lnTo>
                <a:lnTo>
                  <a:pt x="84" y="26"/>
                </a:lnTo>
                <a:lnTo>
                  <a:pt x="80" y="18"/>
                </a:lnTo>
                <a:lnTo>
                  <a:pt x="74" y="12"/>
                </a:lnTo>
                <a:lnTo>
                  <a:pt x="68" y="6"/>
                </a:lnTo>
                <a:lnTo>
                  <a:pt x="60" y="2"/>
                </a:lnTo>
                <a:lnTo>
                  <a:pt x="52" y="0"/>
                </a:lnTo>
                <a:lnTo>
                  <a:pt x="44" y="0"/>
                </a:lnTo>
                <a:close/>
              </a:path>
            </a:pathLst>
          </a:custGeom>
          <a:solidFill>
            <a:srgbClr val="CC0066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282" name="Freeform 20"/>
          <p:cNvSpPr>
            <a:spLocks/>
          </p:cNvSpPr>
          <p:nvPr userDrawn="1"/>
        </p:nvSpPr>
        <p:spPr bwMode="auto">
          <a:xfrm>
            <a:off x="2361010" y="826037"/>
            <a:ext cx="173247" cy="159921"/>
          </a:xfrm>
          <a:custGeom>
            <a:avLst/>
            <a:gdLst/>
            <a:ahLst/>
            <a:cxnLst>
              <a:cxn ang="0">
                <a:pos x="44" y="0"/>
              </a:cxn>
              <a:cxn ang="0">
                <a:pos x="44" y="0"/>
              </a:cxn>
              <a:cxn ang="0">
                <a:pos x="34" y="0"/>
              </a:cxn>
              <a:cxn ang="0">
                <a:pos x="26" y="2"/>
              </a:cxn>
              <a:cxn ang="0">
                <a:pos x="20" y="6"/>
              </a:cxn>
              <a:cxn ang="0">
                <a:pos x="14" y="12"/>
              </a:cxn>
              <a:cxn ang="0">
                <a:pos x="8" y="18"/>
              </a:cxn>
              <a:cxn ang="0">
                <a:pos x="4" y="26"/>
              </a:cxn>
              <a:cxn ang="0">
                <a:pos x="2" y="34"/>
              </a:cxn>
              <a:cxn ang="0">
                <a:pos x="0" y="42"/>
              </a:cxn>
              <a:cxn ang="0">
                <a:pos x="0" y="42"/>
              </a:cxn>
              <a:cxn ang="0">
                <a:pos x="2" y="52"/>
              </a:cxn>
              <a:cxn ang="0">
                <a:pos x="4" y="60"/>
              </a:cxn>
              <a:cxn ang="0">
                <a:pos x="8" y="66"/>
              </a:cxn>
              <a:cxn ang="0">
                <a:pos x="14" y="74"/>
              </a:cxn>
              <a:cxn ang="0">
                <a:pos x="20" y="78"/>
              </a:cxn>
              <a:cxn ang="0">
                <a:pos x="26" y="82"/>
              </a:cxn>
              <a:cxn ang="0">
                <a:pos x="34" y="84"/>
              </a:cxn>
              <a:cxn ang="0">
                <a:pos x="44" y="86"/>
              </a:cxn>
              <a:cxn ang="0">
                <a:pos x="44" y="86"/>
              </a:cxn>
              <a:cxn ang="0">
                <a:pos x="52" y="84"/>
              </a:cxn>
              <a:cxn ang="0">
                <a:pos x="60" y="82"/>
              </a:cxn>
              <a:cxn ang="0">
                <a:pos x="68" y="78"/>
              </a:cxn>
              <a:cxn ang="0">
                <a:pos x="74" y="74"/>
              </a:cxn>
              <a:cxn ang="0">
                <a:pos x="80" y="66"/>
              </a:cxn>
              <a:cxn ang="0">
                <a:pos x="84" y="60"/>
              </a:cxn>
              <a:cxn ang="0">
                <a:pos x="86" y="52"/>
              </a:cxn>
              <a:cxn ang="0">
                <a:pos x="86" y="42"/>
              </a:cxn>
              <a:cxn ang="0">
                <a:pos x="86" y="42"/>
              </a:cxn>
              <a:cxn ang="0">
                <a:pos x="86" y="34"/>
              </a:cxn>
              <a:cxn ang="0">
                <a:pos x="84" y="26"/>
              </a:cxn>
              <a:cxn ang="0">
                <a:pos x="80" y="18"/>
              </a:cxn>
              <a:cxn ang="0">
                <a:pos x="74" y="12"/>
              </a:cxn>
              <a:cxn ang="0">
                <a:pos x="68" y="6"/>
              </a:cxn>
              <a:cxn ang="0">
                <a:pos x="60" y="2"/>
              </a:cxn>
              <a:cxn ang="0">
                <a:pos x="52" y="0"/>
              </a:cxn>
              <a:cxn ang="0">
                <a:pos x="44" y="0"/>
              </a:cxn>
            </a:cxnLst>
            <a:rect l="0" t="0" r="r" b="b"/>
            <a:pathLst>
              <a:path w="86" h="86">
                <a:moveTo>
                  <a:pt x="44" y="0"/>
                </a:moveTo>
                <a:lnTo>
                  <a:pt x="44" y="0"/>
                </a:lnTo>
                <a:lnTo>
                  <a:pt x="34" y="0"/>
                </a:lnTo>
                <a:lnTo>
                  <a:pt x="26" y="2"/>
                </a:lnTo>
                <a:lnTo>
                  <a:pt x="20" y="6"/>
                </a:lnTo>
                <a:lnTo>
                  <a:pt x="14" y="12"/>
                </a:lnTo>
                <a:lnTo>
                  <a:pt x="8" y="18"/>
                </a:lnTo>
                <a:lnTo>
                  <a:pt x="4" y="26"/>
                </a:lnTo>
                <a:lnTo>
                  <a:pt x="2" y="34"/>
                </a:lnTo>
                <a:lnTo>
                  <a:pt x="0" y="42"/>
                </a:lnTo>
                <a:lnTo>
                  <a:pt x="0" y="42"/>
                </a:lnTo>
                <a:lnTo>
                  <a:pt x="2" y="52"/>
                </a:lnTo>
                <a:lnTo>
                  <a:pt x="4" y="60"/>
                </a:lnTo>
                <a:lnTo>
                  <a:pt x="8" y="66"/>
                </a:lnTo>
                <a:lnTo>
                  <a:pt x="14" y="74"/>
                </a:lnTo>
                <a:lnTo>
                  <a:pt x="20" y="78"/>
                </a:lnTo>
                <a:lnTo>
                  <a:pt x="26" y="82"/>
                </a:lnTo>
                <a:lnTo>
                  <a:pt x="34" y="84"/>
                </a:lnTo>
                <a:lnTo>
                  <a:pt x="44" y="86"/>
                </a:lnTo>
                <a:lnTo>
                  <a:pt x="44" y="86"/>
                </a:lnTo>
                <a:lnTo>
                  <a:pt x="52" y="84"/>
                </a:lnTo>
                <a:lnTo>
                  <a:pt x="60" y="82"/>
                </a:lnTo>
                <a:lnTo>
                  <a:pt x="68" y="78"/>
                </a:lnTo>
                <a:lnTo>
                  <a:pt x="74" y="74"/>
                </a:lnTo>
                <a:lnTo>
                  <a:pt x="80" y="66"/>
                </a:lnTo>
                <a:lnTo>
                  <a:pt x="84" y="60"/>
                </a:lnTo>
                <a:lnTo>
                  <a:pt x="86" y="52"/>
                </a:lnTo>
                <a:lnTo>
                  <a:pt x="86" y="42"/>
                </a:lnTo>
                <a:lnTo>
                  <a:pt x="86" y="42"/>
                </a:lnTo>
                <a:lnTo>
                  <a:pt x="86" y="34"/>
                </a:lnTo>
                <a:lnTo>
                  <a:pt x="84" y="26"/>
                </a:lnTo>
                <a:lnTo>
                  <a:pt x="80" y="18"/>
                </a:lnTo>
                <a:lnTo>
                  <a:pt x="74" y="12"/>
                </a:lnTo>
                <a:lnTo>
                  <a:pt x="68" y="6"/>
                </a:lnTo>
                <a:lnTo>
                  <a:pt x="60" y="2"/>
                </a:lnTo>
                <a:lnTo>
                  <a:pt x="52" y="0"/>
                </a:lnTo>
                <a:lnTo>
                  <a:pt x="44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283" name="Freeform 21"/>
          <p:cNvSpPr>
            <a:spLocks/>
          </p:cNvSpPr>
          <p:nvPr userDrawn="1"/>
        </p:nvSpPr>
        <p:spPr bwMode="auto">
          <a:xfrm>
            <a:off x="2590667" y="1592176"/>
            <a:ext cx="173247" cy="159921"/>
          </a:xfrm>
          <a:custGeom>
            <a:avLst/>
            <a:gdLst/>
            <a:ahLst/>
            <a:cxnLst>
              <a:cxn ang="0">
                <a:pos x="42" y="0"/>
              </a:cxn>
              <a:cxn ang="0">
                <a:pos x="42" y="0"/>
              </a:cxn>
              <a:cxn ang="0">
                <a:pos x="34" y="0"/>
              </a:cxn>
              <a:cxn ang="0">
                <a:pos x="26" y="4"/>
              </a:cxn>
              <a:cxn ang="0">
                <a:pos x="18" y="8"/>
              </a:cxn>
              <a:cxn ang="0">
                <a:pos x="12" y="12"/>
              </a:cxn>
              <a:cxn ang="0">
                <a:pos x="6" y="18"/>
              </a:cxn>
              <a:cxn ang="0">
                <a:pos x="2" y="26"/>
              </a:cxn>
              <a:cxn ang="0">
                <a:pos x="0" y="34"/>
              </a:cxn>
              <a:cxn ang="0">
                <a:pos x="0" y="42"/>
              </a:cxn>
              <a:cxn ang="0">
                <a:pos x="0" y="42"/>
              </a:cxn>
              <a:cxn ang="0">
                <a:pos x="0" y="52"/>
              </a:cxn>
              <a:cxn ang="0">
                <a:pos x="2" y="60"/>
              </a:cxn>
              <a:cxn ang="0">
                <a:pos x="6" y="66"/>
              </a:cxn>
              <a:cxn ang="0">
                <a:pos x="12" y="74"/>
              </a:cxn>
              <a:cxn ang="0">
                <a:pos x="18" y="78"/>
              </a:cxn>
              <a:cxn ang="0">
                <a:pos x="26" y="82"/>
              </a:cxn>
              <a:cxn ang="0">
                <a:pos x="34" y="84"/>
              </a:cxn>
              <a:cxn ang="0">
                <a:pos x="42" y="86"/>
              </a:cxn>
              <a:cxn ang="0">
                <a:pos x="42" y="86"/>
              </a:cxn>
              <a:cxn ang="0">
                <a:pos x="50" y="84"/>
              </a:cxn>
              <a:cxn ang="0">
                <a:pos x="58" y="82"/>
              </a:cxn>
              <a:cxn ang="0">
                <a:pos x="66" y="78"/>
              </a:cxn>
              <a:cxn ang="0">
                <a:pos x="72" y="74"/>
              </a:cxn>
              <a:cxn ang="0">
                <a:pos x="78" y="66"/>
              </a:cxn>
              <a:cxn ang="0">
                <a:pos x="82" y="60"/>
              </a:cxn>
              <a:cxn ang="0">
                <a:pos x="84" y="52"/>
              </a:cxn>
              <a:cxn ang="0">
                <a:pos x="86" y="42"/>
              </a:cxn>
              <a:cxn ang="0">
                <a:pos x="86" y="42"/>
              </a:cxn>
              <a:cxn ang="0">
                <a:pos x="84" y="34"/>
              </a:cxn>
              <a:cxn ang="0">
                <a:pos x="82" y="26"/>
              </a:cxn>
              <a:cxn ang="0">
                <a:pos x="78" y="18"/>
              </a:cxn>
              <a:cxn ang="0">
                <a:pos x="72" y="12"/>
              </a:cxn>
              <a:cxn ang="0">
                <a:pos x="66" y="8"/>
              </a:cxn>
              <a:cxn ang="0">
                <a:pos x="58" y="4"/>
              </a:cxn>
              <a:cxn ang="0">
                <a:pos x="50" y="0"/>
              </a:cxn>
              <a:cxn ang="0">
                <a:pos x="42" y="0"/>
              </a:cxn>
            </a:cxnLst>
            <a:rect l="0" t="0" r="r" b="b"/>
            <a:pathLst>
              <a:path w="86" h="86">
                <a:moveTo>
                  <a:pt x="42" y="0"/>
                </a:moveTo>
                <a:lnTo>
                  <a:pt x="42" y="0"/>
                </a:lnTo>
                <a:lnTo>
                  <a:pt x="34" y="0"/>
                </a:lnTo>
                <a:lnTo>
                  <a:pt x="26" y="4"/>
                </a:lnTo>
                <a:lnTo>
                  <a:pt x="18" y="8"/>
                </a:lnTo>
                <a:lnTo>
                  <a:pt x="12" y="12"/>
                </a:lnTo>
                <a:lnTo>
                  <a:pt x="6" y="18"/>
                </a:lnTo>
                <a:lnTo>
                  <a:pt x="2" y="26"/>
                </a:lnTo>
                <a:lnTo>
                  <a:pt x="0" y="34"/>
                </a:lnTo>
                <a:lnTo>
                  <a:pt x="0" y="42"/>
                </a:lnTo>
                <a:lnTo>
                  <a:pt x="0" y="42"/>
                </a:lnTo>
                <a:lnTo>
                  <a:pt x="0" y="52"/>
                </a:lnTo>
                <a:lnTo>
                  <a:pt x="2" y="60"/>
                </a:lnTo>
                <a:lnTo>
                  <a:pt x="6" y="66"/>
                </a:lnTo>
                <a:lnTo>
                  <a:pt x="12" y="74"/>
                </a:lnTo>
                <a:lnTo>
                  <a:pt x="18" y="78"/>
                </a:lnTo>
                <a:lnTo>
                  <a:pt x="26" y="82"/>
                </a:lnTo>
                <a:lnTo>
                  <a:pt x="34" y="84"/>
                </a:lnTo>
                <a:lnTo>
                  <a:pt x="42" y="86"/>
                </a:lnTo>
                <a:lnTo>
                  <a:pt x="42" y="86"/>
                </a:lnTo>
                <a:lnTo>
                  <a:pt x="50" y="84"/>
                </a:lnTo>
                <a:lnTo>
                  <a:pt x="58" y="82"/>
                </a:lnTo>
                <a:lnTo>
                  <a:pt x="66" y="78"/>
                </a:lnTo>
                <a:lnTo>
                  <a:pt x="72" y="74"/>
                </a:lnTo>
                <a:lnTo>
                  <a:pt x="78" y="66"/>
                </a:lnTo>
                <a:lnTo>
                  <a:pt x="82" y="60"/>
                </a:lnTo>
                <a:lnTo>
                  <a:pt x="84" y="52"/>
                </a:lnTo>
                <a:lnTo>
                  <a:pt x="86" y="42"/>
                </a:lnTo>
                <a:lnTo>
                  <a:pt x="86" y="42"/>
                </a:lnTo>
                <a:lnTo>
                  <a:pt x="84" y="34"/>
                </a:lnTo>
                <a:lnTo>
                  <a:pt x="82" y="26"/>
                </a:lnTo>
                <a:lnTo>
                  <a:pt x="78" y="18"/>
                </a:lnTo>
                <a:lnTo>
                  <a:pt x="72" y="12"/>
                </a:lnTo>
                <a:lnTo>
                  <a:pt x="66" y="8"/>
                </a:lnTo>
                <a:lnTo>
                  <a:pt x="58" y="4"/>
                </a:lnTo>
                <a:lnTo>
                  <a:pt x="50" y="0"/>
                </a:lnTo>
                <a:lnTo>
                  <a:pt x="42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284" name="Freeform 22"/>
          <p:cNvSpPr>
            <a:spLocks/>
          </p:cNvSpPr>
          <p:nvPr userDrawn="1"/>
        </p:nvSpPr>
        <p:spPr bwMode="auto">
          <a:xfrm>
            <a:off x="2590667" y="1592176"/>
            <a:ext cx="173247" cy="159921"/>
          </a:xfrm>
          <a:custGeom>
            <a:avLst/>
            <a:gdLst/>
            <a:ahLst/>
            <a:cxnLst>
              <a:cxn ang="0">
                <a:pos x="42" y="0"/>
              </a:cxn>
              <a:cxn ang="0">
                <a:pos x="42" y="0"/>
              </a:cxn>
              <a:cxn ang="0">
                <a:pos x="34" y="0"/>
              </a:cxn>
              <a:cxn ang="0">
                <a:pos x="26" y="4"/>
              </a:cxn>
              <a:cxn ang="0">
                <a:pos x="18" y="8"/>
              </a:cxn>
              <a:cxn ang="0">
                <a:pos x="12" y="12"/>
              </a:cxn>
              <a:cxn ang="0">
                <a:pos x="6" y="18"/>
              </a:cxn>
              <a:cxn ang="0">
                <a:pos x="2" y="26"/>
              </a:cxn>
              <a:cxn ang="0">
                <a:pos x="0" y="34"/>
              </a:cxn>
              <a:cxn ang="0">
                <a:pos x="0" y="42"/>
              </a:cxn>
              <a:cxn ang="0">
                <a:pos x="0" y="42"/>
              </a:cxn>
              <a:cxn ang="0">
                <a:pos x="0" y="52"/>
              </a:cxn>
              <a:cxn ang="0">
                <a:pos x="2" y="60"/>
              </a:cxn>
              <a:cxn ang="0">
                <a:pos x="6" y="66"/>
              </a:cxn>
              <a:cxn ang="0">
                <a:pos x="12" y="74"/>
              </a:cxn>
              <a:cxn ang="0">
                <a:pos x="18" y="78"/>
              </a:cxn>
              <a:cxn ang="0">
                <a:pos x="26" y="82"/>
              </a:cxn>
              <a:cxn ang="0">
                <a:pos x="34" y="84"/>
              </a:cxn>
              <a:cxn ang="0">
                <a:pos x="42" y="86"/>
              </a:cxn>
              <a:cxn ang="0">
                <a:pos x="42" y="86"/>
              </a:cxn>
              <a:cxn ang="0">
                <a:pos x="50" y="84"/>
              </a:cxn>
              <a:cxn ang="0">
                <a:pos x="58" y="82"/>
              </a:cxn>
              <a:cxn ang="0">
                <a:pos x="66" y="78"/>
              </a:cxn>
              <a:cxn ang="0">
                <a:pos x="72" y="74"/>
              </a:cxn>
              <a:cxn ang="0">
                <a:pos x="78" y="66"/>
              </a:cxn>
              <a:cxn ang="0">
                <a:pos x="82" y="60"/>
              </a:cxn>
              <a:cxn ang="0">
                <a:pos x="84" y="52"/>
              </a:cxn>
              <a:cxn ang="0">
                <a:pos x="86" y="42"/>
              </a:cxn>
              <a:cxn ang="0">
                <a:pos x="86" y="42"/>
              </a:cxn>
              <a:cxn ang="0">
                <a:pos x="84" y="34"/>
              </a:cxn>
              <a:cxn ang="0">
                <a:pos x="82" y="26"/>
              </a:cxn>
              <a:cxn ang="0">
                <a:pos x="78" y="18"/>
              </a:cxn>
              <a:cxn ang="0">
                <a:pos x="72" y="12"/>
              </a:cxn>
              <a:cxn ang="0">
                <a:pos x="66" y="8"/>
              </a:cxn>
              <a:cxn ang="0">
                <a:pos x="58" y="4"/>
              </a:cxn>
              <a:cxn ang="0">
                <a:pos x="50" y="0"/>
              </a:cxn>
              <a:cxn ang="0">
                <a:pos x="42" y="0"/>
              </a:cxn>
            </a:cxnLst>
            <a:rect l="0" t="0" r="r" b="b"/>
            <a:pathLst>
              <a:path w="86" h="86">
                <a:moveTo>
                  <a:pt x="42" y="0"/>
                </a:moveTo>
                <a:lnTo>
                  <a:pt x="42" y="0"/>
                </a:lnTo>
                <a:lnTo>
                  <a:pt x="34" y="0"/>
                </a:lnTo>
                <a:lnTo>
                  <a:pt x="26" y="4"/>
                </a:lnTo>
                <a:lnTo>
                  <a:pt x="18" y="8"/>
                </a:lnTo>
                <a:lnTo>
                  <a:pt x="12" y="12"/>
                </a:lnTo>
                <a:lnTo>
                  <a:pt x="6" y="18"/>
                </a:lnTo>
                <a:lnTo>
                  <a:pt x="2" y="26"/>
                </a:lnTo>
                <a:lnTo>
                  <a:pt x="0" y="34"/>
                </a:lnTo>
                <a:lnTo>
                  <a:pt x="0" y="42"/>
                </a:lnTo>
                <a:lnTo>
                  <a:pt x="0" y="42"/>
                </a:lnTo>
                <a:lnTo>
                  <a:pt x="0" y="52"/>
                </a:lnTo>
                <a:lnTo>
                  <a:pt x="2" y="60"/>
                </a:lnTo>
                <a:lnTo>
                  <a:pt x="6" y="66"/>
                </a:lnTo>
                <a:lnTo>
                  <a:pt x="12" y="74"/>
                </a:lnTo>
                <a:lnTo>
                  <a:pt x="18" y="78"/>
                </a:lnTo>
                <a:lnTo>
                  <a:pt x="26" y="82"/>
                </a:lnTo>
                <a:lnTo>
                  <a:pt x="34" y="84"/>
                </a:lnTo>
                <a:lnTo>
                  <a:pt x="42" y="86"/>
                </a:lnTo>
                <a:lnTo>
                  <a:pt x="42" y="86"/>
                </a:lnTo>
                <a:lnTo>
                  <a:pt x="50" y="84"/>
                </a:lnTo>
                <a:lnTo>
                  <a:pt x="58" y="82"/>
                </a:lnTo>
                <a:lnTo>
                  <a:pt x="66" y="78"/>
                </a:lnTo>
                <a:lnTo>
                  <a:pt x="72" y="74"/>
                </a:lnTo>
                <a:lnTo>
                  <a:pt x="78" y="66"/>
                </a:lnTo>
                <a:lnTo>
                  <a:pt x="82" y="60"/>
                </a:lnTo>
                <a:lnTo>
                  <a:pt x="84" y="52"/>
                </a:lnTo>
                <a:lnTo>
                  <a:pt x="86" y="42"/>
                </a:lnTo>
                <a:lnTo>
                  <a:pt x="86" y="42"/>
                </a:lnTo>
                <a:lnTo>
                  <a:pt x="84" y="34"/>
                </a:lnTo>
                <a:lnTo>
                  <a:pt x="82" y="26"/>
                </a:lnTo>
                <a:lnTo>
                  <a:pt x="78" y="18"/>
                </a:lnTo>
                <a:lnTo>
                  <a:pt x="72" y="12"/>
                </a:lnTo>
                <a:lnTo>
                  <a:pt x="66" y="8"/>
                </a:lnTo>
                <a:lnTo>
                  <a:pt x="58" y="4"/>
                </a:lnTo>
                <a:lnTo>
                  <a:pt x="50" y="0"/>
                </a:lnTo>
                <a:lnTo>
                  <a:pt x="4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285" name="Freeform 23"/>
          <p:cNvSpPr>
            <a:spLocks/>
          </p:cNvSpPr>
          <p:nvPr userDrawn="1"/>
        </p:nvSpPr>
        <p:spPr bwMode="auto">
          <a:xfrm>
            <a:off x="1144248" y="669841"/>
            <a:ext cx="169219" cy="159921"/>
          </a:xfrm>
          <a:custGeom>
            <a:avLst/>
            <a:gdLst/>
            <a:ahLst/>
            <a:cxnLst>
              <a:cxn ang="0">
                <a:pos x="42" y="0"/>
              </a:cxn>
              <a:cxn ang="0">
                <a:pos x="42" y="0"/>
              </a:cxn>
              <a:cxn ang="0">
                <a:pos x="34" y="0"/>
              </a:cxn>
              <a:cxn ang="0">
                <a:pos x="26" y="4"/>
              </a:cxn>
              <a:cxn ang="0">
                <a:pos x="18" y="8"/>
              </a:cxn>
              <a:cxn ang="0">
                <a:pos x="12" y="12"/>
              </a:cxn>
              <a:cxn ang="0">
                <a:pos x="6" y="18"/>
              </a:cxn>
              <a:cxn ang="0">
                <a:pos x="2" y="26"/>
              </a:cxn>
              <a:cxn ang="0">
                <a:pos x="0" y="34"/>
              </a:cxn>
              <a:cxn ang="0">
                <a:pos x="0" y="42"/>
              </a:cxn>
              <a:cxn ang="0">
                <a:pos x="0" y="42"/>
              </a:cxn>
              <a:cxn ang="0">
                <a:pos x="0" y="52"/>
              </a:cxn>
              <a:cxn ang="0">
                <a:pos x="2" y="60"/>
              </a:cxn>
              <a:cxn ang="0">
                <a:pos x="6" y="66"/>
              </a:cxn>
              <a:cxn ang="0">
                <a:pos x="12" y="74"/>
              </a:cxn>
              <a:cxn ang="0">
                <a:pos x="18" y="78"/>
              </a:cxn>
              <a:cxn ang="0">
                <a:pos x="26" y="82"/>
              </a:cxn>
              <a:cxn ang="0">
                <a:pos x="34" y="84"/>
              </a:cxn>
              <a:cxn ang="0">
                <a:pos x="42" y="86"/>
              </a:cxn>
              <a:cxn ang="0">
                <a:pos x="42" y="86"/>
              </a:cxn>
              <a:cxn ang="0">
                <a:pos x="50" y="84"/>
              </a:cxn>
              <a:cxn ang="0">
                <a:pos x="58" y="82"/>
              </a:cxn>
              <a:cxn ang="0">
                <a:pos x="66" y="78"/>
              </a:cxn>
              <a:cxn ang="0">
                <a:pos x="72" y="74"/>
              </a:cxn>
              <a:cxn ang="0">
                <a:pos x="78" y="66"/>
              </a:cxn>
              <a:cxn ang="0">
                <a:pos x="82" y="60"/>
              </a:cxn>
              <a:cxn ang="0">
                <a:pos x="84" y="52"/>
              </a:cxn>
              <a:cxn ang="0">
                <a:pos x="84" y="42"/>
              </a:cxn>
              <a:cxn ang="0">
                <a:pos x="84" y="42"/>
              </a:cxn>
              <a:cxn ang="0">
                <a:pos x="84" y="34"/>
              </a:cxn>
              <a:cxn ang="0">
                <a:pos x="82" y="26"/>
              </a:cxn>
              <a:cxn ang="0">
                <a:pos x="78" y="18"/>
              </a:cxn>
              <a:cxn ang="0">
                <a:pos x="72" y="12"/>
              </a:cxn>
              <a:cxn ang="0">
                <a:pos x="66" y="8"/>
              </a:cxn>
              <a:cxn ang="0">
                <a:pos x="58" y="4"/>
              </a:cxn>
              <a:cxn ang="0">
                <a:pos x="50" y="0"/>
              </a:cxn>
              <a:cxn ang="0">
                <a:pos x="42" y="0"/>
              </a:cxn>
            </a:cxnLst>
            <a:rect l="0" t="0" r="r" b="b"/>
            <a:pathLst>
              <a:path w="84" h="86">
                <a:moveTo>
                  <a:pt x="42" y="0"/>
                </a:moveTo>
                <a:lnTo>
                  <a:pt x="42" y="0"/>
                </a:lnTo>
                <a:lnTo>
                  <a:pt x="34" y="0"/>
                </a:lnTo>
                <a:lnTo>
                  <a:pt x="26" y="4"/>
                </a:lnTo>
                <a:lnTo>
                  <a:pt x="18" y="8"/>
                </a:lnTo>
                <a:lnTo>
                  <a:pt x="12" y="12"/>
                </a:lnTo>
                <a:lnTo>
                  <a:pt x="6" y="18"/>
                </a:lnTo>
                <a:lnTo>
                  <a:pt x="2" y="26"/>
                </a:lnTo>
                <a:lnTo>
                  <a:pt x="0" y="34"/>
                </a:lnTo>
                <a:lnTo>
                  <a:pt x="0" y="42"/>
                </a:lnTo>
                <a:lnTo>
                  <a:pt x="0" y="42"/>
                </a:lnTo>
                <a:lnTo>
                  <a:pt x="0" y="52"/>
                </a:lnTo>
                <a:lnTo>
                  <a:pt x="2" y="60"/>
                </a:lnTo>
                <a:lnTo>
                  <a:pt x="6" y="66"/>
                </a:lnTo>
                <a:lnTo>
                  <a:pt x="12" y="74"/>
                </a:lnTo>
                <a:lnTo>
                  <a:pt x="18" y="78"/>
                </a:lnTo>
                <a:lnTo>
                  <a:pt x="26" y="82"/>
                </a:lnTo>
                <a:lnTo>
                  <a:pt x="34" y="84"/>
                </a:lnTo>
                <a:lnTo>
                  <a:pt x="42" y="86"/>
                </a:lnTo>
                <a:lnTo>
                  <a:pt x="42" y="86"/>
                </a:lnTo>
                <a:lnTo>
                  <a:pt x="50" y="84"/>
                </a:lnTo>
                <a:lnTo>
                  <a:pt x="58" y="82"/>
                </a:lnTo>
                <a:lnTo>
                  <a:pt x="66" y="78"/>
                </a:lnTo>
                <a:lnTo>
                  <a:pt x="72" y="74"/>
                </a:lnTo>
                <a:lnTo>
                  <a:pt x="78" y="66"/>
                </a:lnTo>
                <a:lnTo>
                  <a:pt x="82" y="60"/>
                </a:lnTo>
                <a:lnTo>
                  <a:pt x="84" y="52"/>
                </a:lnTo>
                <a:lnTo>
                  <a:pt x="84" y="42"/>
                </a:lnTo>
                <a:lnTo>
                  <a:pt x="84" y="42"/>
                </a:lnTo>
                <a:lnTo>
                  <a:pt x="84" y="34"/>
                </a:lnTo>
                <a:lnTo>
                  <a:pt x="82" y="26"/>
                </a:lnTo>
                <a:lnTo>
                  <a:pt x="78" y="18"/>
                </a:lnTo>
                <a:lnTo>
                  <a:pt x="72" y="12"/>
                </a:lnTo>
                <a:lnTo>
                  <a:pt x="66" y="8"/>
                </a:lnTo>
                <a:lnTo>
                  <a:pt x="58" y="4"/>
                </a:lnTo>
                <a:lnTo>
                  <a:pt x="50" y="0"/>
                </a:lnTo>
                <a:lnTo>
                  <a:pt x="42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286" name="Freeform 25"/>
          <p:cNvSpPr>
            <a:spLocks/>
          </p:cNvSpPr>
          <p:nvPr userDrawn="1"/>
        </p:nvSpPr>
        <p:spPr bwMode="auto">
          <a:xfrm>
            <a:off x="394850" y="1447118"/>
            <a:ext cx="217567" cy="204550"/>
          </a:xfrm>
          <a:custGeom>
            <a:avLst/>
            <a:gdLst/>
            <a:ahLst/>
            <a:cxnLst>
              <a:cxn ang="0">
                <a:pos x="54" y="0"/>
              </a:cxn>
              <a:cxn ang="0">
                <a:pos x="54" y="0"/>
              </a:cxn>
              <a:cxn ang="0">
                <a:pos x="42" y="2"/>
              </a:cxn>
              <a:cxn ang="0">
                <a:pos x="32" y="4"/>
              </a:cxn>
              <a:cxn ang="0">
                <a:pos x="22" y="10"/>
              </a:cxn>
              <a:cxn ang="0">
                <a:pos x="14" y="16"/>
              </a:cxn>
              <a:cxn ang="0">
                <a:pos x="8" y="24"/>
              </a:cxn>
              <a:cxn ang="0">
                <a:pos x="4" y="34"/>
              </a:cxn>
              <a:cxn ang="0">
                <a:pos x="0" y="44"/>
              </a:cxn>
              <a:cxn ang="0">
                <a:pos x="0" y="54"/>
              </a:cxn>
              <a:cxn ang="0">
                <a:pos x="0" y="54"/>
              </a:cxn>
              <a:cxn ang="0">
                <a:pos x="0" y="66"/>
              </a:cxn>
              <a:cxn ang="0">
                <a:pos x="4" y="76"/>
              </a:cxn>
              <a:cxn ang="0">
                <a:pos x="8" y="86"/>
              </a:cxn>
              <a:cxn ang="0">
                <a:pos x="14" y="94"/>
              </a:cxn>
              <a:cxn ang="0">
                <a:pos x="22" y="100"/>
              </a:cxn>
              <a:cxn ang="0">
                <a:pos x="32" y="104"/>
              </a:cxn>
              <a:cxn ang="0">
                <a:pos x="42" y="108"/>
              </a:cxn>
              <a:cxn ang="0">
                <a:pos x="54" y="110"/>
              </a:cxn>
              <a:cxn ang="0">
                <a:pos x="54" y="110"/>
              </a:cxn>
              <a:cxn ang="0">
                <a:pos x="64" y="108"/>
              </a:cxn>
              <a:cxn ang="0">
                <a:pos x="74" y="104"/>
              </a:cxn>
              <a:cxn ang="0">
                <a:pos x="84" y="100"/>
              </a:cxn>
              <a:cxn ang="0">
                <a:pos x="92" y="94"/>
              </a:cxn>
              <a:cxn ang="0">
                <a:pos x="98" y="86"/>
              </a:cxn>
              <a:cxn ang="0">
                <a:pos x="104" y="76"/>
              </a:cxn>
              <a:cxn ang="0">
                <a:pos x="106" y="66"/>
              </a:cxn>
              <a:cxn ang="0">
                <a:pos x="108" y="54"/>
              </a:cxn>
              <a:cxn ang="0">
                <a:pos x="108" y="54"/>
              </a:cxn>
              <a:cxn ang="0">
                <a:pos x="106" y="44"/>
              </a:cxn>
              <a:cxn ang="0">
                <a:pos x="104" y="34"/>
              </a:cxn>
              <a:cxn ang="0">
                <a:pos x="98" y="24"/>
              </a:cxn>
              <a:cxn ang="0">
                <a:pos x="92" y="16"/>
              </a:cxn>
              <a:cxn ang="0">
                <a:pos x="84" y="10"/>
              </a:cxn>
              <a:cxn ang="0">
                <a:pos x="74" y="4"/>
              </a:cxn>
              <a:cxn ang="0">
                <a:pos x="64" y="2"/>
              </a:cxn>
              <a:cxn ang="0">
                <a:pos x="54" y="0"/>
              </a:cxn>
            </a:cxnLst>
            <a:rect l="0" t="0" r="r" b="b"/>
            <a:pathLst>
              <a:path w="108" h="110">
                <a:moveTo>
                  <a:pt x="54" y="0"/>
                </a:moveTo>
                <a:lnTo>
                  <a:pt x="54" y="0"/>
                </a:lnTo>
                <a:lnTo>
                  <a:pt x="42" y="2"/>
                </a:lnTo>
                <a:lnTo>
                  <a:pt x="32" y="4"/>
                </a:lnTo>
                <a:lnTo>
                  <a:pt x="22" y="10"/>
                </a:lnTo>
                <a:lnTo>
                  <a:pt x="14" y="16"/>
                </a:lnTo>
                <a:lnTo>
                  <a:pt x="8" y="24"/>
                </a:lnTo>
                <a:lnTo>
                  <a:pt x="4" y="34"/>
                </a:lnTo>
                <a:lnTo>
                  <a:pt x="0" y="44"/>
                </a:lnTo>
                <a:lnTo>
                  <a:pt x="0" y="54"/>
                </a:lnTo>
                <a:lnTo>
                  <a:pt x="0" y="54"/>
                </a:lnTo>
                <a:lnTo>
                  <a:pt x="0" y="66"/>
                </a:lnTo>
                <a:lnTo>
                  <a:pt x="4" y="76"/>
                </a:lnTo>
                <a:lnTo>
                  <a:pt x="8" y="86"/>
                </a:lnTo>
                <a:lnTo>
                  <a:pt x="14" y="94"/>
                </a:lnTo>
                <a:lnTo>
                  <a:pt x="22" y="100"/>
                </a:lnTo>
                <a:lnTo>
                  <a:pt x="32" y="104"/>
                </a:lnTo>
                <a:lnTo>
                  <a:pt x="42" y="108"/>
                </a:lnTo>
                <a:lnTo>
                  <a:pt x="54" y="110"/>
                </a:lnTo>
                <a:lnTo>
                  <a:pt x="54" y="110"/>
                </a:lnTo>
                <a:lnTo>
                  <a:pt x="64" y="108"/>
                </a:lnTo>
                <a:lnTo>
                  <a:pt x="74" y="104"/>
                </a:lnTo>
                <a:lnTo>
                  <a:pt x="84" y="100"/>
                </a:lnTo>
                <a:lnTo>
                  <a:pt x="92" y="94"/>
                </a:lnTo>
                <a:lnTo>
                  <a:pt x="98" y="86"/>
                </a:lnTo>
                <a:lnTo>
                  <a:pt x="104" y="76"/>
                </a:lnTo>
                <a:lnTo>
                  <a:pt x="106" y="66"/>
                </a:lnTo>
                <a:lnTo>
                  <a:pt x="108" y="54"/>
                </a:lnTo>
                <a:lnTo>
                  <a:pt x="108" y="54"/>
                </a:lnTo>
                <a:lnTo>
                  <a:pt x="106" y="44"/>
                </a:lnTo>
                <a:lnTo>
                  <a:pt x="104" y="34"/>
                </a:lnTo>
                <a:lnTo>
                  <a:pt x="98" y="24"/>
                </a:lnTo>
                <a:lnTo>
                  <a:pt x="92" y="16"/>
                </a:lnTo>
                <a:lnTo>
                  <a:pt x="84" y="10"/>
                </a:lnTo>
                <a:lnTo>
                  <a:pt x="74" y="4"/>
                </a:lnTo>
                <a:lnTo>
                  <a:pt x="64" y="2"/>
                </a:lnTo>
                <a:lnTo>
                  <a:pt x="54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287" name="Freeform 26"/>
          <p:cNvSpPr>
            <a:spLocks/>
          </p:cNvSpPr>
          <p:nvPr userDrawn="1"/>
        </p:nvSpPr>
        <p:spPr bwMode="auto">
          <a:xfrm>
            <a:off x="394850" y="1447118"/>
            <a:ext cx="217567" cy="204550"/>
          </a:xfrm>
          <a:custGeom>
            <a:avLst/>
            <a:gdLst/>
            <a:ahLst/>
            <a:cxnLst>
              <a:cxn ang="0">
                <a:pos x="54" y="0"/>
              </a:cxn>
              <a:cxn ang="0">
                <a:pos x="54" y="0"/>
              </a:cxn>
              <a:cxn ang="0">
                <a:pos x="42" y="2"/>
              </a:cxn>
              <a:cxn ang="0">
                <a:pos x="32" y="4"/>
              </a:cxn>
              <a:cxn ang="0">
                <a:pos x="22" y="10"/>
              </a:cxn>
              <a:cxn ang="0">
                <a:pos x="14" y="16"/>
              </a:cxn>
              <a:cxn ang="0">
                <a:pos x="8" y="24"/>
              </a:cxn>
              <a:cxn ang="0">
                <a:pos x="4" y="34"/>
              </a:cxn>
              <a:cxn ang="0">
                <a:pos x="0" y="44"/>
              </a:cxn>
              <a:cxn ang="0">
                <a:pos x="0" y="54"/>
              </a:cxn>
              <a:cxn ang="0">
                <a:pos x="0" y="54"/>
              </a:cxn>
              <a:cxn ang="0">
                <a:pos x="0" y="66"/>
              </a:cxn>
              <a:cxn ang="0">
                <a:pos x="4" y="76"/>
              </a:cxn>
              <a:cxn ang="0">
                <a:pos x="8" y="86"/>
              </a:cxn>
              <a:cxn ang="0">
                <a:pos x="14" y="94"/>
              </a:cxn>
              <a:cxn ang="0">
                <a:pos x="22" y="100"/>
              </a:cxn>
              <a:cxn ang="0">
                <a:pos x="32" y="104"/>
              </a:cxn>
              <a:cxn ang="0">
                <a:pos x="42" y="108"/>
              </a:cxn>
              <a:cxn ang="0">
                <a:pos x="54" y="110"/>
              </a:cxn>
              <a:cxn ang="0">
                <a:pos x="54" y="110"/>
              </a:cxn>
              <a:cxn ang="0">
                <a:pos x="64" y="108"/>
              </a:cxn>
              <a:cxn ang="0">
                <a:pos x="74" y="104"/>
              </a:cxn>
              <a:cxn ang="0">
                <a:pos x="84" y="100"/>
              </a:cxn>
              <a:cxn ang="0">
                <a:pos x="92" y="94"/>
              </a:cxn>
              <a:cxn ang="0">
                <a:pos x="98" y="86"/>
              </a:cxn>
              <a:cxn ang="0">
                <a:pos x="104" y="76"/>
              </a:cxn>
              <a:cxn ang="0">
                <a:pos x="106" y="66"/>
              </a:cxn>
              <a:cxn ang="0">
                <a:pos x="108" y="54"/>
              </a:cxn>
              <a:cxn ang="0">
                <a:pos x="108" y="54"/>
              </a:cxn>
              <a:cxn ang="0">
                <a:pos x="106" y="44"/>
              </a:cxn>
              <a:cxn ang="0">
                <a:pos x="104" y="34"/>
              </a:cxn>
              <a:cxn ang="0">
                <a:pos x="98" y="24"/>
              </a:cxn>
              <a:cxn ang="0">
                <a:pos x="92" y="16"/>
              </a:cxn>
              <a:cxn ang="0">
                <a:pos x="84" y="10"/>
              </a:cxn>
              <a:cxn ang="0">
                <a:pos x="74" y="4"/>
              </a:cxn>
              <a:cxn ang="0">
                <a:pos x="64" y="2"/>
              </a:cxn>
              <a:cxn ang="0">
                <a:pos x="54" y="0"/>
              </a:cxn>
            </a:cxnLst>
            <a:rect l="0" t="0" r="r" b="b"/>
            <a:pathLst>
              <a:path w="108" h="110">
                <a:moveTo>
                  <a:pt x="54" y="0"/>
                </a:moveTo>
                <a:lnTo>
                  <a:pt x="54" y="0"/>
                </a:lnTo>
                <a:lnTo>
                  <a:pt x="42" y="2"/>
                </a:lnTo>
                <a:lnTo>
                  <a:pt x="32" y="4"/>
                </a:lnTo>
                <a:lnTo>
                  <a:pt x="22" y="10"/>
                </a:lnTo>
                <a:lnTo>
                  <a:pt x="14" y="16"/>
                </a:lnTo>
                <a:lnTo>
                  <a:pt x="8" y="24"/>
                </a:lnTo>
                <a:lnTo>
                  <a:pt x="4" y="34"/>
                </a:lnTo>
                <a:lnTo>
                  <a:pt x="0" y="44"/>
                </a:lnTo>
                <a:lnTo>
                  <a:pt x="0" y="54"/>
                </a:lnTo>
                <a:lnTo>
                  <a:pt x="0" y="54"/>
                </a:lnTo>
                <a:lnTo>
                  <a:pt x="0" y="66"/>
                </a:lnTo>
                <a:lnTo>
                  <a:pt x="4" y="76"/>
                </a:lnTo>
                <a:lnTo>
                  <a:pt x="8" y="86"/>
                </a:lnTo>
                <a:lnTo>
                  <a:pt x="14" y="94"/>
                </a:lnTo>
                <a:lnTo>
                  <a:pt x="22" y="100"/>
                </a:lnTo>
                <a:lnTo>
                  <a:pt x="32" y="104"/>
                </a:lnTo>
                <a:lnTo>
                  <a:pt x="42" y="108"/>
                </a:lnTo>
                <a:lnTo>
                  <a:pt x="54" y="110"/>
                </a:lnTo>
                <a:lnTo>
                  <a:pt x="54" y="110"/>
                </a:lnTo>
                <a:lnTo>
                  <a:pt x="64" y="108"/>
                </a:lnTo>
                <a:lnTo>
                  <a:pt x="74" y="104"/>
                </a:lnTo>
                <a:lnTo>
                  <a:pt x="84" y="100"/>
                </a:lnTo>
                <a:lnTo>
                  <a:pt x="92" y="94"/>
                </a:lnTo>
                <a:lnTo>
                  <a:pt x="98" y="86"/>
                </a:lnTo>
                <a:lnTo>
                  <a:pt x="104" y="76"/>
                </a:lnTo>
                <a:lnTo>
                  <a:pt x="106" y="66"/>
                </a:lnTo>
                <a:lnTo>
                  <a:pt x="108" y="54"/>
                </a:lnTo>
                <a:lnTo>
                  <a:pt x="108" y="54"/>
                </a:lnTo>
                <a:lnTo>
                  <a:pt x="106" y="44"/>
                </a:lnTo>
                <a:lnTo>
                  <a:pt x="104" y="34"/>
                </a:lnTo>
                <a:lnTo>
                  <a:pt x="98" y="24"/>
                </a:lnTo>
                <a:lnTo>
                  <a:pt x="92" y="16"/>
                </a:lnTo>
                <a:lnTo>
                  <a:pt x="84" y="10"/>
                </a:lnTo>
                <a:lnTo>
                  <a:pt x="74" y="4"/>
                </a:lnTo>
                <a:lnTo>
                  <a:pt x="64" y="2"/>
                </a:lnTo>
                <a:lnTo>
                  <a:pt x="54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288" name="Freeform 27"/>
          <p:cNvSpPr>
            <a:spLocks/>
          </p:cNvSpPr>
          <p:nvPr userDrawn="1"/>
        </p:nvSpPr>
        <p:spPr bwMode="auto">
          <a:xfrm>
            <a:off x="717172" y="-222752"/>
            <a:ext cx="173247" cy="159921"/>
          </a:xfrm>
          <a:custGeom>
            <a:avLst/>
            <a:gdLst/>
            <a:ahLst/>
            <a:cxnLst>
              <a:cxn ang="0">
                <a:pos x="42" y="0"/>
              </a:cxn>
              <a:cxn ang="0">
                <a:pos x="42" y="0"/>
              </a:cxn>
              <a:cxn ang="0">
                <a:pos x="34" y="2"/>
              </a:cxn>
              <a:cxn ang="0">
                <a:pos x="26" y="4"/>
              </a:cxn>
              <a:cxn ang="0">
                <a:pos x="18" y="8"/>
              </a:cxn>
              <a:cxn ang="0">
                <a:pos x="12" y="14"/>
              </a:cxn>
              <a:cxn ang="0">
                <a:pos x="6" y="20"/>
              </a:cxn>
              <a:cxn ang="0">
                <a:pos x="2" y="26"/>
              </a:cxn>
              <a:cxn ang="0">
                <a:pos x="0" y="34"/>
              </a:cxn>
              <a:cxn ang="0">
                <a:pos x="0" y="44"/>
              </a:cxn>
              <a:cxn ang="0">
                <a:pos x="0" y="44"/>
              </a:cxn>
              <a:cxn ang="0">
                <a:pos x="0" y="52"/>
              </a:cxn>
              <a:cxn ang="0">
                <a:pos x="2" y="60"/>
              </a:cxn>
              <a:cxn ang="0">
                <a:pos x="6" y="68"/>
              </a:cxn>
              <a:cxn ang="0">
                <a:pos x="12" y="74"/>
              </a:cxn>
              <a:cxn ang="0">
                <a:pos x="18" y="80"/>
              </a:cxn>
              <a:cxn ang="0">
                <a:pos x="26" y="84"/>
              </a:cxn>
              <a:cxn ang="0">
                <a:pos x="34" y="86"/>
              </a:cxn>
              <a:cxn ang="0">
                <a:pos x="42" y="86"/>
              </a:cxn>
              <a:cxn ang="0">
                <a:pos x="42" y="86"/>
              </a:cxn>
              <a:cxn ang="0">
                <a:pos x="52" y="86"/>
              </a:cxn>
              <a:cxn ang="0">
                <a:pos x="60" y="84"/>
              </a:cxn>
              <a:cxn ang="0">
                <a:pos x="66" y="80"/>
              </a:cxn>
              <a:cxn ang="0">
                <a:pos x="72" y="74"/>
              </a:cxn>
              <a:cxn ang="0">
                <a:pos x="78" y="68"/>
              </a:cxn>
              <a:cxn ang="0">
                <a:pos x="82" y="60"/>
              </a:cxn>
              <a:cxn ang="0">
                <a:pos x="84" y="52"/>
              </a:cxn>
              <a:cxn ang="0">
                <a:pos x="86" y="44"/>
              </a:cxn>
              <a:cxn ang="0">
                <a:pos x="86" y="44"/>
              </a:cxn>
              <a:cxn ang="0">
                <a:pos x="84" y="34"/>
              </a:cxn>
              <a:cxn ang="0">
                <a:pos x="82" y="26"/>
              </a:cxn>
              <a:cxn ang="0">
                <a:pos x="78" y="20"/>
              </a:cxn>
              <a:cxn ang="0">
                <a:pos x="72" y="14"/>
              </a:cxn>
              <a:cxn ang="0">
                <a:pos x="66" y="8"/>
              </a:cxn>
              <a:cxn ang="0">
                <a:pos x="60" y="4"/>
              </a:cxn>
              <a:cxn ang="0">
                <a:pos x="52" y="2"/>
              </a:cxn>
              <a:cxn ang="0">
                <a:pos x="42" y="0"/>
              </a:cxn>
            </a:cxnLst>
            <a:rect l="0" t="0" r="r" b="b"/>
            <a:pathLst>
              <a:path w="86" h="86">
                <a:moveTo>
                  <a:pt x="42" y="0"/>
                </a:moveTo>
                <a:lnTo>
                  <a:pt x="42" y="0"/>
                </a:lnTo>
                <a:lnTo>
                  <a:pt x="34" y="2"/>
                </a:lnTo>
                <a:lnTo>
                  <a:pt x="26" y="4"/>
                </a:lnTo>
                <a:lnTo>
                  <a:pt x="18" y="8"/>
                </a:lnTo>
                <a:lnTo>
                  <a:pt x="12" y="14"/>
                </a:lnTo>
                <a:lnTo>
                  <a:pt x="6" y="20"/>
                </a:lnTo>
                <a:lnTo>
                  <a:pt x="2" y="26"/>
                </a:lnTo>
                <a:lnTo>
                  <a:pt x="0" y="34"/>
                </a:lnTo>
                <a:lnTo>
                  <a:pt x="0" y="44"/>
                </a:lnTo>
                <a:lnTo>
                  <a:pt x="0" y="44"/>
                </a:lnTo>
                <a:lnTo>
                  <a:pt x="0" y="52"/>
                </a:lnTo>
                <a:lnTo>
                  <a:pt x="2" y="60"/>
                </a:lnTo>
                <a:lnTo>
                  <a:pt x="6" y="68"/>
                </a:lnTo>
                <a:lnTo>
                  <a:pt x="12" y="74"/>
                </a:lnTo>
                <a:lnTo>
                  <a:pt x="18" y="80"/>
                </a:lnTo>
                <a:lnTo>
                  <a:pt x="26" y="84"/>
                </a:lnTo>
                <a:lnTo>
                  <a:pt x="34" y="86"/>
                </a:lnTo>
                <a:lnTo>
                  <a:pt x="42" y="86"/>
                </a:lnTo>
                <a:lnTo>
                  <a:pt x="42" y="86"/>
                </a:lnTo>
                <a:lnTo>
                  <a:pt x="52" y="86"/>
                </a:lnTo>
                <a:lnTo>
                  <a:pt x="60" y="84"/>
                </a:lnTo>
                <a:lnTo>
                  <a:pt x="66" y="80"/>
                </a:lnTo>
                <a:lnTo>
                  <a:pt x="72" y="74"/>
                </a:lnTo>
                <a:lnTo>
                  <a:pt x="78" y="68"/>
                </a:lnTo>
                <a:lnTo>
                  <a:pt x="82" y="60"/>
                </a:lnTo>
                <a:lnTo>
                  <a:pt x="84" y="52"/>
                </a:lnTo>
                <a:lnTo>
                  <a:pt x="86" y="44"/>
                </a:lnTo>
                <a:lnTo>
                  <a:pt x="86" y="44"/>
                </a:lnTo>
                <a:lnTo>
                  <a:pt x="84" y="34"/>
                </a:lnTo>
                <a:lnTo>
                  <a:pt x="82" y="26"/>
                </a:lnTo>
                <a:lnTo>
                  <a:pt x="78" y="20"/>
                </a:lnTo>
                <a:lnTo>
                  <a:pt x="72" y="14"/>
                </a:lnTo>
                <a:lnTo>
                  <a:pt x="66" y="8"/>
                </a:lnTo>
                <a:lnTo>
                  <a:pt x="60" y="4"/>
                </a:lnTo>
                <a:lnTo>
                  <a:pt x="52" y="2"/>
                </a:lnTo>
                <a:lnTo>
                  <a:pt x="42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289" name="Freeform 28"/>
          <p:cNvSpPr>
            <a:spLocks/>
          </p:cNvSpPr>
          <p:nvPr userDrawn="1"/>
        </p:nvSpPr>
        <p:spPr bwMode="auto">
          <a:xfrm>
            <a:off x="717172" y="-222752"/>
            <a:ext cx="173247" cy="159921"/>
          </a:xfrm>
          <a:custGeom>
            <a:avLst/>
            <a:gdLst/>
            <a:ahLst/>
            <a:cxnLst>
              <a:cxn ang="0">
                <a:pos x="42" y="0"/>
              </a:cxn>
              <a:cxn ang="0">
                <a:pos x="42" y="0"/>
              </a:cxn>
              <a:cxn ang="0">
                <a:pos x="34" y="2"/>
              </a:cxn>
              <a:cxn ang="0">
                <a:pos x="26" y="4"/>
              </a:cxn>
              <a:cxn ang="0">
                <a:pos x="18" y="8"/>
              </a:cxn>
              <a:cxn ang="0">
                <a:pos x="12" y="14"/>
              </a:cxn>
              <a:cxn ang="0">
                <a:pos x="6" y="20"/>
              </a:cxn>
              <a:cxn ang="0">
                <a:pos x="2" y="26"/>
              </a:cxn>
              <a:cxn ang="0">
                <a:pos x="0" y="34"/>
              </a:cxn>
              <a:cxn ang="0">
                <a:pos x="0" y="44"/>
              </a:cxn>
              <a:cxn ang="0">
                <a:pos x="0" y="44"/>
              </a:cxn>
              <a:cxn ang="0">
                <a:pos x="0" y="52"/>
              </a:cxn>
              <a:cxn ang="0">
                <a:pos x="2" y="60"/>
              </a:cxn>
              <a:cxn ang="0">
                <a:pos x="6" y="68"/>
              </a:cxn>
              <a:cxn ang="0">
                <a:pos x="12" y="74"/>
              </a:cxn>
              <a:cxn ang="0">
                <a:pos x="18" y="80"/>
              </a:cxn>
              <a:cxn ang="0">
                <a:pos x="26" y="84"/>
              </a:cxn>
              <a:cxn ang="0">
                <a:pos x="34" y="86"/>
              </a:cxn>
              <a:cxn ang="0">
                <a:pos x="42" y="86"/>
              </a:cxn>
              <a:cxn ang="0">
                <a:pos x="42" y="86"/>
              </a:cxn>
              <a:cxn ang="0">
                <a:pos x="52" y="86"/>
              </a:cxn>
              <a:cxn ang="0">
                <a:pos x="60" y="84"/>
              </a:cxn>
              <a:cxn ang="0">
                <a:pos x="66" y="80"/>
              </a:cxn>
              <a:cxn ang="0">
                <a:pos x="72" y="74"/>
              </a:cxn>
              <a:cxn ang="0">
                <a:pos x="78" y="68"/>
              </a:cxn>
              <a:cxn ang="0">
                <a:pos x="82" y="60"/>
              </a:cxn>
              <a:cxn ang="0">
                <a:pos x="84" y="52"/>
              </a:cxn>
              <a:cxn ang="0">
                <a:pos x="86" y="44"/>
              </a:cxn>
              <a:cxn ang="0">
                <a:pos x="86" y="44"/>
              </a:cxn>
              <a:cxn ang="0">
                <a:pos x="84" y="34"/>
              </a:cxn>
              <a:cxn ang="0">
                <a:pos x="82" y="26"/>
              </a:cxn>
              <a:cxn ang="0">
                <a:pos x="78" y="20"/>
              </a:cxn>
              <a:cxn ang="0">
                <a:pos x="72" y="14"/>
              </a:cxn>
              <a:cxn ang="0">
                <a:pos x="66" y="8"/>
              </a:cxn>
              <a:cxn ang="0">
                <a:pos x="60" y="4"/>
              </a:cxn>
              <a:cxn ang="0">
                <a:pos x="52" y="2"/>
              </a:cxn>
              <a:cxn ang="0">
                <a:pos x="42" y="0"/>
              </a:cxn>
            </a:cxnLst>
            <a:rect l="0" t="0" r="r" b="b"/>
            <a:pathLst>
              <a:path w="86" h="86">
                <a:moveTo>
                  <a:pt x="42" y="0"/>
                </a:moveTo>
                <a:lnTo>
                  <a:pt x="42" y="0"/>
                </a:lnTo>
                <a:lnTo>
                  <a:pt x="34" y="2"/>
                </a:lnTo>
                <a:lnTo>
                  <a:pt x="26" y="4"/>
                </a:lnTo>
                <a:lnTo>
                  <a:pt x="18" y="8"/>
                </a:lnTo>
                <a:lnTo>
                  <a:pt x="12" y="14"/>
                </a:lnTo>
                <a:lnTo>
                  <a:pt x="6" y="20"/>
                </a:lnTo>
                <a:lnTo>
                  <a:pt x="2" y="26"/>
                </a:lnTo>
                <a:lnTo>
                  <a:pt x="0" y="34"/>
                </a:lnTo>
                <a:lnTo>
                  <a:pt x="0" y="44"/>
                </a:lnTo>
                <a:lnTo>
                  <a:pt x="0" y="44"/>
                </a:lnTo>
                <a:lnTo>
                  <a:pt x="0" y="52"/>
                </a:lnTo>
                <a:lnTo>
                  <a:pt x="2" y="60"/>
                </a:lnTo>
                <a:lnTo>
                  <a:pt x="6" y="68"/>
                </a:lnTo>
                <a:lnTo>
                  <a:pt x="12" y="74"/>
                </a:lnTo>
                <a:lnTo>
                  <a:pt x="18" y="80"/>
                </a:lnTo>
                <a:lnTo>
                  <a:pt x="26" y="84"/>
                </a:lnTo>
                <a:lnTo>
                  <a:pt x="34" y="86"/>
                </a:lnTo>
                <a:lnTo>
                  <a:pt x="42" y="86"/>
                </a:lnTo>
                <a:lnTo>
                  <a:pt x="42" y="86"/>
                </a:lnTo>
                <a:lnTo>
                  <a:pt x="52" y="86"/>
                </a:lnTo>
                <a:lnTo>
                  <a:pt x="60" y="84"/>
                </a:lnTo>
                <a:lnTo>
                  <a:pt x="66" y="80"/>
                </a:lnTo>
                <a:lnTo>
                  <a:pt x="72" y="74"/>
                </a:lnTo>
                <a:lnTo>
                  <a:pt x="78" y="68"/>
                </a:lnTo>
                <a:lnTo>
                  <a:pt x="82" y="60"/>
                </a:lnTo>
                <a:lnTo>
                  <a:pt x="84" y="52"/>
                </a:lnTo>
                <a:lnTo>
                  <a:pt x="86" y="44"/>
                </a:lnTo>
                <a:lnTo>
                  <a:pt x="86" y="44"/>
                </a:lnTo>
                <a:lnTo>
                  <a:pt x="84" y="34"/>
                </a:lnTo>
                <a:lnTo>
                  <a:pt x="82" y="26"/>
                </a:lnTo>
                <a:lnTo>
                  <a:pt x="78" y="20"/>
                </a:lnTo>
                <a:lnTo>
                  <a:pt x="72" y="14"/>
                </a:lnTo>
                <a:lnTo>
                  <a:pt x="66" y="8"/>
                </a:lnTo>
                <a:lnTo>
                  <a:pt x="60" y="4"/>
                </a:lnTo>
                <a:lnTo>
                  <a:pt x="52" y="2"/>
                </a:lnTo>
                <a:lnTo>
                  <a:pt x="4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290" name="Freeform 29"/>
          <p:cNvSpPr>
            <a:spLocks/>
          </p:cNvSpPr>
          <p:nvPr userDrawn="1"/>
        </p:nvSpPr>
        <p:spPr bwMode="auto">
          <a:xfrm>
            <a:off x="3460929" y="1409940"/>
            <a:ext cx="173247" cy="159921"/>
          </a:xfrm>
          <a:custGeom>
            <a:avLst/>
            <a:gdLst/>
            <a:ahLst/>
            <a:cxnLst>
              <a:cxn ang="0">
                <a:pos x="42" y="0"/>
              </a:cxn>
              <a:cxn ang="0">
                <a:pos x="42" y="0"/>
              </a:cxn>
              <a:cxn ang="0">
                <a:pos x="34" y="2"/>
              </a:cxn>
              <a:cxn ang="0">
                <a:pos x="26" y="4"/>
              </a:cxn>
              <a:cxn ang="0">
                <a:pos x="18" y="8"/>
              </a:cxn>
              <a:cxn ang="0">
                <a:pos x="12" y="14"/>
              </a:cxn>
              <a:cxn ang="0">
                <a:pos x="6" y="20"/>
              </a:cxn>
              <a:cxn ang="0">
                <a:pos x="2" y="28"/>
              </a:cxn>
              <a:cxn ang="0">
                <a:pos x="0" y="36"/>
              </a:cxn>
              <a:cxn ang="0">
                <a:pos x="0" y="44"/>
              </a:cxn>
              <a:cxn ang="0">
                <a:pos x="0" y="44"/>
              </a:cxn>
              <a:cxn ang="0">
                <a:pos x="0" y="52"/>
              </a:cxn>
              <a:cxn ang="0">
                <a:pos x="2" y="60"/>
              </a:cxn>
              <a:cxn ang="0">
                <a:pos x="6" y="68"/>
              </a:cxn>
              <a:cxn ang="0">
                <a:pos x="12" y="74"/>
              </a:cxn>
              <a:cxn ang="0">
                <a:pos x="18" y="80"/>
              </a:cxn>
              <a:cxn ang="0">
                <a:pos x="26" y="84"/>
              </a:cxn>
              <a:cxn ang="0">
                <a:pos x="34" y="86"/>
              </a:cxn>
              <a:cxn ang="0">
                <a:pos x="42" y="86"/>
              </a:cxn>
              <a:cxn ang="0">
                <a:pos x="42" y="86"/>
              </a:cxn>
              <a:cxn ang="0">
                <a:pos x="52" y="86"/>
              </a:cxn>
              <a:cxn ang="0">
                <a:pos x="60" y="84"/>
              </a:cxn>
              <a:cxn ang="0">
                <a:pos x="66" y="80"/>
              </a:cxn>
              <a:cxn ang="0">
                <a:pos x="72" y="74"/>
              </a:cxn>
              <a:cxn ang="0">
                <a:pos x="78" y="68"/>
              </a:cxn>
              <a:cxn ang="0">
                <a:pos x="82" y="60"/>
              </a:cxn>
              <a:cxn ang="0">
                <a:pos x="84" y="52"/>
              </a:cxn>
              <a:cxn ang="0">
                <a:pos x="86" y="44"/>
              </a:cxn>
              <a:cxn ang="0">
                <a:pos x="86" y="44"/>
              </a:cxn>
              <a:cxn ang="0">
                <a:pos x="84" y="36"/>
              </a:cxn>
              <a:cxn ang="0">
                <a:pos x="82" y="28"/>
              </a:cxn>
              <a:cxn ang="0">
                <a:pos x="78" y="20"/>
              </a:cxn>
              <a:cxn ang="0">
                <a:pos x="72" y="14"/>
              </a:cxn>
              <a:cxn ang="0">
                <a:pos x="66" y="8"/>
              </a:cxn>
              <a:cxn ang="0">
                <a:pos x="60" y="4"/>
              </a:cxn>
              <a:cxn ang="0">
                <a:pos x="52" y="2"/>
              </a:cxn>
              <a:cxn ang="0">
                <a:pos x="42" y="0"/>
              </a:cxn>
            </a:cxnLst>
            <a:rect l="0" t="0" r="r" b="b"/>
            <a:pathLst>
              <a:path w="86" h="86">
                <a:moveTo>
                  <a:pt x="42" y="0"/>
                </a:moveTo>
                <a:lnTo>
                  <a:pt x="42" y="0"/>
                </a:lnTo>
                <a:lnTo>
                  <a:pt x="34" y="2"/>
                </a:lnTo>
                <a:lnTo>
                  <a:pt x="26" y="4"/>
                </a:lnTo>
                <a:lnTo>
                  <a:pt x="18" y="8"/>
                </a:lnTo>
                <a:lnTo>
                  <a:pt x="12" y="14"/>
                </a:lnTo>
                <a:lnTo>
                  <a:pt x="6" y="20"/>
                </a:lnTo>
                <a:lnTo>
                  <a:pt x="2" y="28"/>
                </a:lnTo>
                <a:lnTo>
                  <a:pt x="0" y="36"/>
                </a:lnTo>
                <a:lnTo>
                  <a:pt x="0" y="44"/>
                </a:lnTo>
                <a:lnTo>
                  <a:pt x="0" y="44"/>
                </a:lnTo>
                <a:lnTo>
                  <a:pt x="0" y="52"/>
                </a:lnTo>
                <a:lnTo>
                  <a:pt x="2" y="60"/>
                </a:lnTo>
                <a:lnTo>
                  <a:pt x="6" y="68"/>
                </a:lnTo>
                <a:lnTo>
                  <a:pt x="12" y="74"/>
                </a:lnTo>
                <a:lnTo>
                  <a:pt x="18" y="80"/>
                </a:lnTo>
                <a:lnTo>
                  <a:pt x="26" y="84"/>
                </a:lnTo>
                <a:lnTo>
                  <a:pt x="34" y="86"/>
                </a:lnTo>
                <a:lnTo>
                  <a:pt x="42" y="86"/>
                </a:lnTo>
                <a:lnTo>
                  <a:pt x="42" y="86"/>
                </a:lnTo>
                <a:lnTo>
                  <a:pt x="52" y="86"/>
                </a:lnTo>
                <a:lnTo>
                  <a:pt x="60" y="84"/>
                </a:lnTo>
                <a:lnTo>
                  <a:pt x="66" y="80"/>
                </a:lnTo>
                <a:lnTo>
                  <a:pt x="72" y="74"/>
                </a:lnTo>
                <a:lnTo>
                  <a:pt x="78" y="68"/>
                </a:lnTo>
                <a:lnTo>
                  <a:pt x="82" y="60"/>
                </a:lnTo>
                <a:lnTo>
                  <a:pt x="84" y="52"/>
                </a:lnTo>
                <a:lnTo>
                  <a:pt x="86" y="44"/>
                </a:lnTo>
                <a:lnTo>
                  <a:pt x="86" y="44"/>
                </a:lnTo>
                <a:lnTo>
                  <a:pt x="84" y="36"/>
                </a:lnTo>
                <a:lnTo>
                  <a:pt x="82" y="28"/>
                </a:lnTo>
                <a:lnTo>
                  <a:pt x="78" y="20"/>
                </a:lnTo>
                <a:lnTo>
                  <a:pt x="72" y="14"/>
                </a:lnTo>
                <a:lnTo>
                  <a:pt x="66" y="8"/>
                </a:lnTo>
                <a:lnTo>
                  <a:pt x="60" y="4"/>
                </a:lnTo>
                <a:lnTo>
                  <a:pt x="52" y="2"/>
                </a:lnTo>
                <a:lnTo>
                  <a:pt x="42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291" name="Freeform 30"/>
          <p:cNvSpPr>
            <a:spLocks/>
          </p:cNvSpPr>
          <p:nvPr userDrawn="1"/>
        </p:nvSpPr>
        <p:spPr bwMode="auto">
          <a:xfrm>
            <a:off x="3460929" y="1409940"/>
            <a:ext cx="173247" cy="159921"/>
          </a:xfrm>
          <a:custGeom>
            <a:avLst/>
            <a:gdLst/>
            <a:ahLst/>
            <a:cxnLst>
              <a:cxn ang="0">
                <a:pos x="42" y="0"/>
              </a:cxn>
              <a:cxn ang="0">
                <a:pos x="42" y="0"/>
              </a:cxn>
              <a:cxn ang="0">
                <a:pos x="34" y="2"/>
              </a:cxn>
              <a:cxn ang="0">
                <a:pos x="26" y="4"/>
              </a:cxn>
              <a:cxn ang="0">
                <a:pos x="18" y="8"/>
              </a:cxn>
              <a:cxn ang="0">
                <a:pos x="12" y="14"/>
              </a:cxn>
              <a:cxn ang="0">
                <a:pos x="6" y="20"/>
              </a:cxn>
              <a:cxn ang="0">
                <a:pos x="2" y="28"/>
              </a:cxn>
              <a:cxn ang="0">
                <a:pos x="0" y="36"/>
              </a:cxn>
              <a:cxn ang="0">
                <a:pos x="0" y="44"/>
              </a:cxn>
              <a:cxn ang="0">
                <a:pos x="0" y="44"/>
              </a:cxn>
              <a:cxn ang="0">
                <a:pos x="0" y="52"/>
              </a:cxn>
              <a:cxn ang="0">
                <a:pos x="2" y="60"/>
              </a:cxn>
              <a:cxn ang="0">
                <a:pos x="6" y="68"/>
              </a:cxn>
              <a:cxn ang="0">
                <a:pos x="12" y="74"/>
              </a:cxn>
              <a:cxn ang="0">
                <a:pos x="18" y="80"/>
              </a:cxn>
              <a:cxn ang="0">
                <a:pos x="26" y="84"/>
              </a:cxn>
              <a:cxn ang="0">
                <a:pos x="34" y="86"/>
              </a:cxn>
              <a:cxn ang="0">
                <a:pos x="42" y="86"/>
              </a:cxn>
              <a:cxn ang="0">
                <a:pos x="42" y="86"/>
              </a:cxn>
              <a:cxn ang="0">
                <a:pos x="52" y="86"/>
              </a:cxn>
              <a:cxn ang="0">
                <a:pos x="60" y="84"/>
              </a:cxn>
              <a:cxn ang="0">
                <a:pos x="66" y="80"/>
              </a:cxn>
              <a:cxn ang="0">
                <a:pos x="72" y="74"/>
              </a:cxn>
              <a:cxn ang="0">
                <a:pos x="78" y="68"/>
              </a:cxn>
              <a:cxn ang="0">
                <a:pos x="82" y="60"/>
              </a:cxn>
              <a:cxn ang="0">
                <a:pos x="84" y="52"/>
              </a:cxn>
              <a:cxn ang="0">
                <a:pos x="86" y="44"/>
              </a:cxn>
              <a:cxn ang="0">
                <a:pos x="86" y="44"/>
              </a:cxn>
              <a:cxn ang="0">
                <a:pos x="84" y="36"/>
              </a:cxn>
              <a:cxn ang="0">
                <a:pos x="82" y="28"/>
              </a:cxn>
              <a:cxn ang="0">
                <a:pos x="78" y="20"/>
              </a:cxn>
              <a:cxn ang="0">
                <a:pos x="72" y="14"/>
              </a:cxn>
              <a:cxn ang="0">
                <a:pos x="66" y="8"/>
              </a:cxn>
              <a:cxn ang="0">
                <a:pos x="60" y="4"/>
              </a:cxn>
              <a:cxn ang="0">
                <a:pos x="52" y="2"/>
              </a:cxn>
              <a:cxn ang="0">
                <a:pos x="42" y="0"/>
              </a:cxn>
            </a:cxnLst>
            <a:rect l="0" t="0" r="r" b="b"/>
            <a:pathLst>
              <a:path w="86" h="86">
                <a:moveTo>
                  <a:pt x="42" y="0"/>
                </a:moveTo>
                <a:lnTo>
                  <a:pt x="42" y="0"/>
                </a:lnTo>
                <a:lnTo>
                  <a:pt x="34" y="2"/>
                </a:lnTo>
                <a:lnTo>
                  <a:pt x="26" y="4"/>
                </a:lnTo>
                <a:lnTo>
                  <a:pt x="18" y="8"/>
                </a:lnTo>
                <a:lnTo>
                  <a:pt x="12" y="14"/>
                </a:lnTo>
                <a:lnTo>
                  <a:pt x="6" y="20"/>
                </a:lnTo>
                <a:lnTo>
                  <a:pt x="2" y="28"/>
                </a:lnTo>
                <a:lnTo>
                  <a:pt x="0" y="36"/>
                </a:lnTo>
                <a:lnTo>
                  <a:pt x="0" y="44"/>
                </a:lnTo>
                <a:lnTo>
                  <a:pt x="0" y="44"/>
                </a:lnTo>
                <a:lnTo>
                  <a:pt x="0" y="52"/>
                </a:lnTo>
                <a:lnTo>
                  <a:pt x="2" y="60"/>
                </a:lnTo>
                <a:lnTo>
                  <a:pt x="6" y="68"/>
                </a:lnTo>
                <a:lnTo>
                  <a:pt x="12" y="74"/>
                </a:lnTo>
                <a:lnTo>
                  <a:pt x="18" y="80"/>
                </a:lnTo>
                <a:lnTo>
                  <a:pt x="26" y="84"/>
                </a:lnTo>
                <a:lnTo>
                  <a:pt x="34" y="86"/>
                </a:lnTo>
                <a:lnTo>
                  <a:pt x="42" y="86"/>
                </a:lnTo>
                <a:lnTo>
                  <a:pt x="42" y="86"/>
                </a:lnTo>
                <a:lnTo>
                  <a:pt x="52" y="86"/>
                </a:lnTo>
                <a:lnTo>
                  <a:pt x="60" y="84"/>
                </a:lnTo>
                <a:lnTo>
                  <a:pt x="66" y="80"/>
                </a:lnTo>
                <a:lnTo>
                  <a:pt x="72" y="74"/>
                </a:lnTo>
                <a:lnTo>
                  <a:pt x="78" y="68"/>
                </a:lnTo>
                <a:lnTo>
                  <a:pt x="82" y="60"/>
                </a:lnTo>
                <a:lnTo>
                  <a:pt x="84" y="52"/>
                </a:lnTo>
                <a:lnTo>
                  <a:pt x="86" y="44"/>
                </a:lnTo>
                <a:lnTo>
                  <a:pt x="86" y="44"/>
                </a:lnTo>
                <a:lnTo>
                  <a:pt x="84" y="36"/>
                </a:lnTo>
                <a:lnTo>
                  <a:pt x="82" y="28"/>
                </a:lnTo>
                <a:lnTo>
                  <a:pt x="78" y="20"/>
                </a:lnTo>
                <a:lnTo>
                  <a:pt x="72" y="14"/>
                </a:lnTo>
                <a:lnTo>
                  <a:pt x="66" y="8"/>
                </a:lnTo>
                <a:lnTo>
                  <a:pt x="60" y="4"/>
                </a:lnTo>
                <a:lnTo>
                  <a:pt x="52" y="2"/>
                </a:lnTo>
                <a:lnTo>
                  <a:pt x="42" y="0"/>
                </a:lnTo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292" name="Freeform 31"/>
          <p:cNvSpPr>
            <a:spLocks/>
          </p:cNvSpPr>
          <p:nvPr userDrawn="1"/>
        </p:nvSpPr>
        <p:spPr bwMode="auto">
          <a:xfrm>
            <a:off x="1357779" y="93368"/>
            <a:ext cx="108784" cy="100416"/>
          </a:xfrm>
          <a:custGeom>
            <a:avLst/>
            <a:gdLst/>
            <a:ahLst/>
            <a:cxnLst>
              <a:cxn ang="0">
                <a:pos x="26" y="0"/>
              </a:cxn>
              <a:cxn ang="0">
                <a:pos x="26" y="0"/>
              </a:cxn>
              <a:cxn ang="0">
                <a:pos x="16" y="2"/>
              </a:cxn>
              <a:cxn ang="0">
                <a:pos x="8" y="8"/>
              </a:cxn>
              <a:cxn ang="0">
                <a:pos x="2" y="16"/>
              </a:cxn>
              <a:cxn ang="0">
                <a:pos x="0" y="26"/>
              </a:cxn>
              <a:cxn ang="0">
                <a:pos x="0" y="26"/>
              </a:cxn>
              <a:cxn ang="0">
                <a:pos x="2" y="36"/>
              </a:cxn>
              <a:cxn ang="0">
                <a:pos x="8" y="46"/>
              </a:cxn>
              <a:cxn ang="0">
                <a:pos x="16" y="50"/>
              </a:cxn>
              <a:cxn ang="0">
                <a:pos x="26" y="54"/>
              </a:cxn>
              <a:cxn ang="0">
                <a:pos x="26" y="54"/>
              </a:cxn>
              <a:cxn ang="0">
                <a:pos x="36" y="50"/>
              </a:cxn>
              <a:cxn ang="0">
                <a:pos x="46" y="46"/>
              </a:cxn>
              <a:cxn ang="0">
                <a:pos x="52" y="36"/>
              </a:cxn>
              <a:cxn ang="0">
                <a:pos x="54" y="26"/>
              </a:cxn>
              <a:cxn ang="0">
                <a:pos x="54" y="26"/>
              </a:cxn>
              <a:cxn ang="0">
                <a:pos x="52" y="16"/>
              </a:cxn>
              <a:cxn ang="0">
                <a:pos x="46" y="8"/>
              </a:cxn>
              <a:cxn ang="0">
                <a:pos x="36" y="2"/>
              </a:cxn>
              <a:cxn ang="0">
                <a:pos x="26" y="0"/>
              </a:cxn>
            </a:cxnLst>
            <a:rect l="0" t="0" r="r" b="b"/>
            <a:pathLst>
              <a:path w="54" h="54">
                <a:moveTo>
                  <a:pt x="26" y="0"/>
                </a:moveTo>
                <a:lnTo>
                  <a:pt x="26" y="0"/>
                </a:lnTo>
                <a:lnTo>
                  <a:pt x="16" y="2"/>
                </a:lnTo>
                <a:lnTo>
                  <a:pt x="8" y="8"/>
                </a:lnTo>
                <a:lnTo>
                  <a:pt x="2" y="16"/>
                </a:lnTo>
                <a:lnTo>
                  <a:pt x="0" y="26"/>
                </a:lnTo>
                <a:lnTo>
                  <a:pt x="0" y="26"/>
                </a:lnTo>
                <a:lnTo>
                  <a:pt x="2" y="36"/>
                </a:lnTo>
                <a:lnTo>
                  <a:pt x="8" y="46"/>
                </a:lnTo>
                <a:lnTo>
                  <a:pt x="16" y="50"/>
                </a:lnTo>
                <a:lnTo>
                  <a:pt x="26" y="54"/>
                </a:lnTo>
                <a:lnTo>
                  <a:pt x="26" y="54"/>
                </a:lnTo>
                <a:lnTo>
                  <a:pt x="36" y="50"/>
                </a:lnTo>
                <a:lnTo>
                  <a:pt x="46" y="46"/>
                </a:lnTo>
                <a:lnTo>
                  <a:pt x="52" y="36"/>
                </a:lnTo>
                <a:lnTo>
                  <a:pt x="54" y="26"/>
                </a:lnTo>
                <a:lnTo>
                  <a:pt x="54" y="26"/>
                </a:lnTo>
                <a:lnTo>
                  <a:pt x="52" y="16"/>
                </a:lnTo>
                <a:lnTo>
                  <a:pt x="46" y="8"/>
                </a:lnTo>
                <a:lnTo>
                  <a:pt x="36" y="2"/>
                </a:lnTo>
                <a:lnTo>
                  <a:pt x="26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293" name="Freeform 32"/>
          <p:cNvSpPr>
            <a:spLocks/>
          </p:cNvSpPr>
          <p:nvPr userDrawn="1"/>
        </p:nvSpPr>
        <p:spPr bwMode="auto">
          <a:xfrm>
            <a:off x="1357779" y="93368"/>
            <a:ext cx="108784" cy="100416"/>
          </a:xfrm>
          <a:custGeom>
            <a:avLst/>
            <a:gdLst/>
            <a:ahLst/>
            <a:cxnLst>
              <a:cxn ang="0">
                <a:pos x="26" y="0"/>
              </a:cxn>
              <a:cxn ang="0">
                <a:pos x="26" y="0"/>
              </a:cxn>
              <a:cxn ang="0">
                <a:pos x="16" y="2"/>
              </a:cxn>
              <a:cxn ang="0">
                <a:pos x="8" y="8"/>
              </a:cxn>
              <a:cxn ang="0">
                <a:pos x="2" y="16"/>
              </a:cxn>
              <a:cxn ang="0">
                <a:pos x="0" y="26"/>
              </a:cxn>
              <a:cxn ang="0">
                <a:pos x="0" y="26"/>
              </a:cxn>
              <a:cxn ang="0">
                <a:pos x="2" y="36"/>
              </a:cxn>
              <a:cxn ang="0">
                <a:pos x="8" y="46"/>
              </a:cxn>
              <a:cxn ang="0">
                <a:pos x="16" y="50"/>
              </a:cxn>
              <a:cxn ang="0">
                <a:pos x="26" y="54"/>
              </a:cxn>
              <a:cxn ang="0">
                <a:pos x="26" y="54"/>
              </a:cxn>
              <a:cxn ang="0">
                <a:pos x="36" y="50"/>
              </a:cxn>
              <a:cxn ang="0">
                <a:pos x="46" y="46"/>
              </a:cxn>
              <a:cxn ang="0">
                <a:pos x="52" y="36"/>
              </a:cxn>
              <a:cxn ang="0">
                <a:pos x="54" y="26"/>
              </a:cxn>
              <a:cxn ang="0">
                <a:pos x="54" y="26"/>
              </a:cxn>
              <a:cxn ang="0">
                <a:pos x="52" y="16"/>
              </a:cxn>
              <a:cxn ang="0">
                <a:pos x="46" y="8"/>
              </a:cxn>
              <a:cxn ang="0">
                <a:pos x="36" y="2"/>
              </a:cxn>
              <a:cxn ang="0">
                <a:pos x="26" y="0"/>
              </a:cxn>
            </a:cxnLst>
            <a:rect l="0" t="0" r="r" b="b"/>
            <a:pathLst>
              <a:path w="54" h="54">
                <a:moveTo>
                  <a:pt x="26" y="0"/>
                </a:moveTo>
                <a:lnTo>
                  <a:pt x="26" y="0"/>
                </a:lnTo>
                <a:lnTo>
                  <a:pt x="16" y="2"/>
                </a:lnTo>
                <a:lnTo>
                  <a:pt x="8" y="8"/>
                </a:lnTo>
                <a:lnTo>
                  <a:pt x="2" y="16"/>
                </a:lnTo>
                <a:lnTo>
                  <a:pt x="0" y="26"/>
                </a:lnTo>
                <a:lnTo>
                  <a:pt x="0" y="26"/>
                </a:lnTo>
                <a:lnTo>
                  <a:pt x="2" y="36"/>
                </a:lnTo>
                <a:lnTo>
                  <a:pt x="8" y="46"/>
                </a:lnTo>
                <a:lnTo>
                  <a:pt x="16" y="50"/>
                </a:lnTo>
                <a:lnTo>
                  <a:pt x="26" y="54"/>
                </a:lnTo>
                <a:lnTo>
                  <a:pt x="26" y="54"/>
                </a:lnTo>
                <a:lnTo>
                  <a:pt x="36" y="50"/>
                </a:lnTo>
                <a:lnTo>
                  <a:pt x="46" y="46"/>
                </a:lnTo>
                <a:lnTo>
                  <a:pt x="52" y="36"/>
                </a:lnTo>
                <a:lnTo>
                  <a:pt x="54" y="26"/>
                </a:lnTo>
                <a:lnTo>
                  <a:pt x="54" y="26"/>
                </a:lnTo>
                <a:lnTo>
                  <a:pt x="52" y="16"/>
                </a:lnTo>
                <a:lnTo>
                  <a:pt x="46" y="8"/>
                </a:lnTo>
                <a:lnTo>
                  <a:pt x="36" y="2"/>
                </a:lnTo>
                <a:lnTo>
                  <a:pt x="26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294" name="Freeform 33"/>
          <p:cNvSpPr>
            <a:spLocks/>
          </p:cNvSpPr>
          <p:nvPr userDrawn="1"/>
        </p:nvSpPr>
        <p:spPr bwMode="auto">
          <a:xfrm>
            <a:off x="2187757" y="729333"/>
            <a:ext cx="108784" cy="100416"/>
          </a:xfrm>
          <a:custGeom>
            <a:avLst/>
            <a:gdLst/>
            <a:ahLst/>
            <a:cxnLst>
              <a:cxn ang="0">
                <a:pos x="28" y="0"/>
              </a:cxn>
              <a:cxn ang="0">
                <a:pos x="28" y="0"/>
              </a:cxn>
              <a:cxn ang="0">
                <a:pos x="18" y="2"/>
              </a:cxn>
              <a:cxn ang="0">
                <a:pos x="8" y="8"/>
              </a:cxn>
              <a:cxn ang="0">
                <a:pos x="2" y="18"/>
              </a:cxn>
              <a:cxn ang="0">
                <a:pos x="0" y="28"/>
              </a:cxn>
              <a:cxn ang="0">
                <a:pos x="0" y="28"/>
              </a:cxn>
              <a:cxn ang="0">
                <a:pos x="2" y="38"/>
              </a:cxn>
              <a:cxn ang="0">
                <a:pos x="8" y="46"/>
              </a:cxn>
              <a:cxn ang="0">
                <a:pos x="18" y="52"/>
              </a:cxn>
              <a:cxn ang="0">
                <a:pos x="28" y="54"/>
              </a:cxn>
              <a:cxn ang="0">
                <a:pos x="28" y="54"/>
              </a:cxn>
              <a:cxn ang="0">
                <a:pos x="38" y="52"/>
              </a:cxn>
              <a:cxn ang="0">
                <a:pos x="46" y="46"/>
              </a:cxn>
              <a:cxn ang="0">
                <a:pos x="52" y="38"/>
              </a:cxn>
              <a:cxn ang="0">
                <a:pos x="54" y="28"/>
              </a:cxn>
              <a:cxn ang="0">
                <a:pos x="54" y="28"/>
              </a:cxn>
              <a:cxn ang="0">
                <a:pos x="52" y="18"/>
              </a:cxn>
              <a:cxn ang="0">
                <a:pos x="46" y="8"/>
              </a:cxn>
              <a:cxn ang="0">
                <a:pos x="38" y="2"/>
              </a:cxn>
              <a:cxn ang="0">
                <a:pos x="28" y="0"/>
              </a:cxn>
            </a:cxnLst>
            <a:rect l="0" t="0" r="r" b="b"/>
            <a:pathLst>
              <a:path w="54" h="54">
                <a:moveTo>
                  <a:pt x="28" y="0"/>
                </a:moveTo>
                <a:lnTo>
                  <a:pt x="28" y="0"/>
                </a:lnTo>
                <a:lnTo>
                  <a:pt x="18" y="2"/>
                </a:lnTo>
                <a:lnTo>
                  <a:pt x="8" y="8"/>
                </a:lnTo>
                <a:lnTo>
                  <a:pt x="2" y="18"/>
                </a:lnTo>
                <a:lnTo>
                  <a:pt x="0" y="28"/>
                </a:lnTo>
                <a:lnTo>
                  <a:pt x="0" y="28"/>
                </a:lnTo>
                <a:lnTo>
                  <a:pt x="2" y="38"/>
                </a:lnTo>
                <a:lnTo>
                  <a:pt x="8" y="46"/>
                </a:lnTo>
                <a:lnTo>
                  <a:pt x="18" y="52"/>
                </a:lnTo>
                <a:lnTo>
                  <a:pt x="28" y="54"/>
                </a:lnTo>
                <a:lnTo>
                  <a:pt x="28" y="54"/>
                </a:lnTo>
                <a:lnTo>
                  <a:pt x="38" y="52"/>
                </a:lnTo>
                <a:lnTo>
                  <a:pt x="46" y="46"/>
                </a:lnTo>
                <a:lnTo>
                  <a:pt x="52" y="38"/>
                </a:lnTo>
                <a:lnTo>
                  <a:pt x="54" y="28"/>
                </a:lnTo>
                <a:lnTo>
                  <a:pt x="54" y="28"/>
                </a:lnTo>
                <a:lnTo>
                  <a:pt x="52" y="18"/>
                </a:lnTo>
                <a:lnTo>
                  <a:pt x="46" y="8"/>
                </a:lnTo>
                <a:lnTo>
                  <a:pt x="38" y="2"/>
                </a:lnTo>
                <a:lnTo>
                  <a:pt x="28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295" name="Freeform 34"/>
          <p:cNvSpPr>
            <a:spLocks/>
          </p:cNvSpPr>
          <p:nvPr userDrawn="1"/>
        </p:nvSpPr>
        <p:spPr bwMode="auto">
          <a:xfrm>
            <a:off x="2187757" y="729333"/>
            <a:ext cx="108784" cy="100416"/>
          </a:xfrm>
          <a:custGeom>
            <a:avLst/>
            <a:gdLst/>
            <a:ahLst/>
            <a:cxnLst>
              <a:cxn ang="0">
                <a:pos x="28" y="0"/>
              </a:cxn>
              <a:cxn ang="0">
                <a:pos x="28" y="0"/>
              </a:cxn>
              <a:cxn ang="0">
                <a:pos x="18" y="2"/>
              </a:cxn>
              <a:cxn ang="0">
                <a:pos x="8" y="8"/>
              </a:cxn>
              <a:cxn ang="0">
                <a:pos x="2" y="18"/>
              </a:cxn>
              <a:cxn ang="0">
                <a:pos x="0" y="28"/>
              </a:cxn>
              <a:cxn ang="0">
                <a:pos x="0" y="28"/>
              </a:cxn>
              <a:cxn ang="0">
                <a:pos x="2" y="38"/>
              </a:cxn>
              <a:cxn ang="0">
                <a:pos x="8" y="46"/>
              </a:cxn>
              <a:cxn ang="0">
                <a:pos x="18" y="52"/>
              </a:cxn>
              <a:cxn ang="0">
                <a:pos x="28" y="54"/>
              </a:cxn>
              <a:cxn ang="0">
                <a:pos x="28" y="54"/>
              </a:cxn>
              <a:cxn ang="0">
                <a:pos x="38" y="52"/>
              </a:cxn>
              <a:cxn ang="0">
                <a:pos x="46" y="46"/>
              </a:cxn>
              <a:cxn ang="0">
                <a:pos x="52" y="38"/>
              </a:cxn>
              <a:cxn ang="0">
                <a:pos x="54" y="28"/>
              </a:cxn>
              <a:cxn ang="0">
                <a:pos x="54" y="28"/>
              </a:cxn>
              <a:cxn ang="0">
                <a:pos x="52" y="18"/>
              </a:cxn>
              <a:cxn ang="0">
                <a:pos x="46" y="8"/>
              </a:cxn>
              <a:cxn ang="0">
                <a:pos x="38" y="2"/>
              </a:cxn>
              <a:cxn ang="0">
                <a:pos x="28" y="0"/>
              </a:cxn>
            </a:cxnLst>
            <a:rect l="0" t="0" r="r" b="b"/>
            <a:pathLst>
              <a:path w="54" h="54">
                <a:moveTo>
                  <a:pt x="28" y="0"/>
                </a:moveTo>
                <a:lnTo>
                  <a:pt x="28" y="0"/>
                </a:lnTo>
                <a:lnTo>
                  <a:pt x="18" y="2"/>
                </a:lnTo>
                <a:lnTo>
                  <a:pt x="8" y="8"/>
                </a:lnTo>
                <a:lnTo>
                  <a:pt x="2" y="18"/>
                </a:lnTo>
                <a:lnTo>
                  <a:pt x="0" y="28"/>
                </a:lnTo>
                <a:lnTo>
                  <a:pt x="0" y="28"/>
                </a:lnTo>
                <a:lnTo>
                  <a:pt x="2" y="38"/>
                </a:lnTo>
                <a:lnTo>
                  <a:pt x="8" y="46"/>
                </a:lnTo>
                <a:lnTo>
                  <a:pt x="18" y="52"/>
                </a:lnTo>
                <a:lnTo>
                  <a:pt x="28" y="54"/>
                </a:lnTo>
                <a:lnTo>
                  <a:pt x="28" y="54"/>
                </a:lnTo>
                <a:lnTo>
                  <a:pt x="38" y="52"/>
                </a:lnTo>
                <a:lnTo>
                  <a:pt x="46" y="46"/>
                </a:lnTo>
                <a:lnTo>
                  <a:pt x="52" y="38"/>
                </a:lnTo>
                <a:lnTo>
                  <a:pt x="54" y="28"/>
                </a:lnTo>
                <a:lnTo>
                  <a:pt x="54" y="28"/>
                </a:lnTo>
                <a:lnTo>
                  <a:pt x="52" y="18"/>
                </a:lnTo>
                <a:lnTo>
                  <a:pt x="46" y="8"/>
                </a:lnTo>
                <a:lnTo>
                  <a:pt x="38" y="2"/>
                </a:lnTo>
                <a:lnTo>
                  <a:pt x="28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296" name="Freeform 35"/>
          <p:cNvSpPr>
            <a:spLocks/>
          </p:cNvSpPr>
          <p:nvPr userDrawn="1"/>
        </p:nvSpPr>
        <p:spPr bwMode="auto">
          <a:xfrm>
            <a:off x="1655927" y="985951"/>
            <a:ext cx="108784" cy="96696"/>
          </a:xfrm>
          <a:custGeom>
            <a:avLst/>
            <a:gdLst/>
            <a:ahLst/>
            <a:cxnLst>
              <a:cxn ang="0">
                <a:pos x="26" y="0"/>
              </a:cxn>
              <a:cxn ang="0">
                <a:pos x="26" y="0"/>
              </a:cxn>
              <a:cxn ang="0">
                <a:pos x="16" y="2"/>
              </a:cxn>
              <a:cxn ang="0">
                <a:pos x="8" y="8"/>
              </a:cxn>
              <a:cxn ang="0">
                <a:pos x="2" y="16"/>
              </a:cxn>
              <a:cxn ang="0">
                <a:pos x="0" y="26"/>
              </a:cxn>
              <a:cxn ang="0">
                <a:pos x="0" y="26"/>
              </a:cxn>
              <a:cxn ang="0">
                <a:pos x="2" y="36"/>
              </a:cxn>
              <a:cxn ang="0">
                <a:pos x="8" y="44"/>
              </a:cxn>
              <a:cxn ang="0">
                <a:pos x="16" y="50"/>
              </a:cxn>
              <a:cxn ang="0">
                <a:pos x="26" y="52"/>
              </a:cxn>
              <a:cxn ang="0">
                <a:pos x="26" y="52"/>
              </a:cxn>
              <a:cxn ang="0">
                <a:pos x="36" y="50"/>
              </a:cxn>
              <a:cxn ang="0">
                <a:pos x="46" y="44"/>
              </a:cxn>
              <a:cxn ang="0">
                <a:pos x="52" y="36"/>
              </a:cxn>
              <a:cxn ang="0">
                <a:pos x="54" y="26"/>
              </a:cxn>
              <a:cxn ang="0">
                <a:pos x="54" y="26"/>
              </a:cxn>
              <a:cxn ang="0">
                <a:pos x="52" y="16"/>
              </a:cxn>
              <a:cxn ang="0">
                <a:pos x="46" y="8"/>
              </a:cxn>
              <a:cxn ang="0">
                <a:pos x="36" y="2"/>
              </a:cxn>
              <a:cxn ang="0">
                <a:pos x="26" y="0"/>
              </a:cxn>
            </a:cxnLst>
            <a:rect l="0" t="0" r="r" b="b"/>
            <a:pathLst>
              <a:path w="54" h="52">
                <a:moveTo>
                  <a:pt x="26" y="0"/>
                </a:moveTo>
                <a:lnTo>
                  <a:pt x="26" y="0"/>
                </a:lnTo>
                <a:lnTo>
                  <a:pt x="16" y="2"/>
                </a:lnTo>
                <a:lnTo>
                  <a:pt x="8" y="8"/>
                </a:lnTo>
                <a:lnTo>
                  <a:pt x="2" y="16"/>
                </a:lnTo>
                <a:lnTo>
                  <a:pt x="0" y="26"/>
                </a:lnTo>
                <a:lnTo>
                  <a:pt x="0" y="26"/>
                </a:lnTo>
                <a:lnTo>
                  <a:pt x="2" y="36"/>
                </a:lnTo>
                <a:lnTo>
                  <a:pt x="8" y="44"/>
                </a:lnTo>
                <a:lnTo>
                  <a:pt x="16" y="50"/>
                </a:lnTo>
                <a:lnTo>
                  <a:pt x="26" y="52"/>
                </a:lnTo>
                <a:lnTo>
                  <a:pt x="26" y="52"/>
                </a:lnTo>
                <a:lnTo>
                  <a:pt x="36" y="50"/>
                </a:lnTo>
                <a:lnTo>
                  <a:pt x="46" y="44"/>
                </a:lnTo>
                <a:lnTo>
                  <a:pt x="52" y="36"/>
                </a:lnTo>
                <a:lnTo>
                  <a:pt x="54" y="26"/>
                </a:lnTo>
                <a:lnTo>
                  <a:pt x="54" y="26"/>
                </a:lnTo>
                <a:lnTo>
                  <a:pt x="52" y="16"/>
                </a:lnTo>
                <a:lnTo>
                  <a:pt x="46" y="8"/>
                </a:lnTo>
                <a:lnTo>
                  <a:pt x="36" y="2"/>
                </a:lnTo>
                <a:lnTo>
                  <a:pt x="26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297" name="Freeform 36"/>
          <p:cNvSpPr>
            <a:spLocks/>
          </p:cNvSpPr>
          <p:nvPr userDrawn="1"/>
        </p:nvSpPr>
        <p:spPr bwMode="auto">
          <a:xfrm>
            <a:off x="1655927" y="985951"/>
            <a:ext cx="108784" cy="96696"/>
          </a:xfrm>
          <a:custGeom>
            <a:avLst/>
            <a:gdLst/>
            <a:ahLst/>
            <a:cxnLst>
              <a:cxn ang="0">
                <a:pos x="26" y="0"/>
              </a:cxn>
              <a:cxn ang="0">
                <a:pos x="26" y="0"/>
              </a:cxn>
              <a:cxn ang="0">
                <a:pos x="16" y="2"/>
              </a:cxn>
              <a:cxn ang="0">
                <a:pos x="8" y="8"/>
              </a:cxn>
              <a:cxn ang="0">
                <a:pos x="2" y="16"/>
              </a:cxn>
              <a:cxn ang="0">
                <a:pos x="0" y="26"/>
              </a:cxn>
              <a:cxn ang="0">
                <a:pos x="0" y="26"/>
              </a:cxn>
              <a:cxn ang="0">
                <a:pos x="2" y="36"/>
              </a:cxn>
              <a:cxn ang="0">
                <a:pos x="8" y="44"/>
              </a:cxn>
              <a:cxn ang="0">
                <a:pos x="16" y="50"/>
              </a:cxn>
              <a:cxn ang="0">
                <a:pos x="26" y="52"/>
              </a:cxn>
              <a:cxn ang="0">
                <a:pos x="26" y="52"/>
              </a:cxn>
              <a:cxn ang="0">
                <a:pos x="36" y="50"/>
              </a:cxn>
              <a:cxn ang="0">
                <a:pos x="46" y="44"/>
              </a:cxn>
              <a:cxn ang="0">
                <a:pos x="52" y="36"/>
              </a:cxn>
              <a:cxn ang="0">
                <a:pos x="54" y="26"/>
              </a:cxn>
              <a:cxn ang="0">
                <a:pos x="54" y="26"/>
              </a:cxn>
              <a:cxn ang="0">
                <a:pos x="52" y="16"/>
              </a:cxn>
              <a:cxn ang="0">
                <a:pos x="46" y="8"/>
              </a:cxn>
              <a:cxn ang="0">
                <a:pos x="36" y="2"/>
              </a:cxn>
              <a:cxn ang="0">
                <a:pos x="26" y="0"/>
              </a:cxn>
            </a:cxnLst>
            <a:rect l="0" t="0" r="r" b="b"/>
            <a:pathLst>
              <a:path w="54" h="52">
                <a:moveTo>
                  <a:pt x="26" y="0"/>
                </a:moveTo>
                <a:lnTo>
                  <a:pt x="26" y="0"/>
                </a:lnTo>
                <a:lnTo>
                  <a:pt x="16" y="2"/>
                </a:lnTo>
                <a:lnTo>
                  <a:pt x="8" y="8"/>
                </a:lnTo>
                <a:lnTo>
                  <a:pt x="2" y="16"/>
                </a:lnTo>
                <a:lnTo>
                  <a:pt x="0" y="26"/>
                </a:lnTo>
                <a:lnTo>
                  <a:pt x="0" y="26"/>
                </a:lnTo>
                <a:lnTo>
                  <a:pt x="2" y="36"/>
                </a:lnTo>
                <a:lnTo>
                  <a:pt x="8" y="44"/>
                </a:lnTo>
                <a:lnTo>
                  <a:pt x="16" y="50"/>
                </a:lnTo>
                <a:lnTo>
                  <a:pt x="26" y="52"/>
                </a:lnTo>
                <a:lnTo>
                  <a:pt x="26" y="52"/>
                </a:lnTo>
                <a:lnTo>
                  <a:pt x="36" y="50"/>
                </a:lnTo>
                <a:lnTo>
                  <a:pt x="46" y="44"/>
                </a:lnTo>
                <a:lnTo>
                  <a:pt x="52" y="36"/>
                </a:lnTo>
                <a:lnTo>
                  <a:pt x="54" y="26"/>
                </a:lnTo>
                <a:lnTo>
                  <a:pt x="54" y="26"/>
                </a:lnTo>
                <a:lnTo>
                  <a:pt x="52" y="16"/>
                </a:lnTo>
                <a:lnTo>
                  <a:pt x="46" y="8"/>
                </a:lnTo>
                <a:lnTo>
                  <a:pt x="36" y="2"/>
                </a:lnTo>
                <a:lnTo>
                  <a:pt x="26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298" name="Freeform 37"/>
          <p:cNvSpPr>
            <a:spLocks/>
          </p:cNvSpPr>
          <p:nvPr userDrawn="1"/>
        </p:nvSpPr>
        <p:spPr bwMode="auto">
          <a:xfrm>
            <a:off x="660759" y="1595882"/>
            <a:ext cx="108784" cy="100416"/>
          </a:xfrm>
          <a:custGeom>
            <a:avLst/>
            <a:gdLst/>
            <a:ahLst/>
            <a:cxnLst>
              <a:cxn ang="0">
                <a:pos x="26" y="0"/>
              </a:cxn>
              <a:cxn ang="0">
                <a:pos x="26" y="0"/>
              </a:cxn>
              <a:cxn ang="0">
                <a:pos x="16" y="2"/>
              </a:cxn>
              <a:cxn ang="0">
                <a:pos x="8" y="8"/>
              </a:cxn>
              <a:cxn ang="0">
                <a:pos x="2" y="16"/>
              </a:cxn>
              <a:cxn ang="0">
                <a:pos x="0" y="28"/>
              </a:cxn>
              <a:cxn ang="0">
                <a:pos x="0" y="28"/>
              </a:cxn>
              <a:cxn ang="0">
                <a:pos x="2" y="38"/>
              </a:cxn>
              <a:cxn ang="0">
                <a:pos x="8" y="46"/>
              </a:cxn>
              <a:cxn ang="0">
                <a:pos x="16" y="52"/>
              </a:cxn>
              <a:cxn ang="0">
                <a:pos x="26" y="54"/>
              </a:cxn>
              <a:cxn ang="0">
                <a:pos x="26" y="54"/>
              </a:cxn>
              <a:cxn ang="0">
                <a:pos x="38" y="52"/>
              </a:cxn>
              <a:cxn ang="0">
                <a:pos x="46" y="46"/>
              </a:cxn>
              <a:cxn ang="0">
                <a:pos x="52" y="38"/>
              </a:cxn>
              <a:cxn ang="0">
                <a:pos x="54" y="28"/>
              </a:cxn>
              <a:cxn ang="0">
                <a:pos x="54" y="28"/>
              </a:cxn>
              <a:cxn ang="0">
                <a:pos x="52" y="16"/>
              </a:cxn>
              <a:cxn ang="0">
                <a:pos x="46" y="8"/>
              </a:cxn>
              <a:cxn ang="0">
                <a:pos x="38" y="2"/>
              </a:cxn>
              <a:cxn ang="0">
                <a:pos x="26" y="0"/>
              </a:cxn>
            </a:cxnLst>
            <a:rect l="0" t="0" r="r" b="b"/>
            <a:pathLst>
              <a:path w="54" h="54">
                <a:moveTo>
                  <a:pt x="26" y="0"/>
                </a:moveTo>
                <a:lnTo>
                  <a:pt x="26" y="0"/>
                </a:lnTo>
                <a:lnTo>
                  <a:pt x="16" y="2"/>
                </a:lnTo>
                <a:lnTo>
                  <a:pt x="8" y="8"/>
                </a:lnTo>
                <a:lnTo>
                  <a:pt x="2" y="16"/>
                </a:lnTo>
                <a:lnTo>
                  <a:pt x="0" y="28"/>
                </a:lnTo>
                <a:lnTo>
                  <a:pt x="0" y="28"/>
                </a:lnTo>
                <a:lnTo>
                  <a:pt x="2" y="38"/>
                </a:lnTo>
                <a:lnTo>
                  <a:pt x="8" y="46"/>
                </a:lnTo>
                <a:lnTo>
                  <a:pt x="16" y="52"/>
                </a:lnTo>
                <a:lnTo>
                  <a:pt x="26" y="54"/>
                </a:lnTo>
                <a:lnTo>
                  <a:pt x="26" y="54"/>
                </a:lnTo>
                <a:lnTo>
                  <a:pt x="38" y="52"/>
                </a:lnTo>
                <a:lnTo>
                  <a:pt x="46" y="46"/>
                </a:lnTo>
                <a:lnTo>
                  <a:pt x="52" y="38"/>
                </a:lnTo>
                <a:lnTo>
                  <a:pt x="54" y="28"/>
                </a:lnTo>
                <a:lnTo>
                  <a:pt x="54" y="28"/>
                </a:lnTo>
                <a:lnTo>
                  <a:pt x="52" y="16"/>
                </a:lnTo>
                <a:lnTo>
                  <a:pt x="46" y="8"/>
                </a:lnTo>
                <a:lnTo>
                  <a:pt x="38" y="2"/>
                </a:lnTo>
                <a:lnTo>
                  <a:pt x="26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299" name="Freeform 38"/>
          <p:cNvSpPr>
            <a:spLocks/>
          </p:cNvSpPr>
          <p:nvPr userDrawn="1"/>
        </p:nvSpPr>
        <p:spPr bwMode="auto">
          <a:xfrm>
            <a:off x="660759" y="1595882"/>
            <a:ext cx="108784" cy="100416"/>
          </a:xfrm>
          <a:custGeom>
            <a:avLst/>
            <a:gdLst/>
            <a:ahLst/>
            <a:cxnLst>
              <a:cxn ang="0">
                <a:pos x="26" y="0"/>
              </a:cxn>
              <a:cxn ang="0">
                <a:pos x="26" y="0"/>
              </a:cxn>
              <a:cxn ang="0">
                <a:pos x="16" y="2"/>
              </a:cxn>
              <a:cxn ang="0">
                <a:pos x="8" y="8"/>
              </a:cxn>
              <a:cxn ang="0">
                <a:pos x="2" y="16"/>
              </a:cxn>
              <a:cxn ang="0">
                <a:pos x="0" y="28"/>
              </a:cxn>
              <a:cxn ang="0">
                <a:pos x="0" y="28"/>
              </a:cxn>
              <a:cxn ang="0">
                <a:pos x="2" y="38"/>
              </a:cxn>
              <a:cxn ang="0">
                <a:pos x="8" y="46"/>
              </a:cxn>
              <a:cxn ang="0">
                <a:pos x="16" y="52"/>
              </a:cxn>
              <a:cxn ang="0">
                <a:pos x="26" y="54"/>
              </a:cxn>
              <a:cxn ang="0">
                <a:pos x="26" y="54"/>
              </a:cxn>
              <a:cxn ang="0">
                <a:pos x="38" y="52"/>
              </a:cxn>
              <a:cxn ang="0">
                <a:pos x="46" y="46"/>
              </a:cxn>
              <a:cxn ang="0">
                <a:pos x="52" y="38"/>
              </a:cxn>
              <a:cxn ang="0">
                <a:pos x="54" y="28"/>
              </a:cxn>
              <a:cxn ang="0">
                <a:pos x="54" y="28"/>
              </a:cxn>
              <a:cxn ang="0">
                <a:pos x="52" y="16"/>
              </a:cxn>
              <a:cxn ang="0">
                <a:pos x="46" y="8"/>
              </a:cxn>
              <a:cxn ang="0">
                <a:pos x="38" y="2"/>
              </a:cxn>
              <a:cxn ang="0">
                <a:pos x="26" y="0"/>
              </a:cxn>
            </a:cxnLst>
            <a:rect l="0" t="0" r="r" b="b"/>
            <a:pathLst>
              <a:path w="54" h="54">
                <a:moveTo>
                  <a:pt x="26" y="0"/>
                </a:moveTo>
                <a:lnTo>
                  <a:pt x="26" y="0"/>
                </a:lnTo>
                <a:lnTo>
                  <a:pt x="16" y="2"/>
                </a:lnTo>
                <a:lnTo>
                  <a:pt x="8" y="8"/>
                </a:lnTo>
                <a:lnTo>
                  <a:pt x="2" y="16"/>
                </a:lnTo>
                <a:lnTo>
                  <a:pt x="0" y="28"/>
                </a:lnTo>
                <a:lnTo>
                  <a:pt x="0" y="28"/>
                </a:lnTo>
                <a:lnTo>
                  <a:pt x="2" y="38"/>
                </a:lnTo>
                <a:lnTo>
                  <a:pt x="8" y="46"/>
                </a:lnTo>
                <a:lnTo>
                  <a:pt x="16" y="52"/>
                </a:lnTo>
                <a:lnTo>
                  <a:pt x="26" y="54"/>
                </a:lnTo>
                <a:lnTo>
                  <a:pt x="26" y="54"/>
                </a:lnTo>
                <a:lnTo>
                  <a:pt x="38" y="52"/>
                </a:lnTo>
                <a:lnTo>
                  <a:pt x="46" y="46"/>
                </a:lnTo>
                <a:lnTo>
                  <a:pt x="52" y="38"/>
                </a:lnTo>
                <a:lnTo>
                  <a:pt x="54" y="28"/>
                </a:lnTo>
                <a:lnTo>
                  <a:pt x="54" y="28"/>
                </a:lnTo>
                <a:lnTo>
                  <a:pt x="52" y="16"/>
                </a:lnTo>
                <a:lnTo>
                  <a:pt x="46" y="8"/>
                </a:lnTo>
                <a:lnTo>
                  <a:pt x="38" y="2"/>
                </a:lnTo>
                <a:lnTo>
                  <a:pt x="26" y="0"/>
                </a:lnTo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00" name="Freeform 39"/>
          <p:cNvSpPr>
            <a:spLocks/>
          </p:cNvSpPr>
          <p:nvPr userDrawn="1"/>
        </p:nvSpPr>
        <p:spPr bwMode="auto">
          <a:xfrm>
            <a:off x="1297343" y="1465714"/>
            <a:ext cx="108784" cy="100416"/>
          </a:xfrm>
          <a:custGeom>
            <a:avLst/>
            <a:gdLst/>
            <a:ahLst/>
            <a:cxnLst>
              <a:cxn ang="0">
                <a:pos x="26" y="0"/>
              </a:cxn>
              <a:cxn ang="0">
                <a:pos x="26" y="0"/>
              </a:cxn>
              <a:cxn ang="0">
                <a:pos x="16" y="2"/>
              </a:cxn>
              <a:cxn ang="0">
                <a:pos x="8" y="8"/>
              </a:cxn>
              <a:cxn ang="0">
                <a:pos x="2" y="16"/>
              </a:cxn>
              <a:cxn ang="0">
                <a:pos x="0" y="26"/>
              </a:cxn>
              <a:cxn ang="0">
                <a:pos x="0" y="26"/>
              </a:cxn>
              <a:cxn ang="0">
                <a:pos x="2" y="36"/>
              </a:cxn>
              <a:cxn ang="0">
                <a:pos x="8" y="46"/>
              </a:cxn>
              <a:cxn ang="0">
                <a:pos x="16" y="52"/>
              </a:cxn>
              <a:cxn ang="0">
                <a:pos x="26" y="54"/>
              </a:cxn>
              <a:cxn ang="0">
                <a:pos x="26" y="54"/>
              </a:cxn>
              <a:cxn ang="0">
                <a:pos x="36" y="52"/>
              </a:cxn>
              <a:cxn ang="0">
                <a:pos x="46" y="46"/>
              </a:cxn>
              <a:cxn ang="0">
                <a:pos x="50" y="36"/>
              </a:cxn>
              <a:cxn ang="0">
                <a:pos x="54" y="26"/>
              </a:cxn>
              <a:cxn ang="0">
                <a:pos x="54" y="26"/>
              </a:cxn>
              <a:cxn ang="0">
                <a:pos x="50" y="16"/>
              </a:cxn>
              <a:cxn ang="0">
                <a:pos x="46" y="8"/>
              </a:cxn>
              <a:cxn ang="0">
                <a:pos x="36" y="2"/>
              </a:cxn>
              <a:cxn ang="0">
                <a:pos x="26" y="0"/>
              </a:cxn>
            </a:cxnLst>
            <a:rect l="0" t="0" r="r" b="b"/>
            <a:pathLst>
              <a:path w="54" h="54">
                <a:moveTo>
                  <a:pt x="26" y="0"/>
                </a:moveTo>
                <a:lnTo>
                  <a:pt x="26" y="0"/>
                </a:lnTo>
                <a:lnTo>
                  <a:pt x="16" y="2"/>
                </a:lnTo>
                <a:lnTo>
                  <a:pt x="8" y="8"/>
                </a:lnTo>
                <a:lnTo>
                  <a:pt x="2" y="16"/>
                </a:lnTo>
                <a:lnTo>
                  <a:pt x="0" y="26"/>
                </a:lnTo>
                <a:lnTo>
                  <a:pt x="0" y="26"/>
                </a:lnTo>
                <a:lnTo>
                  <a:pt x="2" y="36"/>
                </a:lnTo>
                <a:lnTo>
                  <a:pt x="8" y="46"/>
                </a:lnTo>
                <a:lnTo>
                  <a:pt x="16" y="52"/>
                </a:lnTo>
                <a:lnTo>
                  <a:pt x="26" y="54"/>
                </a:lnTo>
                <a:lnTo>
                  <a:pt x="26" y="54"/>
                </a:lnTo>
                <a:lnTo>
                  <a:pt x="36" y="52"/>
                </a:lnTo>
                <a:lnTo>
                  <a:pt x="46" y="46"/>
                </a:lnTo>
                <a:lnTo>
                  <a:pt x="50" y="36"/>
                </a:lnTo>
                <a:lnTo>
                  <a:pt x="54" y="26"/>
                </a:lnTo>
                <a:lnTo>
                  <a:pt x="54" y="26"/>
                </a:lnTo>
                <a:lnTo>
                  <a:pt x="50" y="16"/>
                </a:lnTo>
                <a:lnTo>
                  <a:pt x="46" y="8"/>
                </a:lnTo>
                <a:lnTo>
                  <a:pt x="36" y="2"/>
                </a:lnTo>
                <a:lnTo>
                  <a:pt x="26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01" name="Freeform 40"/>
          <p:cNvSpPr>
            <a:spLocks/>
          </p:cNvSpPr>
          <p:nvPr userDrawn="1"/>
        </p:nvSpPr>
        <p:spPr bwMode="auto">
          <a:xfrm>
            <a:off x="1297343" y="1465714"/>
            <a:ext cx="108784" cy="100416"/>
          </a:xfrm>
          <a:custGeom>
            <a:avLst/>
            <a:gdLst/>
            <a:ahLst/>
            <a:cxnLst>
              <a:cxn ang="0">
                <a:pos x="26" y="0"/>
              </a:cxn>
              <a:cxn ang="0">
                <a:pos x="26" y="0"/>
              </a:cxn>
              <a:cxn ang="0">
                <a:pos x="16" y="2"/>
              </a:cxn>
              <a:cxn ang="0">
                <a:pos x="8" y="8"/>
              </a:cxn>
              <a:cxn ang="0">
                <a:pos x="2" y="16"/>
              </a:cxn>
              <a:cxn ang="0">
                <a:pos x="0" y="26"/>
              </a:cxn>
              <a:cxn ang="0">
                <a:pos x="0" y="26"/>
              </a:cxn>
              <a:cxn ang="0">
                <a:pos x="2" y="36"/>
              </a:cxn>
              <a:cxn ang="0">
                <a:pos x="8" y="46"/>
              </a:cxn>
              <a:cxn ang="0">
                <a:pos x="16" y="52"/>
              </a:cxn>
              <a:cxn ang="0">
                <a:pos x="26" y="54"/>
              </a:cxn>
              <a:cxn ang="0">
                <a:pos x="26" y="54"/>
              </a:cxn>
              <a:cxn ang="0">
                <a:pos x="36" y="52"/>
              </a:cxn>
              <a:cxn ang="0">
                <a:pos x="46" y="46"/>
              </a:cxn>
              <a:cxn ang="0">
                <a:pos x="50" y="36"/>
              </a:cxn>
              <a:cxn ang="0">
                <a:pos x="54" y="26"/>
              </a:cxn>
              <a:cxn ang="0">
                <a:pos x="54" y="26"/>
              </a:cxn>
              <a:cxn ang="0">
                <a:pos x="50" y="16"/>
              </a:cxn>
              <a:cxn ang="0">
                <a:pos x="46" y="8"/>
              </a:cxn>
              <a:cxn ang="0">
                <a:pos x="36" y="2"/>
              </a:cxn>
              <a:cxn ang="0">
                <a:pos x="26" y="0"/>
              </a:cxn>
            </a:cxnLst>
            <a:rect l="0" t="0" r="r" b="b"/>
            <a:pathLst>
              <a:path w="54" h="54">
                <a:moveTo>
                  <a:pt x="26" y="0"/>
                </a:moveTo>
                <a:lnTo>
                  <a:pt x="26" y="0"/>
                </a:lnTo>
                <a:lnTo>
                  <a:pt x="16" y="2"/>
                </a:lnTo>
                <a:lnTo>
                  <a:pt x="8" y="8"/>
                </a:lnTo>
                <a:lnTo>
                  <a:pt x="2" y="16"/>
                </a:lnTo>
                <a:lnTo>
                  <a:pt x="0" y="26"/>
                </a:lnTo>
                <a:lnTo>
                  <a:pt x="0" y="26"/>
                </a:lnTo>
                <a:lnTo>
                  <a:pt x="2" y="36"/>
                </a:lnTo>
                <a:lnTo>
                  <a:pt x="8" y="46"/>
                </a:lnTo>
                <a:lnTo>
                  <a:pt x="16" y="52"/>
                </a:lnTo>
                <a:lnTo>
                  <a:pt x="26" y="54"/>
                </a:lnTo>
                <a:lnTo>
                  <a:pt x="26" y="54"/>
                </a:lnTo>
                <a:lnTo>
                  <a:pt x="36" y="52"/>
                </a:lnTo>
                <a:lnTo>
                  <a:pt x="46" y="46"/>
                </a:lnTo>
                <a:lnTo>
                  <a:pt x="50" y="36"/>
                </a:lnTo>
                <a:lnTo>
                  <a:pt x="54" y="26"/>
                </a:lnTo>
                <a:lnTo>
                  <a:pt x="54" y="26"/>
                </a:lnTo>
                <a:lnTo>
                  <a:pt x="50" y="16"/>
                </a:lnTo>
                <a:lnTo>
                  <a:pt x="46" y="8"/>
                </a:lnTo>
                <a:lnTo>
                  <a:pt x="36" y="2"/>
                </a:lnTo>
                <a:lnTo>
                  <a:pt x="26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02" name="Freeform 41"/>
          <p:cNvSpPr>
            <a:spLocks/>
          </p:cNvSpPr>
          <p:nvPr userDrawn="1"/>
        </p:nvSpPr>
        <p:spPr bwMode="auto">
          <a:xfrm>
            <a:off x="3307825" y="1346703"/>
            <a:ext cx="108784" cy="100416"/>
          </a:xfrm>
          <a:custGeom>
            <a:avLst/>
            <a:gdLst/>
            <a:ahLst/>
            <a:cxnLst>
              <a:cxn ang="0">
                <a:pos x="26" y="0"/>
              </a:cxn>
              <a:cxn ang="0">
                <a:pos x="26" y="0"/>
              </a:cxn>
              <a:cxn ang="0">
                <a:pos x="16" y="2"/>
              </a:cxn>
              <a:cxn ang="0">
                <a:pos x="8" y="8"/>
              </a:cxn>
              <a:cxn ang="0">
                <a:pos x="2" y="16"/>
              </a:cxn>
              <a:cxn ang="0">
                <a:pos x="0" y="26"/>
              </a:cxn>
              <a:cxn ang="0">
                <a:pos x="0" y="26"/>
              </a:cxn>
              <a:cxn ang="0">
                <a:pos x="2" y="38"/>
              </a:cxn>
              <a:cxn ang="0">
                <a:pos x="8" y="46"/>
              </a:cxn>
              <a:cxn ang="0">
                <a:pos x="16" y="52"/>
              </a:cxn>
              <a:cxn ang="0">
                <a:pos x="26" y="54"/>
              </a:cxn>
              <a:cxn ang="0">
                <a:pos x="26" y="54"/>
              </a:cxn>
              <a:cxn ang="0">
                <a:pos x="36" y="52"/>
              </a:cxn>
              <a:cxn ang="0">
                <a:pos x="46" y="46"/>
              </a:cxn>
              <a:cxn ang="0">
                <a:pos x="52" y="38"/>
              </a:cxn>
              <a:cxn ang="0">
                <a:pos x="54" y="26"/>
              </a:cxn>
              <a:cxn ang="0">
                <a:pos x="54" y="26"/>
              </a:cxn>
              <a:cxn ang="0">
                <a:pos x="52" y="16"/>
              </a:cxn>
              <a:cxn ang="0">
                <a:pos x="46" y="8"/>
              </a:cxn>
              <a:cxn ang="0">
                <a:pos x="36" y="2"/>
              </a:cxn>
              <a:cxn ang="0">
                <a:pos x="26" y="0"/>
              </a:cxn>
            </a:cxnLst>
            <a:rect l="0" t="0" r="r" b="b"/>
            <a:pathLst>
              <a:path w="54" h="54">
                <a:moveTo>
                  <a:pt x="26" y="0"/>
                </a:moveTo>
                <a:lnTo>
                  <a:pt x="26" y="0"/>
                </a:lnTo>
                <a:lnTo>
                  <a:pt x="16" y="2"/>
                </a:lnTo>
                <a:lnTo>
                  <a:pt x="8" y="8"/>
                </a:lnTo>
                <a:lnTo>
                  <a:pt x="2" y="16"/>
                </a:lnTo>
                <a:lnTo>
                  <a:pt x="0" y="26"/>
                </a:lnTo>
                <a:lnTo>
                  <a:pt x="0" y="26"/>
                </a:lnTo>
                <a:lnTo>
                  <a:pt x="2" y="38"/>
                </a:lnTo>
                <a:lnTo>
                  <a:pt x="8" y="46"/>
                </a:lnTo>
                <a:lnTo>
                  <a:pt x="16" y="52"/>
                </a:lnTo>
                <a:lnTo>
                  <a:pt x="26" y="54"/>
                </a:lnTo>
                <a:lnTo>
                  <a:pt x="26" y="54"/>
                </a:lnTo>
                <a:lnTo>
                  <a:pt x="36" y="52"/>
                </a:lnTo>
                <a:lnTo>
                  <a:pt x="46" y="46"/>
                </a:lnTo>
                <a:lnTo>
                  <a:pt x="52" y="38"/>
                </a:lnTo>
                <a:lnTo>
                  <a:pt x="54" y="26"/>
                </a:lnTo>
                <a:lnTo>
                  <a:pt x="54" y="26"/>
                </a:lnTo>
                <a:lnTo>
                  <a:pt x="52" y="16"/>
                </a:lnTo>
                <a:lnTo>
                  <a:pt x="46" y="8"/>
                </a:lnTo>
                <a:lnTo>
                  <a:pt x="36" y="2"/>
                </a:lnTo>
                <a:lnTo>
                  <a:pt x="26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03" name="Freeform 42"/>
          <p:cNvSpPr>
            <a:spLocks/>
          </p:cNvSpPr>
          <p:nvPr userDrawn="1"/>
        </p:nvSpPr>
        <p:spPr bwMode="auto">
          <a:xfrm>
            <a:off x="3307825" y="1346703"/>
            <a:ext cx="108784" cy="100416"/>
          </a:xfrm>
          <a:custGeom>
            <a:avLst/>
            <a:gdLst/>
            <a:ahLst/>
            <a:cxnLst>
              <a:cxn ang="0">
                <a:pos x="26" y="0"/>
              </a:cxn>
              <a:cxn ang="0">
                <a:pos x="26" y="0"/>
              </a:cxn>
              <a:cxn ang="0">
                <a:pos x="16" y="2"/>
              </a:cxn>
              <a:cxn ang="0">
                <a:pos x="8" y="8"/>
              </a:cxn>
              <a:cxn ang="0">
                <a:pos x="2" y="16"/>
              </a:cxn>
              <a:cxn ang="0">
                <a:pos x="0" y="26"/>
              </a:cxn>
              <a:cxn ang="0">
                <a:pos x="0" y="26"/>
              </a:cxn>
              <a:cxn ang="0">
                <a:pos x="2" y="38"/>
              </a:cxn>
              <a:cxn ang="0">
                <a:pos x="8" y="46"/>
              </a:cxn>
              <a:cxn ang="0">
                <a:pos x="16" y="52"/>
              </a:cxn>
              <a:cxn ang="0">
                <a:pos x="26" y="54"/>
              </a:cxn>
              <a:cxn ang="0">
                <a:pos x="26" y="54"/>
              </a:cxn>
              <a:cxn ang="0">
                <a:pos x="36" y="52"/>
              </a:cxn>
              <a:cxn ang="0">
                <a:pos x="46" y="46"/>
              </a:cxn>
              <a:cxn ang="0">
                <a:pos x="52" y="38"/>
              </a:cxn>
              <a:cxn ang="0">
                <a:pos x="54" y="26"/>
              </a:cxn>
              <a:cxn ang="0">
                <a:pos x="54" y="26"/>
              </a:cxn>
              <a:cxn ang="0">
                <a:pos x="52" y="16"/>
              </a:cxn>
              <a:cxn ang="0">
                <a:pos x="46" y="8"/>
              </a:cxn>
              <a:cxn ang="0">
                <a:pos x="36" y="2"/>
              </a:cxn>
              <a:cxn ang="0">
                <a:pos x="26" y="0"/>
              </a:cxn>
            </a:cxnLst>
            <a:rect l="0" t="0" r="r" b="b"/>
            <a:pathLst>
              <a:path w="54" h="54">
                <a:moveTo>
                  <a:pt x="26" y="0"/>
                </a:moveTo>
                <a:lnTo>
                  <a:pt x="26" y="0"/>
                </a:lnTo>
                <a:lnTo>
                  <a:pt x="16" y="2"/>
                </a:lnTo>
                <a:lnTo>
                  <a:pt x="8" y="8"/>
                </a:lnTo>
                <a:lnTo>
                  <a:pt x="2" y="16"/>
                </a:lnTo>
                <a:lnTo>
                  <a:pt x="0" y="26"/>
                </a:lnTo>
                <a:lnTo>
                  <a:pt x="0" y="26"/>
                </a:lnTo>
                <a:lnTo>
                  <a:pt x="2" y="38"/>
                </a:lnTo>
                <a:lnTo>
                  <a:pt x="8" y="46"/>
                </a:lnTo>
                <a:lnTo>
                  <a:pt x="16" y="52"/>
                </a:lnTo>
                <a:lnTo>
                  <a:pt x="26" y="54"/>
                </a:lnTo>
                <a:lnTo>
                  <a:pt x="26" y="54"/>
                </a:lnTo>
                <a:lnTo>
                  <a:pt x="36" y="52"/>
                </a:lnTo>
                <a:lnTo>
                  <a:pt x="46" y="46"/>
                </a:lnTo>
                <a:lnTo>
                  <a:pt x="52" y="38"/>
                </a:lnTo>
                <a:lnTo>
                  <a:pt x="54" y="26"/>
                </a:lnTo>
                <a:lnTo>
                  <a:pt x="54" y="26"/>
                </a:lnTo>
                <a:lnTo>
                  <a:pt x="52" y="16"/>
                </a:lnTo>
                <a:lnTo>
                  <a:pt x="46" y="8"/>
                </a:lnTo>
                <a:lnTo>
                  <a:pt x="36" y="2"/>
                </a:lnTo>
                <a:lnTo>
                  <a:pt x="26" y="0"/>
                </a:lnTo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04" name="Freeform 43"/>
          <p:cNvSpPr>
            <a:spLocks/>
          </p:cNvSpPr>
          <p:nvPr userDrawn="1"/>
        </p:nvSpPr>
        <p:spPr bwMode="auto">
          <a:xfrm>
            <a:off x="2066886" y="126840"/>
            <a:ext cx="108784" cy="96696"/>
          </a:xfrm>
          <a:custGeom>
            <a:avLst/>
            <a:gdLst/>
            <a:ahLst/>
            <a:cxnLst>
              <a:cxn ang="0">
                <a:pos x="28" y="0"/>
              </a:cxn>
              <a:cxn ang="0">
                <a:pos x="28" y="0"/>
              </a:cxn>
              <a:cxn ang="0">
                <a:pos x="16" y="2"/>
              </a:cxn>
              <a:cxn ang="0">
                <a:pos x="8" y="6"/>
              </a:cxn>
              <a:cxn ang="0">
                <a:pos x="2" y="16"/>
              </a:cxn>
              <a:cxn ang="0">
                <a:pos x="0" y="26"/>
              </a:cxn>
              <a:cxn ang="0">
                <a:pos x="0" y="26"/>
              </a:cxn>
              <a:cxn ang="0">
                <a:pos x="2" y="36"/>
              </a:cxn>
              <a:cxn ang="0">
                <a:pos x="8" y="44"/>
              </a:cxn>
              <a:cxn ang="0">
                <a:pos x="16" y="50"/>
              </a:cxn>
              <a:cxn ang="0">
                <a:pos x="28" y="52"/>
              </a:cxn>
              <a:cxn ang="0">
                <a:pos x="28" y="52"/>
              </a:cxn>
              <a:cxn ang="0">
                <a:pos x="38" y="50"/>
              </a:cxn>
              <a:cxn ang="0">
                <a:pos x="46" y="44"/>
              </a:cxn>
              <a:cxn ang="0">
                <a:pos x="52" y="36"/>
              </a:cxn>
              <a:cxn ang="0">
                <a:pos x="54" y="26"/>
              </a:cxn>
              <a:cxn ang="0">
                <a:pos x="54" y="26"/>
              </a:cxn>
              <a:cxn ang="0">
                <a:pos x="52" y="16"/>
              </a:cxn>
              <a:cxn ang="0">
                <a:pos x="46" y="6"/>
              </a:cxn>
              <a:cxn ang="0">
                <a:pos x="38" y="2"/>
              </a:cxn>
              <a:cxn ang="0">
                <a:pos x="28" y="0"/>
              </a:cxn>
            </a:cxnLst>
            <a:rect l="0" t="0" r="r" b="b"/>
            <a:pathLst>
              <a:path w="54" h="52">
                <a:moveTo>
                  <a:pt x="28" y="0"/>
                </a:moveTo>
                <a:lnTo>
                  <a:pt x="28" y="0"/>
                </a:lnTo>
                <a:lnTo>
                  <a:pt x="16" y="2"/>
                </a:lnTo>
                <a:lnTo>
                  <a:pt x="8" y="6"/>
                </a:lnTo>
                <a:lnTo>
                  <a:pt x="2" y="16"/>
                </a:lnTo>
                <a:lnTo>
                  <a:pt x="0" y="26"/>
                </a:lnTo>
                <a:lnTo>
                  <a:pt x="0" y="26"/>
                </a:lnTo>
                <a:lnTo>
                  <a:pt x="2" y="36"/>
                </a:lnTo>
                <a:lnTo>
                  <a:pt x="8" y="44"/>
                </a:lnTo>
                <a:lnTo>
                  <a:pt x="16" y="50"/>
                </a:lnTo>
                <a:lnTo>
                  <a:pt x="28" y="52"/>
                </a:lnTo>
                <a:lnTo>
                  <a:pt x="28" y="52"/>
                </a:lnTo>
                <a:lnTo>
                  <a:pt x="38" y="50"/>
                </a:lnTo>
                <a:lnTo>
                  <a:pt x="46" y="44"/>
                </a:lnTo>
                <a:lnTo>
                  <a:pt x="52" y="36"/>
                </a:lnTo>
                <a:lnTo>
                  <a:pt x="54" y="26"/>
                </a:lnTo>
                <a:lnTo>
                  <a:pt x="54" y="26"/>
                </a:lnTo>
                <a:lnTo>
                  <a:pt x="52" y="16"/>
                </a:lnTo>
                <a:lnTo>
                  <a:pt x="46" y="6"/>
                </a:lnTo>
                <a:lnTo>
                  <a:pt x="38" y="2"/>
                </a:lnTo>
                <a:lnTo>
                  <a:pt x="28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05" name="Freeform 44"/>
          <p:cNvSpPr>
            <a:spLocks/>
          </p:cNvSpPr>
          <p:nvPr userDrawn="1"/>
        </p:nvSpPr>
        <p:spPr bwMode="auto">
          <a:xfrm>
            <a:off x="2066886" y="126840"/>
            <a:ext cx="108784" cy="96696"/>
          </a:xfrm>
          <a:custGeom>
            <a:avLst/>
            <a:gdLst/>
            <a:ahLst/>
            <a:cxnLst>
              <a:cxn ang="0">
                <a:pos x="28" y="0"/>
              </a:cxn>
              <a:cxn ang="0">
                <a:pos x="28" y="0"/>
              </a:cxn>
              <a:cxn ang="0">
                <a:pos x="16" y="2"/>
              </a:cxn>
              <a:cxn ang="0">
                <a:pos x="8" y="6"/>
              </a:cxn>
              <a:cxn ang="0">
                <a:pos x="2" y="16"/>
              </a:cxn>
              <a:cxn ang="0">
                <a:pos x="0" y="26"/>
              </a:cxn>
              <a:cxn ang="0">
                <a:pos x="0" y="26"/>
              </a:cxn>
              <a:cxn ang="0">
                <a:pos x="2" y="36"/>
              </a:cxn>
              <a:cxn ang="0">
                <a:pos x="8" y="44"/>
              </a:cxn>
              <a:cxn ang="0">
                <a:pos x="16" y="50"/>
              </a:cxn>
              <a:cxn ang="0">
                <a:pos x="28" y="52"/>
              </a:cxn>
              <a:cxn ang="0">
                <a:pos x="28" y="52"/>
              </a:cxn>
              <a:cxn ang="0">
                <a:pos x="38" y="50"/>
              </a:cxn>
              <a:cxn ang="0">
                <a:pos x="46" y="44"/>
              </a:cxn>
              <a:cxn ang="0">
                <a:pos x="52" y="36"/>
              </a:cxn>
              <a:cxn ang="0">
                <a:pos x="54" y="26"/>
              </a:cxn>
              <a:cxn ang="0">
                <a:pos x="54" y="26"/>
              </a:cxn>
              <a:cxn ang="0">
                <a:pos x="52" y="16"/>
              </a:cxn>
              <a:cxn ang="0">
                <a:pos x="46" y="6"/>
              </a:cxn>
              <a:cxn ang="0">
                <a:pos x="38" y="2"/>
              </a:cxn>
              <a:cxn ang="0">
                <a:pos x="28" y="0"/>
              </a:cxn>
            </a:cxnLst>
            <a:rect l="0" t="0" r="r" b="b"/>
            <a:pathLst>
              <a:path w="54" h="52">
                <a:moveTo>
                  <a:pt x="28" y="0"/>
                </a:moveTo>
                <a:lnTo>
                  <a:pt x="28" y="0"/>
                </a:lnTo>
                <a:lnTo>
                  <a:pt x="16" y="2"/>
                </a:lnTo>
                <a:lnTo>
                  <a:pt x="8" y="6"/>
                </a:lnTo>
                <a:lnTo>
                  <a:pt x="2" y="16"/>
                </a:lnTo>
                <a:lnTo>
                  <a:pt x="0" y="26"/>
                </a:lnTo>
                <a:lnTo>
                  <a:pt x="0" y="26"/>
                </a:lnTo>
                <a:lnTo>
                  <a:pt x="2" y="36"/>
                </a:lnTo>
                <a:lnTo>
                  <a:pt x="8" y="44"/>
                </a:lnTo>
                <a:lnTo>
                  <a:pt x="16" y="50"/>
                </a:lnTo>
                <a:lnTo>
                  <a:pt x="28" y="52"/>
                </a:lnTo>
                <a:lnTo>
                  <a:pt x="28" y="52"/>
                </a:lnTo>
                <a:lnTo>
                  <a:pt x="38" y="50"/>
                </a:lnTo>
                <a:lnTo>
                  <a:pt x="46" y="44"/>
                </a:lnTo>
                <a:lnTo>
                  <a:pt x="52" y="36"/>
                </a:lnTo>
                <a:lnTo>
                  <a:pt x="54" y="26"/>
                </a:lnTo>
                <a:lnTo>
                  <a:pt x="54" y="26"/>
                </a:lnTo>
                <a:lnTo>
                  <a:pt x="52" y="16"/>
                </a:lnTo>
                <a:lnTo>
                  <a:pt x="46" y="6"/>
                </a:lnTo>
                <a:lnTo>
                  <a:pt x="38" y="2"/>
                </a:lnTo>
                <a:lnTo>
                  <a:pt x="28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06" name="Freeform 45"/>
          <p:cNvSpPr>
            <a:spLocks/>
          </p:cNvSpPr>
          <p:nvPr userDrawn="1"/>
        </p:nvSpPr>
        <p:spPr bwMode="auto">
          <a:xfrm>
            <a:off x="588237" y="-107463"/>
            <a:ext cx="108784" cy="96696"/>
          </a:xfrm>
          <a:custGeom>
            <a:avLst/>
            <a:gdLst/>
            <a:ahLst/>
            <a:cxnLst>
              <a:cxn ang="0">
                <a:pos x="28" y="0"/>
              </a:cxn>
              <a:cxn ang="0">
                <a:pos x="28" y="0"/>
              </a:cxn>
              <a:cxn ang="0">
                <a:pos x="16" y="2"/>
              </a:cxn>
              <a:cxn ang="0">
                <a:pos x="8" y="8"/>
              </a:cxn>
              <a:cxn ang="0">
                <a:pos x="2" y="16"/>
              </a:cxn>
              <a:cxn ang="0">
                <a:pos x="0" y="26"/>
              </a:cxn>
              <a:cxn ang="0">
                <a:pos x="0" y="26"/>
              </a:cxn>
              <a:cxn ang="0">
                <a:pos x="2" y="36"/>
              </a:cxn>
              <a:cxn ang="0">
                <a:pos x="8" y="46"/>
              </a:cxn>
              <a:cxn ang="0">
                <a:pos x="16" y="50"/>
              </a:cxn>
              <a:cxn ang="0">
                <a:pos x="28" y="52"/>
              </a:cxn>
              <a:cxn ang="0">
                <a:pos x="28" y="52"/>
              </a:cxn>
              <a:cxn ang="0">
                <a:pos x="38" y="50"/>
              </a:cxn>
              <a:cxn ang="0">
                <a:pos x="46" y="46"/>
              </a:cxn>
              <a:cxn ang="0">
                <a:pos x="52" y="36"/>
              </a:cxn>
              <a:cxn ang="0">
                <a:pos x="54" y="26"/>
              </a:cxn>
              <a:cxn ang="0">
                <a:pos x="54" y="26"/>
              </a:cxn>
              <a:cxn ang="0">
                <a:pos x="52" y="16"/>
              </a:cxn>
              <a:cxn ang="0">
                <a:pos x="46" y="8"/>
              </a:cxn>
              <a:cxn ang="0">
                <a:pos x="38" y="2"/>
              </a:cxn>
              <a:cxn ang="0">
                <a:pos x="28" y="0"/>
              </a:cxn>
            </a:cxnLst>
            <a:rect l="0" t="0" r="r" b="b"/>
            <a:pathLst>
              <a:path w="54" h="52">
                <a:moveTo>
                  <a:pt x="28" y="0"/>
                </a:moveTo>
                <a:lnTo>
                  <a:pt x="28" y="0"/>
                </a:lnTo>
                <a:lnTo>
                  <a:pt x="16" y="2"/>
                </a:lnTo>
                <a:lnTo>
                  <a:pt x="8" y="8"/>
                </a:lnTo>
                <a:lnTo>
                  <a:pt x="2" y="16"/>
                </a:lnTo>
                <a:lnTo>
                  <a:pt x="0" y="26"/>
                </a:lnTo>
                <a:lnTo>
                  <a:pt x="0" y="26"/>
                </a:lnTo>
                <a:lnTo>
                  <a:pt x="2" y="36"/>
                </a:lnTo>
                <a:lnTo>
                  <a:pt x="8" y="46"/>
                </a:lnTo>
                <a:lnTo>
                  <a:pt x="16" y="50"/>
                </a:lnTo>
                <a:lnTo>
                  <a:pt x="28" y="52"/>
                </a:lnTo>
                <a:lnTo>
                  <a:pt x="28" y="52"/>
                </a:lnTo>
                <a:lnTo>
                  <a:pt x="38" y="50"/>
                </a:lnTo>
                <a:lnTo>
                  <a:pt x="46" y="46"/>
                </a:lnTo>
                <a:lnTo>
                  <a:pt x="52" y="36"/>
                </a:lnTo>
                <a:lnTo>
                  <a:pt x="54" y="26"/>
                </a:lnTo>
                <a:lnTo>
                  <a:pt x="54" y="26"/>
                </a:lnTo>
                <a:lnTo>
                  <a:pt x="52" y="16"/>
                </a:lnTo>
                <a:lnTo>
                  <a:pt x="46" y="8"/>
                </a:lnTo>
                <a:lnTo>
                  <a:pt x="38" y="2"/>
                </a:lnTo>
                <a:lnTo>
                  <a:pt x="28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07" name="Freeform 46"/>
          <p:cNvSpPr>
            <a:spLocks/>
          </p:cNvSpPr>
          <p:nvPr userDrawn="1"/>
        </p:nvSpPr>
        <p:spPr bwMode="auto">
          <a:xfrm>
            <a:off x="588237" y="-107463"/>
            <a:ext cx="108784" cy="96696"/>
          </a:xfrm>
          <a:custGeom>
            <a:avLst/>
            <a:gdLst/>
            <a:ahLst/>
            <a:cxnLst>
              <a:cxn ang="0">
                <a:pos x="28" y="0"/>
              </a:cxn>
              <a:cxn ang="0">
                <a:pos x="28" y="0"/>
              </a:cxn>
              <a:cxn ang="0">
                <a:pos x="16" y="2"/>
              </a:cxn>
              <a:cxn ang="0">
                <a:pos x="8" y="8"/>
              </a:cxn>
              <a:cxn ang="0">
                <a:pos x="2" y="16"/>
              </a:cxn>
              <a:cxn ang="0">
                <a:pos x="0" y="26"/>
              </a:cxn>
              <a:cxn ang="0">
                <a:pos x="0" y="26"/>
              </a:cxn>
              <a:cxn ang="0">
                <a:pos x="2" y="36"/>
              </a:cxn>
              <a:cxn ang="0">
                <a:pos x="8" y="46"/>
              </a:cxn>
              <a:cxn ang="0">
                <a:pos x="16" y="50"/>
              </a:cxn>
              <a:cxn ang="0">
                <a:pos x="28" y="52"/>
              </a:cxn>
              <a:cxn ang="0">
                <a:pos x="28" y="52"/>
              </a:cxn>
              <a:cxn ang="0">
                <a:pos x="38" y="50"/>
              </a:cxn>
              <a:cxn ang="0">
                <a:pos x="46" y="46"/>
              </a:cxn>
              <a:cxn ang="0">
                <a:pos x="52" y="36"/>
              </a:cxn>
              <a:cxn ang="0">
                <a:pos x="54" y="26"/>
              </a:cxn>
              <a:cxn ang="0">
                <a:pos x="54" y="26"/>
              </a:cxn>
              <a:cxn ang="0">
                <a:pos x="52" y="16"/>
              </a:cxn>
              <a:cxn ang="0">
                <a:pos x="46" y="8"/>
              </a:cxn>
              <a:cxn ang="0">
                <a:pos x="38" y="2"/>
              </a:cxn>
              <a:cxn ang="0">
                <a:pos x="28" y="0"/>
              </a:cxn>
            </a:cxnLst>
            <a:rect l="0" t="0" r="r" b="b"/>
            <a:pathLst>
              <a:path w="54" h="52">
                <a:moveTo>
                  <a:pt x="28" y="0"/>
                </a:moveTo>
                <a:lnTo>
                  <a:pt x="28" y="0"/>
                </a:lnTo>
                <a:lnTo>
                  <a:pt x="16" y="2"/>
                </a:lnTo>
                <a:lnTo>
                  <a:pt x="8" y="8"/>
                </a:lnTo>
                <a:lnTo>
                  <a:pt x="2" y="16"/>
                </a:lnTo>
                <a:lnTo>
                  <a:pt x="0" y="26"/>
                </a:lnTo>
                <a:lnTo>
                  <a:pt x="0" y="26"/>
                </a:lnTo>
                <a:lnTo>
                  <a:pt x="2" y="36"/>
                </a:lnTo>
                <a:lnTo>
                  <a:pt x="8" y="46"/>
                </a:lnTo>
                <a:lnTo>
                  <a:pt x="16" y="50"/>
                </a:lnTo>
                <a:lnTo>
                  <a:pt x="28" y="52"/>
                </a:lnTo>
                <a:lnTo>
                  <a:pt x="28" y="52"/>
                </a:lnTo>
                <a:lnTo>
                  <a:pt x="38" y="50"/>
                </a:lnTo>
                <a:lnTo>
                  <a:pt x="46" y="46"/>
                </a:lnTo>
                <a:lnTo>
                  <a:pt x="52" y="36"/>
                </a:lnTo>
                <a:lnTo>
                  <a:pt x="54" y="26"/>
                </a:lnTo>
                <a:lnTo>
                  <a:pt x="54" y="26"/>
                </a:lnTo>
                <a:lnTo>
                  <a:pt x="52" y="16"/>
                </a:lnTo>
                <a:lnTo>
                  <a:pt x="46" y="8"/>
                </a:lnTo>
                <a:lnTo>
                  <a:pt x="38" y="2"/>
                </a:lnTo>
                <a:lnTo>
                  <a:pt x="28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08" name="Freeform 47"/>
          <p:cNvSpPr>
            <a:spLocks/>
          </p:cNvSpPr>
          <p:nvPr userDrawn="1"/>
        </p:nvSpPr>
        <p:spPr bwMode="auto">
          <a:xfrm>
            <a:off x="3182925" y="2161185"/>
            <a:ext cx="104754" cy="100416"/>
          </a:xfrm>
          <a:custGeom>
            <a:avLst/>
            <a:gdLst/>
            <a:ahLst/>
            <a:cxnLst>
              <a:cxn ang="0">
                <a:pos x="26" y="0"/>
              </a:cxn>
              <a:cxn ang="0">
                <a:pos x="26" y="0"/>
              </a:cxn>
              <a:cxn ang="0">
                <a:pos x="16" y="2"/>
              </a:cxn>
              <a:cxn ang="0">
                <a:pos x="8" y="8"/>
              </a:cxn>
              <a:cxn ang="0">
                <a:pos x="2" y="16"/>
              </a:cxn>
              <a:cxn ang="0">
                <a:pos x="0" y="26"/>
              </a:cxn>
              <a:cxn ang="0">
                <a:pos x="0" y="26"/>
              </a:cxn>
              <a:cxn ang="0">
                <a:pos x="2" y="38"/>
              </a:cxn>
              <a:cxn ang="0">
                <a:pos x="8" y="46"/>
              </a:cxn>
              <a:cxn ang="0">
                <a:pos x="16" y="52"/>
              </a:cxn>
              <a:cxn ang="0">
                <a:pos x="26" y="54"/>
              </a:cxn>
              <a:cxn ang="0">
                <a:pos x="26" y="54"/>
              </a:cxn>
              <a:cxn ang="0">
                <a:pos x="36" y="52"/>
              </a:cxn>
              <a:cxn ang="0">
                <a:pos x="46" y="46"/>
              </a:cxn>
              <a:cxn ang="0">
                <a:pos x="50" y="38"/>
              </a:cxn>
              <a:cxn ang="0">
                <a:pos x="52" y="26"/>
              </a:cxn>
              <a:cxn ang="0">
                <a:pos x="52" y="26"/>
              </a:cxn>
              <a:cxn ang="0">
                <a:pos x="50" y="16"/>
              </a:cxn>
              <a:cxn ang="0">
                <a:pos x="46" y="8"/>
              </a:cxn>
              <a:cxn ang="0">
                <a:pos x="36" y="2"/>
              </a:cxn>
              <a:cxn ang="0">
                <a:pos x="26" y="0"/>
              </a:cxn>
            </a:cxnLst>
            <a:rect l="0" t="0" r="r" b="b"/>
            <a:pathLst>
              <a:path w="52" h="54">
                <a:moveTo>
                  <a:pt x="26" y="0"/>
                </a:moveTo>
                <a:lnTo>
                  <a:pt x="26" y="0"/>
                </a:lnTo>
                <a:lnTo>
                  <a:pt x="16" y="2"/>
                </a:lnTo>
                <a:lnTo>
                  <a:pt x="8" y="8"/>
                </a:lnTo>
                <a:lnTo>
                  <a:pt x="2" y="16"/>
                </a:lnTo>
                <a:lnTo>
                  <a:pt x="0" y="26"/>
                </a:lnTo>
                <a:lnTo>
                  <a:pt x="0" y="26"/>
                </a:lnTo>
                <a:lnTo>
                  <a:pt x="2" y="38"/>
                </a:lnTo>
                <a:lnTo>
                  <a:pt x="8" y="46"/>
                </a:lnTo>
                <a:lnTo>
                  <a:pt x="16" y="52"/>
                </a:lnTo>
                <a:lnTo>
                  <a:pt x="26" y="54"/>
                </a:lnTo>
                <a:lnTo>
                  <a:pt x="26" y="54"/>
                </a:lnTo>
                <a:lnTo>
                  <a:pt x="36" y="52"/>
                </a:lnTo>
                <a:lnTo>
                  <a:pt x="46" y="46"/>
                </a:lnTo>
                <a:lnTo>
                  <a:pt x="50" y="38"/>
                </a:lnTo>
                <a:lnTo>
                  <a:pt x="52" y="26"/>
                </a:lnTo>
                <a:lnTo>
                  <a:pt x="52" y="26"/>
                </a:lnTo>
                <a:lnTo>
                  <a:pt x="50" y="16"/>
                </a:lnTo>
                <a:lnTo>
                  <a:pt x="46" y="8"/>
                </a:lnTo>
                <a:lnTo>
                  <a:pt x="36" y="2"/>
                </a:lnTo>
                <a:lnTo>
                  <a:pt x="26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09" name="Freeform 48"/>
          <p:cNvSpPr>
            <a:spLocks/>
          </p:cNvSpPr>
          <p:nvPr userDrawn="1"/>
        </p:nvSpPr>
        <p:spPr bwMode="auto">
          <a:xfrm>
            <a:off x="3182925" y="2161185"/>
            <a:ext cx="104754" cy="100416"/>
          </a:xfrm>
          <a:custGeom>
            <a:avLst/>
            <a:gdLst/>
            <a:ahLst/>
            <a:cxnLst>
              <a:cxn ang="0">
                <a:pos x="26" y="0"/>
              </a:cxn>
              <a:cxn ang="0">
                <a:pos x="26" y="0"/>
              </a:cxn>
              <a:cxn ang="0">
                <a:pos x="16" y="2"/>
              </a:cxn>
              <a:cxn ang="0">
                <a:pos x="8" y="8"/>
              </a:cxn>
              <a:cxn ang="0">
                <a:pos x="2" y="16"/>
              </a:cxn>
              <a:cxn ang="0">
                <a:pos x="0" y="26"/>
              </a:cxn>
              <a:cxn ang="0">
                <a:pos x="0" y="26"/>
              </a:cxn>
              <a:cxn ang="0">
                <a:pos x="2" y="38"/>
              </a:cxn>
              <a:cxn ang="0">
                <a:pos x="8" y="46"/>
              </a:cxn>
              <a:cxn ang="0">
                <a:pos x="16" y="52"/>
              </a:cxn>
              <a:cxn ang="0">
                <a:pos x="26" y="54"/>
              </a:cxn>
              <a:cxn ang="0">
                <a:pos x="26" y="54"/>
              </a:cxn>
              <a:cxn ang="0">
                <a:pos x="36" y="52"/>
              </a:cxn>
              <a:cxn ang="0">
                <a:pos x="46" y="46"/>
              </a:cxn>
              <a:cxn ang="0">
                <a:pos x="50" y="38"/>
              </a:cxn>
              <a:cxn ang="0">
                <a:pos x="52" y="26"/>
              </a:cxn>
              <a:cxn ang="0">
                <a:pos x="52" y="26"/>
              </a:cxn>
              <a:cxn ang="0">
                <a:pos x="50" y="16"/>
              </a:cxn>
              <a:cxn ang="0">
                <a:pos x="46" y="8"/>
              </a:cxn>
              <a:cxn ang="0">
                <a:pos x="36" y="2"/>
              </a:cxn>
              <a:cxn ang="0">
                <a:pos x="26" y="0"/>
              </a:cxn>
            </a:cxnLst>
            <a:rect l="0" t="0" r="r" b="b"/>
            <a:pathLst>
              <a:path w="52" h="54">
                <a:moveTo>
                  <a:pt x="26" y="0"/>
                </a:moveTo>
                <a:lnTo>
                  <a:pt x="26" y="0"/>
                </a:lnTo>
                <a:lnTo>
                  <a:pt x="16" y="2"/>
                </a:lnTo>
                <a:lnTo>
                  <a:pt x="8" y="8"/>
                </a:lnTo>
                <a:lnTo>
                  <a:pt x="2" y="16"/>
                </a:lnTo>
                <a:lnTo>
                  <a:pt x="0" y="26"/>
                </a:lnTo>
                <a:lnTo>
                  <a:pt x="0" y="26"/>
                </a:lnTo>
                <a:lnTo>
                  <a:pt x="2" y="38"/>
                </a:lnTo>
                <a:lnTo>
                  <a:pt x="8" y="46"/>
                </a:lnTo>
                <a:lnTo>
                  <a:pt x="16" y="52"/>
                </a:lnTo>
                <a:lnTo>
                  <a:pt x="26" y="54"/>
                </a:lnTo>
                <a:lnTo>
                  <a:pt x="26" y="54"/>
                </a:lnTo>
                <a:lnTo>
                  <a:pt x="36" y="52"/>
                </a:lnTo>
                <a:lnTo>
                  <a:pt x="46" y="46"/>
                </a:lnTo>
                <a:lnTo>
                  <a:pt x="50" y="38"/>
                </a:lnTo>
                <a:lnTo>
                  <a:pt x="52" y="26"/>
                </a:lnTo>
                <a:lnTo>
                  <a:pt x="52" y="26"/>
                </a:lnTo>
                <a:lnTo>
                  <a:pt x="50" y="16"/>
                </a:lnTo>
                <a:lnTo>
                  <a:pt x="46" y="8"/>
                </a:lnTo>
                <a:lnTo>
                  <a:pt x="36" y="2"/>
                </a:lnTo>
                <a:lnTo>
                  <a:pt x="26" y="0"/>
                </a:lnTo>
              </a:path>
            </a:pathLst>
          </a:custGeom>
          <a:solidFill>
            <a:srgbClr val="CC0066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10" name="Freeform 49"/>
          <p:cNvSpPr>
            <a:spLocks/>
          </p:cNvSpPr>
          <p:nvPr userDrawn="1"/>
        </p:nvSpPr>
        <p:spPr bwMode="auto">
          <a:xfrm>
            <a:off x="2473825" y="915288"/>
            <a:ext cx="612411" cy="565302"/>
          </a:xfrm>
          <a:custGeom>
            <a:avLst/>
            <a:gdLst/>
            <a:ahLst/>
            <a:cxnLst>
              <a:cxn ang="0">
                <a:pos x="152" y="0"/>
              </a:cxn>
              <a:cxn ang="0">
                <a:pos x="122" y="4"/>
              </a:cxn>
              <a:cxn ang="0">
                <a:pos x="92" y="12"/>
              </a:cxn>
              <a:cxn ang="0">
                <a:pos x="66" y="26"/>
              </a:cxn>
              <a:cxn ang="0">
                <a:pos x="44" y="46"/>
              </a:cxn>
              <a:cxn ang="0">
                <a:pos x="26" y="68"/>
              </a:cxn>
              <a:cxn ang="0">
                <a:pos x="12" y="94"/>
              </a:cxn>
              <a:cxn ang="0">
                <a:pos x="2" y="122"/>
              </a:cxn>
              <a:cxn ang="0">
                <a:pos x="0" y="152"/>
              </a:cxn>
              <a:cxn ang="0">
                <a:pos x="0" y="168"/>
              </a:cxn>
              <a:cxn ang="0">
                <a:pos x="6" y="198"/>
              </a:cxn>
              <a:cxn ang="0">
                <a:pos x="18" y="226"/>
              </a:cxn>
              <a:cxn ang="0">
                <a:pos x="34" y="250"/>
              </a:cxn>
              <a:cxn ang="0">
                <a:pos x="56" y="270"/>
              </a:cxn>
              <a:cxn ang="0">
                <a:pos x="80" y="286"/>
              </a:cxn>
              <a:cxn ang="0">
                <a:pos x="106" y="298"/>
              </a:cxn>
              <a:cxn ang="0">
                <a:pos x="136" y="304"/>
              </a:cxn>
              <a:cxn ang="0">
                <a:pos x="152" y="304"/>
              </a:cxn>
              <a:cxn ang="0">
                <a:pos x="182" y="302"/>
              </a:cxn>
              <a:cxn ang="0">
                <a:pos x="212" y="292"/>
              </a:cxn>
              <a:cxn ang="0">
                <a:pos x="236" y="278"/>
              </a:cxn>
              <a:cxn ang="0">
                <a:pos x="260" y="260"/>
              </a:cxn>
              <a:cxn ang="0">
                <a:pos x="278" y="238"/>
              </a:cxn>
              <a:cxn ang="0">
                <a:pos x="292" y="212"/>
              </a:cxn>
              <a:cxn ang="0">
                <a:pos x="300" y="184"/>
              </a:cxn>
              <a:cxn ang="0">
                <a:pos x="304" y="152"/>
              </a:cxn>
              <a:cxn ang="0">
                <a:pos x="304" y="138"/>
              </a:cxn>
              <a:cxn ang="0">
                <a:pos x="298" y="108"/>
              </a:cxn>
              <a:cxn ang="0">
                <a:pos x="286" y="80"/>
              </a:cxn>
              <a:cxn ang="0">
                <a:pos x="270" y="56"/>
              </a:cxn>
              <a:cxn ang="0">
                <a:pos x="248" y="36"/>
              </a:cxn>
              <a:cxn ang="0">
                <a:pos x="224" y="18"/>
              </a:cxn>
              <a:cxn ang="0">
                <a:pos x="198" y="8"/>
              </a:cxn>
              <a:cxn ang="0">
                <a:pos x="168" y="2"/>
              </a:cxn>
            </a:cxnLst>
            <a:rect l="0" t="0" r="r" b="b"/>
            <a:pathLst>
              <a:path w="304" h="304">
                <a:moveTo>
                  <a:pt x="152" y="0"/>
                </a:moveTo>
                <a:lnTo>
                  <a:pt x="152" y="0"/>
                </a:lnTo>
                <a:lnTo>
                  <a:pt x="136" y="2"/>
                </a:lnTo>
                <a:lnTo>
                  <a:pt x="122" y="4"/>
                </a:lnTo>
                <a:lnTo>
                  <a:pt x="106" y="8"/>
                </a:lnTo>
                <a:lnTo>
                  <a:pt x="92" y="12"/>
                </a:lnTo>
                <a:lnTo>
                  <a:pt x="80" y="18"/>
                </a:lnTo>
                <a:lnTo>
                  <a:pt x="66" y="26"/>
                </a:lnTo>
                <a:lnTo>
                  <a:pt x="56" y="36"/>
                </a:lnTo>
                <a:lnTo>
                  <a:pt x="44" y="46"/>
                </a:lnTo>
                <a:lnTo>
                  <a:pt x="34" y="56"/>
                </a:lnTo>
                <a:lnTo>
                  <a:pt x="26" y="68"/>
                </a:lnTo>
                <a:lnTo>
                  <a:pt x="18" y="80"/>
                </a:lnTo>
                <a:lnTo>
                  <a:pt x="12" y="94"/>
                </a:lnTo>
                <a:lnTo>
                  <a:pt x="6" y="108"/>
                </a:lnTo>
                <a:lnTo>
                  <a:pt x="2" y="122"/>
                </a:lnTo>
                <a:lnTo>
                  <a:pt x="0" y="138"/>
                </a:lnTo>
                <a:lnTo>
                  <a:pt x="0" y="152"/>
                </a:lnTo>
                <a:lnTo>
                  <a:pt x="0" y="152"/>
                </a:lnTo>
                <a:lnTo>
                  <a:pt x="0" y="168"/>
                </a:lnTo>
                <a:lnTo>
                  <a:pt x="2" y="184"/>
                </a:lnTo>
                <a:lnTo>
                  <a:pt x="6" y="198"/>
                </a:lnTo>
                <a:lnTo>
                  <a:pt x="12" y="212"/>
                </a:lnTo>
                <a:lnTo>
                  <a:pt x="18" y="226"/>
                </a:lnTo>
                <a:lnTo>
                  <a:pt x="26" y="238"/>
                </a:lnTo>
                <a:lnTo>
                  <a:pt x="34" y="250"/>
                </a:lnTo>
                <a:lnTo>
                  <a:pt x="44" y="260"/>
                </a:lnTo>
                <a:lnTo>
                  <a:pt x="56" y="270"/>
                </a:lnTo>
                <a:lnTo>
                  <a:pt x="66" y="278"/>
                </a:lnTo>
                <a:lnTo>
                  <a:pt x="80" y="286"/>
                </a:lnTo>
                <a:lnTo>
                  <a:pt x="92" y="292"/>
                </a:lnTo>
                <a:lnTo>
                  <a:pt x="106" y="298"/>
                </a:lnTo>
                <a:lnTo>
                  <a:pt x="122" y="302"/>
                </a:lnTo>
                <a:lnTo>
                  <a:pt x="136" y="304"/>
                </a:lnTo>
                <a:lnTo>
                  <a:pt x="152" y="304"/>
                </a:lnTo>
                <a:lnTo>
                  <a:pt x="152" y="304"/>
                </a:lnTo>
                <a:lnTo>
                  <a:pt x="168" y="304"/>
                </a:lnTo>
                <a:lnTo>
                  <a:pt x="182" y="302"/>
                </a:lnTo>
                <a:lnTo>
                  <a:pt x="198" y="298"/>
                </a:lnTo>
                <a:lnTo>
                  <a:pt x="212" y="292"/>
                </a:lnTo>
                <a:lnTo>
                  <a:pt x="224" y="286"/>
                </a:lnTo>
                <a:lnTo>
                  <a:pt x="236" y="278"/>
                </a:lnTo>
                <a:lnTo>
                  <a:pt x="248" y="270"/>
                </a:lnTo>
                <a:lnTo>
                  <a:pt x="260" y="260"/>
                </a:lnTo>
                <a:lnTo>
                  <a:pt x="270" y="250"/>
                </a:lnTo>
                <a:lnTo>
                  <a:pt x="278" y="238"/>
                </a:lnTo>
                <a:lnTo>
                  <a:pt x="286" y="226"/>
                </a:lnTo>
                <a:lnTo>
                  <a:pt x="292" y="212"/>
                </a:lnTo>
                <a:lnTo>
                  <a:pt x="298" y="198"/>
                </a:lnTo>
                <a:lnTo>
                  <a:pt x="300" y="184"/>
                </a:lnTo>
                <a:lnTo>
                  <a:pt x="304" y="168"/>
                </a:lnTo>
                <a:lnTo>
                  <a:pt x="304" y="152"/>
                </a:lnTo>
                <a:lnTo>
                  <a:pt x="304" y="152"/>
                </a:lnTo>
                <a:lnTo>
                  <a:pt x="304" y="138"/>
                </a:lnTo>
                <a:lnTo>
                  <a:pt x="300" y="122"/>
                </a:lnTo>
                <a:lnTo>
                  <a:pt x="298" y="108"/>
                </a:lnTo>
                <a:lnTo>
                  <a:pt x="292" y="94"/>
                </a:lnTo>
                <a:lnTo>
                  <a:pt x="286" y="80"/>
                </a:lnTo>
                <a:lnTo>
                  <a:pt x="278" y="68"/>
                </a:lnTo>
                <a:lnTo>
                  <a:pt x="270" y="56"/>
                </a:lnTo>
                <a:lnTo>
                  <a:pt x="260" y="46"/>
                </a:lnTo>
                <a:lnTo>
                  <a:pt x="248" y="36"/>
                </a:lnTo>
                <a:lnTo>
                  <a:pt x="236" y="26"/>
                </a:lnTo>
                <a:lnTo>
                  <a:pt x="224" y="18"/>
                </a:lnTo>
                <a:lnTo>
                  <a:pt x="212" y="12"/>
                </a:lnTo>
                <a:lnTo>
                  <a:pt x="198" y="8"/>
                </a:lnTo>
                <a:lnTo>
                  <a:pt x="182" y="4"/>
                </a:lnTo>
                <a:lnTo>
                  <a:pt x="168" y="2"/>
                </a:lnTo>
                <a:lnTo>
                  <a:pt x="152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11" name="Freeform 50"/>
          <p:cNvSpPr>
            <a:spLocks/>
          </p:cNvSpPr>
          <p:nvPr userDrawn="1"/>
        </p:nvSpPr>
        <p:spPr bwMode="auto">
          <a:xfrm>
            <a:off x="2473825" y="915288"/>
            <a:ext cx="612411" cy="565302"/>
          </a:xfrm>
          <a:custGeom>
            <a:avLst/>
            <a:gdLst/>
            <a:ahLst/>
            <a:cxnLst>
              <a:cxn ang="0">
                <a:pos x="152" y="0"/>
              </a:cxn>
              <a:cxn ang="0">
                <a:pos x="122" y="4"/>
              </a:cxn>
              <a:cxn ang="0">
                <a:pos x="92" y="12"/>
              </a:cxn>
              <a:cxn ang="0">
                <a:pos x="66" y="26"/>
              </a:cxn>
              <a:cxn ang="0">
                <a:pos x="44" y="46"/>
              </a:cxn>
              <a:cxn ang="0">
                <a:pos x="26" y="68"/>
              </a:cxn>
              <a:cxn ang="0">
                <a:pos x="12" y="94"/>
              </a:cxn>
              <a:cxn ang="0">
                <a:pos x="2" y="122"/>
              </a:cxn>
              <a:cxn ang="0">
                <a:pos x="0" y="152"/>
              </a:cxn>
              <a:cxn ang="0">
                <a:pos x="0" y="168"/>
              </a:cxn>
              <a:cxn ang="0">
                <a:pos x="6" y="198"/>
              </a:cxn>
              <a:cxn ang="0">
                <a:pos x="18" y="226"/>
              </a:cxn>
              <a:cxn ang="0">
                <a:pos x="34" y="250"/>
              </a:cxn>
              <a:cxn ang="0">
                <a:pos x="56" y="270"/>
              </a:cxn>
              <a:cxn ang="0">
                <a:pos x="80" y="286"/>
              </a:cxn>
              <a:cxn ang="0">
                <a:pos x="106" y="298"/>
              </a:cxn>
              <a:cxn ang="0">
                <a:pos x="136" y="304"/>
              </a:cxn>
              <a:cxn ang="0">
                <a:pos x="152" y="304"/>
              </a:cxn>
              <a:cxn ang="0">
                <a:pos x="182" y="302"/>
              </a:cxn>
              <a:cxn ang="0">
                <a:pos x="212" y="292"/>
              </a:cxn>
              <a:cxn ang="0">
                <a:pos x="236" y="278"/>
              </a:cxn>
              <a:cxn ang="0">
                <a:pos x="260" y="260"/>
              </a:cxn>
              <a:cxn ang="0">
                <a:pos x="278" y="238"/>
              </a:cxn>
              <a:cxn ang="0">
                <a:pos x="292" y="212"/>
              </a:cxn>
              <a:cxn ang="0">
                <a:pos x="300" y="184"/>
              </a:cxn>
              <a:cxn ang="0">
                <a:pos x="304" y="152"/>
              </a:cxn>
              <a:cxn ang="0">
                <a:pos x="304" y="138"/>
              </a:cxn>
              <a:cxn ang="0">
                <a:pos x="298" y="108"/>
              </a:cxn>
              <a:cxn ang="0">
                <a:pos x="286" y="80"/>
              </a:cxn>
              <a:cxn ang="0">
                <a:pos x="270" y="56"/>
              </a:cxn>
              <a:cxn ang="0">
                <a:pos x="248" y="36"/>
              </a:cxn>
              <a:cxn ang="0">
                <a:pos x="224" y="18"/>
              </a:cxn>
              <a:cxn ang="0">
                <a:pos x="198" y="8"/>
              </a:cxn>
              <a:cxn ang="0">
                <a:pos x="168" y="2"/>
              </a:cxn>
            </a:cxnLst>
            <a:rect l="0" t="0" r="r" b="b"/>
            <a:pathLst>
              <a:path w="304" h="304">
                <a:moveTo>
                  <a:pt x="152" y="0"/>
                </a:moveTo>
                <a:lnTo>
                  <a:pt x="152" y="0"/>
                </a:lnTo>
                <a:lnTo>
                  <a:pt x="136" y="2"/>
                </a:lnTo>
                <a:lnTo>
                  <a:pt x="122" y="4"/>
                </a:lnTo>
                <a:lnTo>
                  <a:pt x="106" y="8"/>
                </a:lnTo>
                <a:lnTo>
                  <a:pt x="92" y="12"/>
                </a:lnTo>
                <a:lnTo>
                  <a:pt x="80" y="18"/>
                </a:lnTo>
                <a:lnTo>
                  <a:pt x="66" y="26"/>
                </a:lnTo>
                <a:lnTo>
                  <a:pt x="56" y="36"/>
                </a:lnTo>
                <a:lnTo>
                  <a:pt x="44" y="46"/>
                </a:lnTo>
                <a:lnTo>
                  <a:pt x="34" y="56"/>
                </a:lnTo>
                <a:lnTo>
                  <a:pt x="26" y="68"/>
                </a:lnTo>
                <a:lnTo>
                  <a:pt x="18" y="80"/>
                </a:lnTo>
                <a:lnTo>
                  <a:pt x="12" y="94"/>
                </a:lnTo>
                <a:lnTo>
                  <a:pt x="6" y="108"/>
                </a:lnTo>
                <a:lnTo>
                  <a:pt x="2" y="122"/>
                </a:lnTo>
                <a:lnTo>
                  <a:pt x="0" y="138"/>
                </a:lnTo>
                <a:lnTo>
                  <a:pt x="0" y="152"/>
                </a:lnTo>
                <a:lnTo>
                  <a:pt x="0" y="152"/>
                </a:lnTo>
                <a:lnTo>
                  <a:pt x="0" y="168"/>
                </a:lnTo>
                <a:lnTo>
                  <a:pt x="2" y="184"/>
                </a:lnTo>
                <a:lnTo>
                  <a:pt x="6" y="198"/>
                </a:lnTo>
                <a:lnTo>
                  <a:pt x="12" y="212"/>
                </a:lnTo>
                <a:lnTo>
                  <a:pt x="18" y="226"/>
                </a:lnTo>
                <a:lnTo>
                  <a:pt x="26" y="238"/>
                </a:lnTo>
                <a:lnTo>
                  <a:pt x="34" y="250"/>
                </a:lnTo>
                <a:lnTo>
                  <a:pt x="44" y="260"/>
                </a:lnTo>
                <a:lnTo>
                  <a:pt x="56" y="270"/>
                </a:lnTo>
                <a:lnTo>
                  <a:pt x="66" y="278"/>
                </a:lnTo>
                <a:lnTo>
                  <a:pt x="80" y="286"/>
                </a:lnTo>
                <a:lnTo>
                  <a:pt x="92" y="292"/>
                </a:lnTo>
                <a:lnTo>
                  <a:pt x="106" y="298"/>
                </a:lnTo>
                <a:lnTo>
                  <a:pt x="122" y="302"/>
                </a:lnTo>
                <a:lnTo>
                  <a:pt x="136" y="304"/>
                </a:lnTo>
                <a:lnTo>
                  <a:pt x="152" y="304"/>
                </a:lnTo>
                <a:lnTo>
                  <a:pt x="152" y="304"/>
                </a:lnTo>
                <a:lnTo>
                  <a:pt x="168" y="304"/>
                </a:lnTo>
                <a:lnTo>
                  <a:pt x="182" y="302"/>
                </a:lnTo>
                <a:lnTo>
                  <a:pt x="198" y="298"/>
                </a:lnTo>
                <a:lnTo>
                  <a:pt x="212" y="292"/>
                </a:lnTo>
                <a:lnTo>
                  <a:pt x="224" y="286"/>
                </a:lnTo>
                <a:lnTo>
                  <a:pt x="236" y="278"/>
                </a:lnTo>
                <a:lnTo>
                  <a:pt x="248" y="270"/>
                </a:lnTo>
                <a:lnTo>
                  <a:pt x="260" y="260"/>
                </a:lnTo>
                <a:lnTo>
                  <a:pt x="270" y="250"/>
                </a:lnTo>
                <a:lnTo>
                  <a:pt x="278" y="238"/>
                </a:lnTo>
                <a:lnTo>
                  <a:pt x="286" y="226"/>
                </a:lnTo>
                <a:lnTo>
                  <a:pt x="292" y="212"/>
                </a:lnTo>
                <a:lnTo>
                  <a:pt x="298" y="198"/>
                </a:lnTo>
                <a:lnTo>
                  <a:pt x="300" y="184"/>
                </a:lnTo>
                <a:lnTo>
                  <a:pt x="304" y="168"/>
                </a:lnTo>
                <a:lnTo>
                  <a:pt x="304" y="152"/>
                </a:lnTo>
                <a:lnTo>
                  <a:pt x="304" y="152"/>
                </a:lnTo>
                <a:lnTo>
                  <a:pt x="304" y="138"/>
                </a:lnTo>
                <a:lnTo>
                  <a:pt x="300" y="122"/>
                </a:lnTo>
                <a:lnTo>
                  <a:pt x="298" y="108"/>
                </a:lnTo>
                <a:lnTo>
                  <a:pt x="292" y="94"/>
                </a:lnTo>
                <a:lnTo>
                  <a:pt x="286" y="80"/>
                </a:lnTo>
                <a:lnTo>
                  <a:pt x="278" y="68"/>
                </a:lnTo>
                <a:lnTo>
                  <a:pt x="270" y="56"/>
                </a:lnTo>
                <a:lnTo>
                  <a:pt x="260" y="46"/>
                </a:lnTo>
                <a:lnTo>
                  <a:pt x="248" y="36"/>
                </a:lnTo>
                <a:lnTo>
                  <a:pt x="236" y="26"/>
                </a:lnTo>
                <a:lnTo>
                  <a:pt x="224" y="18"/>
                </a:lnTo>
                <a:lnTo>
                  <a:pt x="212" y="12"/>
                </a:lnTo>
                <a:lnTo>
                  <a:pt x="198" y="8"/>
                </a:lnTo>
                <a:lnTo>
                  <a:pt x="182" y="4"/>
                </a:lnTo>
                <a:lnTo>
                  <a:pt x="168" y="2"/>
                </a:lnTo>
                <a:lnTo>
                  <a:pt x="15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12" name="Freeform 51"/>
          <p:cNvSpPr>
            <a:spLocks/>
          </p:cNvSpPr>
          <p:nvPr userDrawn="1"/>
        </p:nvSpPr>
        <p:spPr bwMode="auto">
          <a:xfrm>
            <a:off x="1643846" y="1127286"/>
            <a:ext cx="431105" cy="397943"/>
          </a:xfrm>
          <a:custGeom>
            <a:avLst/>
            <a:gdLst/>
            <a:ahLst/>
            <a:cxnLst>
              <a:cxn ang="0">
                <a:pos x="108" y="0"/>
              </a:cxn>
              <a:cxn ang="0">
                <a:pos x="108" y="0"/>
              </a:cxn>
              <a:cxn ang="0">
                <a:pos x="86" y="2"/>
              </a:cxn>
              <a:cxn ang="0">
                <a:pos x="66" y="8"/>
              </a:cxn>
              <a:cxn ang="0">
                <a:pos x="48" y="18"/>
              </a:cxn>
              <a:cxn ang="0">
                <a:pos x="32" y="32"/>
              </a:cxn>
              <a:cxn ang="0">
                <a:pos x="18" y="48"/>
              </a:cxn>
              <a:cxn ang="0">
                <a:pos x="8" y="66"/>
              </a:cxn>
              <a:cxn ang="0">
                <a:pos x="2" y="86"/>
              </a:cxn>
              <a:cxn ang="0">
                <a:pos x="0" y="108"/>
              </a:cxn>
              <a:cxn ang="0">
                <a:pos x="0" y="108"/>
              </a:cxn>
              <a:cxn ang="0">
                <a:pos x="2" y="128"/>
              </a:cxn>
              <a:cxn ang="0">
                <a:pos x="8" y="148"/>
              </a:cxn>
              <a:cxn ang="0">
                <a:pos x="18" y="168"/>
              </a:cxn>
              <a:cxn ang="0">
                <a:pos x="32" y="182"/>
              </a:cxn>
              <a:cxn ang="0">
                <a:pos x="48" y="196"/>
              </a:cxn>
              <a:cxn ang="0">
                <a:pos x="66" y="206"/>
              </a:cxn>
              <a:cxn ang="0">
                <a:pos x="86" y="212"/>
              </a:cxn>
              <a:cxn ang="0">
                <a:pos x="108" y="214"/>
              </a:cxn>
              <a:cxn ang="0">
                <a:pos x="108" y="214"/>
              </a:cxn>
              <a:cxn ang="0">
                <a:pos x="130" y="212"/>
              </a:cxn>
              <a:cxn ang="0">
                <a:pos x="150" y="206"/>
              </a:cxn>
              <a:cxn ang="0">
                <a:pos x="168" y="196"/>
              </a:cxn>
              <a:cxn ang="0">
                <a:pos x="184" y="182"/>
              </a:cxn>
              <a:cxn ang="0">
                <a:pos x="196" y="168"/>
              </a:cxn>
              <a:cxn ang="0">
                <a:pos x="206" y="148"/>
              </a:cxn>
              <a:cxn ang="0">
                <a:pos x="212" y="128"/>
              </a:cxn>
              <a:cxn ang="0">
                <a:pos x="214" y="108"/>
              </a:cxn>
              <a:cxn ang="0">
                <a:pos x="214" y="108"/>
              </a:cxn>
              <a:cxn ang="0">
                <a:pos x="212" y="86"/>
              </a:cxn>
              <a:cxn ang="0">
                <a:pos x="206" y="66"/>
              </a:cxn>
              <a:cxn ang="0">
                <a:pos x="196" y="48"/>
              </a:cxn>
              <a:cxn ang="0">
                <a:pos x="184" y="32"/>
              </a:cxn>
              <a:cxn ang="0">
                <a:pos x="168" y="18"/>
              </a:cxn>
              <a:cxn ang="0">
                <a:pos x="150" y="8"/>
              </a:cxn>
              <a:cxn ang="0">
                <a:pos x="130" y="2"/>
              </a:cxn>
              <a:cxn ang="0">
                <a:pos x="108" y="0"/>
              </a:cxn>
            </a:cxnLst>
            <a:rect l="0" t="0" r="r" b="b"/>
            <a:pathLst>
              <a:path w="214" h="214">
                <a:moveTo>
                  <a:pt x="108" y="0"/>
                </a:moveTo>
                <a:lnTo>
                  <a:pt x="108" y="0"/>
                </a:lnTo>
                <a:lnTo>
                  <a:pt x="86" y="2"/>
                </a:lnTo>
                <a:lnTo>
                  <a:pt x="66" y="8"/>
                </a:lnTo>
                <a:lnTo>
                  <a:pt x="48" y="18"/>
                </a:lnTo>
                <a:lnTo>
                  <a:pt x="32" y="32"/>
                </a:lnTo>
                <a:lnTo>
                  <a:pt x="18" y="48"/>
                </a:lnTo>
                <a:lnTo>
                  <a:pt x="8" y="66"/>
                </a:lnTo>
                <a:lnTo>
                  <a:pt x="2" y="86"/>
                </a:lnTo>
                <a:lnTo>
                  <a:pt x="0" y="108"/>
                </a:lnTo>
                <a:lnTo>
                  <a:pt x="0" y="108"/>
                </a:lnTo>
                <a:lnTo>
                  <a:pt x="2" y="128"/>
                </a:lnTo>
                <a:lnTo>
                  <a:pt x="8" y="148"/>
                </a:lnTo>
                <a:lnTo>
                  <a:pt x="18" y="168"/>
                </a:lnTo>
                <a:lnTo>
                  <a:pt x="32" y="182"/>
                </a:lnTo>
                <a:lnTo>
                  <a:pt x="48" y="196"/>
                </a:lnTo>
                <a:lnTo>
                  <a:pt x="66" y="206"/>
                </a:lnTo>
                <a:lnTo>
                  <a:pt x="86" y="212"/>
                </a:lnTo>
                <a:lnTo>
                  <a:pt x="108" y="214"/>
                </a:lnTo>
                <a:lnTo>
                  <a:pt x="108" y="214"/>
                </a:lnTo>
                <a:lnTo>
                  <a:pt x="130" y="212"/>
                </a:lnTo>
                <a:lnTo>
                  <a:pt x="150" y="206"/>
                </a:lnTo>
                <a:lnTo>
                  <a:pt x="168" y="196"/>
                </a:lnTo>
                <a:lnTo>
                  <a:pt x="184" y="182"/>
                </a:lnTo>
                <a:lnTo>
                  <a:pt x="196" y="168"/>
                </a:lnTo>
                <a:lnTo>
                  <a:pt x="206" y="148"/>
                </a:lnTo>
                <a:lnTo>
                  <a:pt x="212" y="128"/>
                </a:lnTo>
                <a:lnTo>
                  <a:pt x="214" y="108"/>
                </a:lnTo>
                <a:lnTo>
                  <a:pt x="214" y="108"/>
                </a:lnTo>
                <a:lnTo>
                  <a:pt x="212" y="86"/>
                </a:lnTo>
                <a:lnTo>
                  <a:pt x="206" y="66"/>
                </a:lnTo>
                <a:lnTo>
                  <a:pt x="196" y="48"/>
                </a:lnTo>
                <a:lnTo>
                  <a:pt x="184" y="32"/>
                </a:lnTo>
                <a:lnTo>
                  <a:pt x="168" y="18"/>
                </a:lnTo>
                <a:lnTo>
                  <a:pt x="150" y="8"/>
                </a:lnTo>
                <a:lnTo>
                  <a:pt x="130" y="2"/>
                </a:lnTo>
                <a:lnTo>
                  <a:pt x="108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13" name="Freeform 52"/>
          <p:cNvSpPr>
            <a:spLocks/>
          </p:cNvSpPr>
          <p:nvPr userDrawn="1"/>
        </p:nvSpPr>
        <p:spPr bwMode="auto">
          <a:xfrm>
            <a:off x="1643846" y="1127286"/>
            <a:ext cx="431105" cy="397943"/>
          </a:xfrm>
          <a:custGeom>
            <a:avLst/>
            <a:gdLst/>
            <a:ahLst/>
            <a:cxnLst>
              <a:cxn ang="0">
                <a:pos x="108" y="0"/>
              </a:cxn>
              <a:cxn ang="0">
                <a:pos x="108" y="0"/>
              </a:cxn>
              <a:cxn ang="0">
                <a:pos x="86" y="2"/>
              </a:cxn>
              <a:cxn ang="0">
                <a:pos x="66" y="8"/>
              </a:cxn>
              <a:cxn ang="0">
                <a:pos x="48" y="18"/>
              </a:cxn>
              <a:cxn ang="0">
                <a:pos x="32" y="32"/>
              </a:cxn>
              <a:cxn ang="0">
                <a:pos x="18" y="48"/>
              </a:cxn>
              <a:cxn ang="0">
                <a:pos x="8" y="66"/>
              </a:cxn>
              <a:cxn ang="0">
                <a:pos x="2" y="86"/>
              </a:cxn>
              <a:cxn ang="0">
                <a:pos x="0" y="108"/>
              </a:cxn>
              <a:cxn ang="0">
                <a:pos x="0" y="108"/>
              </a:cxn>
              <a:cxn ang="0">
                <a:pos x="2" y="128"/>
              </a:cxn>
              <a:cxn ang="0">
                <a:pos x="8" y="148"/>
              </a:cxn>
              <a:cxn ang="0">
                <a:pos x="18" y="168"/>
              </a:cxn>
              <a:cxn ang="0">
                <a:pos x="32" y="182"/>
              </a:cxn>
              <a:cxn ang="0">
                <a:pos x="48" y="196"/>
              </a:cxn>
              <a:cxn ang="0">
                <a:pos x="66" y="206"/>
              </a:cxn>
              <a:cxn ang="0">
                <a:pos x="86" y="212"/>
              </a:cxn>
              <a:cxn ang="0">
                <a:pos x="108" y="214"/>
              </a:cxn>
              <a:cxn ang="0">
                <a:pos x="108" y="214"/>
              </a:cxn>
              <a:cxn ang="0">
                <a:pos x="130" y="212"/>
              </a:cxn>
              <a:cxn ang="0">
                <a:pos x="150" y="206"/>
              </a:cxn>
              <a:cxn ang="0">
                <a:pos x="168" y="196"/>
              </a:cxn>
              <a:cxn ang="0">
                <a:pos x="184" y="182"/>
              </a:cxn>
              <a:cxn ang="0">
                <a:pos x="196" y="168"/>
              </a:cxn>
              <a:cxn ang="0">
                <a:pos x="206" y="148"/>
              </a:cxn>
              <a:cxn ang="0">
                <a:pos x="212" y="128"/>
              </a:cxn>
              <a:cxn ang="0">
                <a:pos x="214" y="108"/>
              </a:cxn>
              <a:cxn ang="0">
                <a:pos x="214" y="108"/>
              </a:cxn>
              <a:cxn ang="0">
                <a:pos x="212" y="86"/>
              </a:cxn>
              <a:cxn ang="0">
                <a:pos x="206" y="66"/>
              </a:cxn>
              <a:cxn ang="0">
                <a:pos x="196" y="48"/>
              </a:cxn>
              <a:cxn ang="0">
                <a:pos x="184" y="32"/>
              </a:cxn>
              <a:cxn ang="0">
                <a:pos x="168" y="18"/>
              </a:cxn>
              <a:cxn ang="0">
                <a:pos x="150" y="8"/>
              </a:cxn>
              <a:cxn ang="0">
                <a:pos x="130" y="2"/>
              </a:cxn>
              <a:cxn ang="0">
                <a:pos x="108" y="0"/>
              </a:cxn>
            </a:cxnLst>
            <a:rect l="0" t="0" r="r" b="b"/>
            <a:pathLst>
              <a:path w="214" h="214">
                <a:moveTo>
                  <a:pt x="108" y="0"/>
                </a:moveTo>
                <a:lnTo>
                  <a:pt x="108" y="0"/>
                </a:lnTo>
                <a:lnTo>
                  <a:pt x="86" y="2"/>
                </a:lnTo>
                <a:lnTo>
                  <a:pt x="66" y="8"/>
                </a:lnTo>
                <a:lnTo>
                  <a:pt x="48" y="18"/>
                </a:lnTo>
                <a:lnTo>
                  <a:pt x="32" y="32"/>
                </a:lnTo>
                <a:lnTo>
                  <a:pt x="18" y="48"/>
                </a:lnTo>
                <a:lnTo>
                  <a:pt x="8" y="66"/>
                </a:lnTo>
                <a:lnTo>
                  <a:pt x="2" y="86"/>
                </a:lnTo>
                <a:lnTo>
                  <a:pt x="0" y="108"/>
                </a:lnTo>
                <a:lnTo>
                  <a:pt x="0" y="108"/>
                </a:lnTo>
                <a:lnTo>
                  <a:pt x="2" y="128"/>
                </a:lnTo>
                <a:lnTo>
                  <a:pt x="8" y="148"/>
                </a:lnTo>
                <a:lnTo>
                  <a:pt x="18" y="168"/>
                </a:lnTo>
                <a:lnTo>
                  <a:pt x="32" y="182"/>
                </a:lnTo>
                <a:lnTo>
                  <a:pt x="48" y="196"/>
                </a:lnTo>
                <a:lnTo>
                  <a:pt x="66" y="206"/>
                </a:lnTo>
                <a:lnTo>
                  <a:pt x="86" y="212"/>
                </a:lnTo>
                <a:lnTo>
                  <a:pt x="108" y="214"/>
                </a:lnTo>
                <a:lnTo>
                  <a:pt x="108" y="214"/>
                </a:lnTo>
                <a:lnTo>
                  <a:pt x="130" y="212"/>
                </a:lnTo>
                <a:lnTo>
                  <a:pt x="150" y="206"/>
                </a:lnTo>
                <a:lnTo>
                  <a:pt x="168" y="196"/>
                </a:lnTo>
                <a:lnTo>
                  <a:pt x="184" y="182"/>
                </a:lnTo>
                <a:lnTo>
                  <a:pt x="196" y="168"/>
                </a:lnTo>
                <a:lnTo>
                  <a:pt x="206" y="148"/>
                </a:lnTo>
                <a:lnTo>
                  <a:pt x="212" y="128"/>
                </a:lnTo>
                <a:lnTo>
                  <a:pt x="214" y="108"/>
                </a:lnTo>
                <a:lnTo>
                  <a:pt x="214" y="108"/>
                </a:lnTo>
                <a:lnTo>
                  <a:pt x="212" y="86"/>
                </a:lnTo>
                <a:lnTo>
                  <a:pt x="206" y="66"/>
                </a:lnTo>
                <a:lnTo>
                  <a:pt x="196" y="48"/>
                </a:lnTo>
                <a:lnTo>
                  <a:pt x="184" y="32"/>
                </a:lnTo>
                <a:lnTo>
                  <a:pt x="168" y="18"/>
                </a:lnTo>
                <a:lnTo>
                  <a:pt x="150" y="8"/>
                </a:lnTo>
                <a:lnTo>
                  <a:pt x="130" y="2"/>
                </a:lnTo>
                <a:lnTo>
                  <a:pt x="108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14" name="Freeform 53"/>
          <p:cNvSpPr>
            <a:spLocks/>
          </p:cNvSpPr>
          <p:nvPr userDrawn="1"/>
        </p:nvSpPr>
        <p:spPr bwMode="auto">
          <a:xfrm>
            <a:off x="2215970" y="2332263"/>
            <a:ext cx="511685" cy="468606"/>
          </a:xfrm>
          <a:custGeom>
            <a:avLst/>
            <a:gdLst/>
            <a:ahLst/>
            <a:cxnLst>
              <a:cxn ang="0">
                <a:pos x="128" y="0"/>
              </a:cxn>
              <a:cxn ang="0">
                <a:pos x="128" y="0"/>
              </a:cxn>
              <a:cxn ang="0">
                <a:pos x="114" y="0"/>
              </a:cxn>
              <a:cxn ang="0">
                <a:pos x="102" y="2"/>
              </a:cxn>
              <a:cxn ang="0">
                <a:pos x="90" y="4"/>
              </a:cxn>
              <a:cxn ang="0">
                <a:pos x="78" y="10"/>
              </a:cxn>
              <a:cxn ang="0">
                <a:pos x="56" y="20"/>
              </a:cxn>
              <a:cxn ang="0">
                <a:pos x="38" y="36"/>
              </a:cxn>
              <a:cxn ang="0">
                <a:pos x="22" y="56"/>
              </a:cxn>
              <a:cxn ang="0">
                <a:pos x="10" y="76"/>
              </a:cxn>
              <a:cxn ang="0">
                <a:pos x="6" y="88"/>
              </a:cxn>
              <a:cxn ang="0">
                <a:pos x="4" y="100"/>
              </a:cxn>
              <a:cxn ang="0">
                <a:pos x="2" y="114"/>
              </a:cxn>
              <a:cxn ang="0">
                <a:pos x="0" y="126"/>
              </a:cxn>
              <a:cxn ang="0">
                <a:pos x="0" y="126"/>
              </a:cxn>
              <a:cxn ang="0">
                <a:pos x="2" y="138"/>
              </a:cxn>
              <a:cxn ang="0">
                <a:pos x="4" y="152"/>
              </a:cxn>
              <a:cxn ang="0">
                <a:pos x="6" y="164"/>
              </a:cxn>
              <a:cxn ang="0">
                <a:pos x="10" y="176"/>
              </a:cxn>
              <a:cxn ang="0">
                <a:pos x="22" y="196"/>
              </a:cxn>
              <a:cxn ang="0">
                <a:pos x="38" y="216"/>
              </a:cxn>
              <a:cxn ang="0">
                <a:pos x="56" y="232"/>
              </a:cxn>
              <a:cxn ang="0">
                <a:pos x="78" y="242"/>
              </a:cxn>
              <a:cxn ang="0">
                <a:pos x="90" y="248"/>
              </a:cxn>
              <a:cxn ang="0">
                <a:pos x="102" y="250"/>
              </a:cxn>
              <a:cxn ang="0">
                <a:pos x="114" y="252"/>
              </a:cxn>
              <a:cxn ang="0">
                <a:pos x="128" y="252"/>
              </a:cxn>
              <a:cxn ang="0">
                <a:pos x="128" y="252"/>
              </a:cxn>
              <a:cxn ang="0">
                <a:pos x="140" y="252"/>
              </a:cxn>
              <a:cxn ang="0">
                <a:pos x="154" y="250"/>
              </a:cxn>
              <a:cxn ang="0">
                <a:pos x="166" y="248"/>
              </a:cxn>
              <a:cxn ang="0">
                <a:pos x="178" y="242"/>
              </a:cxn>
              <a:cxn ang="0">
                <a:pos x="198" y="232"/>
              </a:cxn>
              <a:cxn ang="0">
                <a:pos x="218" y="216"/>
              </a:cxn>
              <a:cxn ang="0">
                <a:pos x="232" y="196"/>
              </a:cxn>
              <a:cxn ang="0">
                <a:pos x="244" y="176"/>
              </a:cxn>
              <a:cxn ang="0">
                <a:pos x="248" y="164"/>
              </a:cxn>
              <a:cxn ang="0">
                <a:pos x="252" y="152"/>
              </a:cxn>
              <a:cxn ang="0">
                <a:pos x="254" y="138"/>
              </a:cxn>
              <a:cxn ang="0">
                <a:pos x="254" y="126"/>
              </a:cxn>
              <a:cxn ang="0">
                <a:pos x="254" y="126"/>
              </a:cxn>
              <a:cxn ang="0">
                <a:pos x="254" y="114"/>
              </a:cxn>
              <a:cxn ang="0">
                <a:pos x="252" y="100"/>
              </a:cxn>
              <a:cxn ang="0">
                <a:pos x="248" y="88"/>
              </a:cxn>
              <a:cxn ang="0">
                <a:pos x="244" y="76"/>
              </a:cxn>
              <a:cxn ang="0">
                <a:pos x="232" y="56"/>
              </a:cxn>
              <a:cxn ang="0">
                <a:pos x="218" y="36"/>
              </a:cxn>
              <a:cxn ang="0">
                <a:pos x="198" y="20"/>
              </a:cxn>
              <a:cxn ang="0">
                <a:pos x="178" y="10"/>
              </a:cxn>
              <a:cxn ang="0">
                <a:pos x="166" y="4"/>
              </a:cxn>
              <a:cxn ang="0">
                <a:pos x="154" y="2"/>
              </a:cxn>
              <a:cxn ang="0">
                <a:pos x="140" y="0"/>
              </a:cxn>
              <a:cxn ang="0">
                <a:pos x="128" y="0"/>
              </a:cxn>
            </a:cxnLst>
            <a:rect l="0" t="0" r="r" b="b"/>
            <a:pathLst>
              <a:path w="254" h="252">
                <a:moveTo>
                  <a:pt x="128" y="0"/>
                </a:moveTo>
                <a:lnTo>
                  <a:pt x="128" y="0"/>
                </a:lnTo>
                <a:lnTo>
                  <a:pt x="114" y="0"/>
                </a:lnTo>
                <a:lnTo>
                  <a:pt x="102" y="2"/>
                </a:lnTo>
                <a:lnTo>
                  <a:pt x="90" y="4"/>
                </a:lnTo>
                <a:lnTo>
                  <a:pt x="78" y="10"/>
                </a:lnTo>
                <a:lnTo>
                  <a:pt x="56" y="20"/>
                </a:lnTo>
                <a:lnTo>
                  <a:pt x="38" y="36"/>
                </a:lnTo>
                <a:lnTo>
                  <a:pt x="22" y="56"/>
                </a:lnTo>
                <a:lnTo>
                  <a:pt x="10" y="76"/>
                </a:lnTo>
                <a:lnTo>
                  <a:pt x="6" y="88"/>
                </a:lnTo>
                <a:lnTo>
                  <a:pt x="4" y="100"/>
                </a:lnTo>
                <a:lnTo>
                  <a:pt x="2" y="114"/>
                </a:lnTo>
                <a:lnTo>
                  <a:pt x="0" y="126"/>
                </a:lnTo>
                <a:lnTo>
                  <a:pt x="0" y="126"/>
                </a:lnTo>
                <a:lnTo>
                  <a:pt x="2" y="138"/>
                </a:lnTo>
                <a:lnTo>
                  <a:pt x="4" y="152"/>
                </a:lnTo>
                <a:lnTo>
                  <a:pt x="6" y="164"/>
                </a:lnTo>
                <a:lnTo>
                  <a:pt x="10" y="176"/>
                </a:lnTo>
                <a:lnTo>
                  <a:pt x="22" y="196"/>
                </a:lnTo>
                <a:lnTo>
                  <a:pt x="38" y="216"/>
                </a:lnTo>
                <a:lnTo>
                  <a:pt x="56" y="232"/>
                </a:lnTo>
                <a:lnTo>
                  <a:pt x="78" y="242"/>
                </a:lnTo>
                <a:lnTo>
                  <a:pt x="90" y="248"/>
                </a:lnTo>
                <a:lnTo>
                  <a:pt x="102" y="250"/>
                </a:lnTo>
                <a:lnTo>
                  <a:pt x="114" y="252"/>
                </a:lnTo>
                <a:lnTo>
                  <a:pt x="128" y="252"/>
                </a:lnTo>
                <a:lnTo>
                  <a:pt x="128" y="252"/>
                </a:lnTo>
                <a:lnTo>
                  <a:pt x="140" y="252"/>
                </a:lnTo>
                <a:lnTo>
                  <a:pt x="154" y="250"/>
                </a:lnTo>
                <a:lnTo>
                  <a:pt x="166" y="248"/>
                </a:lnTo>
                <a:lnTo>
                  <a:pt x="178" y="242"/>
                </a:lnTo>
                <a:lnTo>
                  <a:pt x="198" y="232"/>
                </a:lnTo>
                <a:lnTo>
                  <a:pt x="218" y="216"/>
                </a:lnTo>
                <a:lnTo>
                  <a:pt x="232" y="196"/>
                </a:lnTo>
                <a:lnTo>
                  <a:pt x="244" y="176"/>
                </a:lnTo>
                <a:lnTo>
                  <a:pt x="248" y="164"/>
                </a:lnTo>
                <a:lnTo>
                  <a:pt x="252" y="152"/>
                </a:lnTo>
                <a:lnTo>
                  <a:pt x="254" y="138"/>
                </a:lnTo>
                <a:lnTo>
                  <a:pt x="254" y="126"/>
                </a:lnTo>
                <a:lnTo>
                  <a:pt x="254" y="126"/>
                </a:lnTo>
                <a:lnTo>
                  <a:pt x="254" y="114"/>
                </a:lnTo>
                <a:lnTo>
                  <a:pt x="252" y="100"/>
                </a:lnTo>
                <a:lnTo>
                  <a:pt x="248" y="88"/>
                </a:lnTo>
                <a:lnTo>
                  <a:pt x="244" y="76"/>
                </a:lnTo>
                <a:lnTo>
                  <a:pt x="232" y="56"/>
                </a:lnTo>
                <a:lnTo>
                  <a:pt x="218" y="36"/>
                </a:lnTo>
                <a:lnTo>
                  <a:pt x="198" y="20"/>
                </a:lnTo>
                <a:lnTo>
                  <a:pt x="178" y="10"/>
                </a:lnTo>
                <a:lnTo>
                  <a:pt x="166" y="4"/>
                </a:lnTo>
                <a:lnTo>
                  <a:pt x="154" y="2"/>
                </a:lnTo>
                <a:lnTo>
                  <a:pt x="140" y="0"/>
                </a:lnTo>
                <a:lnTo>
                  <a:pt x="128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15" name="Freeform 54"/>
          <p:cNvSpPr>
            <a:spLocks/>
          </p:cNvSpPr>
          <p:nvPr userDrawn="1"/>
        </p:nvSpPr>
        <p:spPr bwMode="auto">
          <a:xfrm>
            <a:off x="2215970" y="2332263"/>
            <a:ext cx="511685" cy="468606"/>
          </a:xfrm>
          <a:custGeom>
            <a:avLst/>
            <a:gdLst/>
            <a:ahLst/>
            <a:cxnLst>
              <a:cxn ang="0">
                <a:pos x="128" y="0"/>
              </a:cxn>
              <a:cxn ang="0">
                <a:pos x="128" y="0"/>
              </a:cxn>
              <a:cxn ang="0">
                <a:pos x="114" y="0"/>
              </a:cxn>
              <a:cxn ang="0">
                <a:pos x="102" y="2"/>
              </a:cxn>
              <a:cxn ang="0">
                <a:pos x="90" y="4"/>
              </a:cxn>
              <a:cxn ang="0">
                <a:pos x="78" y="10"/>
              </a:cxn>
              <a:cxn ang="0">
                <a:pos x="56" y="20"/>
              </a:cxn>
              <a:cxn ang="0">
                <a:pos x="38" y="36"/>
              </a:cxn>
              <a:cxn ang="0">
                <a:pos x="22" y="56"/>
              </a:cxn>
              <a:cxn ang="0">
                <a:pos x="10" y="76"/>
              </a:cxn>
              <a:cxn ang="0">
                <a:pos x="6" y="88"/>
              </a:cxn>
              <a:cxn ang="0">
                <a:pos x="4" y="100"/>
              </a:cxn>
              <a:cxn ang="0">
                <a:pos x="2" y="114"/>
              </a:cxn>
              <a:cxn ang="0">
                <a:pos x="0" y="126"/>
              </a:cxn>
              <a:cxn ang="0">
                <a:pos x="0" y="126"/>
              </a:cxn>
              <a:cxn ang="0">
                <a:pos x="2" y="138"/>
              </a:cxn>
              <a:cxn ang="0">
                <a:pos x="4" y="152"/>
              </a:cxn>
              <a:cxn ang="0">
                <a:pos x="6" y="164"/>
              </a:cxn>
              <a:cxn ang="0">
                <a:pos x="10" y="176"/>
              </a:cxn>
              <a:cxn ang="0">
                <a:pos x="22" y="196"/>
              </a:cxn>
              <a:cxn ang="0">
                <a:pos x="38" y="216"/>
              </a:cxn>
              <a:cxn ang="0">
                <a:pos x="56" y="232"/>
              </a:cxn>
              <a:cxn ang="0">
                <a:pos x="78" y="242"/>
              </a:cxn>
              <a:cxn ang="0">
                <a:pos x="90" y="248"/>
              </a:cxn>
              <a:cxn ang="0">
                <a:pos x="102" y="250"/>
              </a:cxn>
              <a:cxn ang="0">
                <a:pos x="114" y="252"/>
              </a:cxn>
              <a:cxn ang="0">
                <a:pos x="128" y="252"/>
              </a:cxn>
              <a:cxn ang="0">
                <a:pos x="128" y="252"/>
              </a:cxn>
              <a:cxn ang="0">
                <a:pos x="140" y="252"/>
              </a:cxn>
              <a:cxn ang="0">
                <a:pos x="154" y="250"/>
              </a:cxn>
              <a:cxn ang="0">
                <a:pos x="166" y="248"/>
              </a:cxn>
              <a:cxn ang="0">
                <a:pos x="178" y="242"/>
              </a:cxn>
              <a:cxn ang="0">
                <a:pos x="198" y="232"/>
              </a:cxn>
              <a:cxn ang="0">
                <a:pos x="218" y="216"/>
              </a:cxn>
              <a:cxn ang="0">
                <a:pos x="232" y="196"/>
              </a:cxn>
              <a:cxn ang="0">
                <a:pos x="244" y="176"/>
              </a:cxn>
              <a:cxn ang="0">
                <a:pos x="248" y="164"/>
              </a:cxn>
              <a:cxn ang="0">
                <a:pos x="252" y="152"/>
              </a:cxn>
              <a:cxn ang="0">
                <a:pos x="254" y="138"/>
              </a:cxn>
              <a:cxn ang="0">
                <a:pos x="254" y="126"/>
              </a:cxn>
              <a:cxn ang="0">
                <a:pos x="254" y="126"/>
              </a:cxn>
              <a:cxn ang="0">
                <a:pos x="254" y="114"/>
              </a:cxn>
              <a:cxn ang="0">
                <a:pos x="252" y="100"/>
              </a:cxn>
              <a:cxn ang="0">
                <a:pos x="248" y="88"/>
              </a:cxn>
              <a:cxn ang="0">
                <a:pos x="244" y="76"/>
              </a:cxn>
              <a:cxn ang="0">
                <a:pos x="232" y="56"/>
              </a:cxn>
              <a:cxn ang="0">
                <a:pos x="218" y="36"/>
              </a:cxn>
              <a:cxn ang="0">
                <a:pos x="198" y="20"/>
              </a:cxn>
              <a:cxn ang="0">
                <a:pos x="178" y="10"/>
              </a:cxn>
              <a:cxn ang="0">
                <a:pos x="166" y="4"/>
              </a:cxn>
              <a:cxn ang="0">
                <a:pos x="154" y="2"/>
              </a:cxn>
              <a:cxn ang="0">
                <a:pos x="140" y="0"/>
              </a:cxn>
              <a:cxn ang="0">
                <a:pos x="128" y="0"/>
              </a:cxn>
            </a:cxnLst>
            <a:rect l="0" t="0" r="r" b="b"/>
            <a:pathLst>
              <a:path w="254" h="252">
                <a:moveTo>
                  <a:pt x="128" y="0"/>
                </a:moveTo>
                <a:lnTo>
                  <a:pt x="128" y="0"/>
                </a:lnTo>
                <a:lnTo>
                  <a:pt x="114" y="0"/>
                </a:lnTo>
                <a:lnTo>
                  <a:pt x="102" y="2"/>
                </a:lnTo>
                <a:lnTo>
                  <a:pt x="90" y="4"/>
                </a:lnTo>
                <a:lnTo>
                  <a:pt x="78" y="10"/>
                </a:lnTo>
                <a:lnTo>
                  <a:pt x="56" y="20"/>
                </a:lnTo>
                <a:lnTo>
                  <a:pt x="38" y="36"/>
                </a:lnTo>
                <a:lnTo>
                  <a:pt x="22" y="56"/>
                </a:lnTo>
                <a:lnTo>
                  <a:pt x="10" y="76"/>
                </a:lnTo>
                <a:lnTo>
                  <a:pt x="6" y="88"/>
                </a:lnTo>
                <a:lnTo>
                  <a:pt x="4" y="100"/>
                </a:lnTo>
                <a:lnTo>
                  <a:pt x="2" y="114"/>
                </a:lnTo>
                <a:lnTo>
                  <a:pt x="0" y="126"/>
                </a:lnTo>
                <a:lnTo>
                  <a:pt x="0" y="126"/>
                </a:lnTo>
                <a:lnTo>
                  <a:pt x="2" y="138"/>
                </a:lnTo>
                <a:lnTo>
                  <a:pt x="4" y="152"/>
                </a:lnTo>
                <a:lnTo>
                  <a:pt x="6" y="164"/>
                </a:lnTo>
                <a:lnTo>
                  <a:pt x="10" y="176"/>
                </a:lnTo>
                <a:lnTo>
                  <a:pt x="22" y="196"/>
                </a:lnTo>
                <a:lnTo>
                  <a:pt x="38" y="216"/>
                </a:lnTo>
                <a:lnTo>
                  <a:pt x="56" y="232"/>
                </a:lnTo>
                <a:lnTo>
                  <a:pt x="78" y="242"/>
                </a:lnTo>
                <a:lnTo>
                  <a:pt x="90" y="248"/>
                </a:lnTo>
                <a:lnTo>
                  <a:pt x="102" y="250"/>
                </a:lnTo>
                <a:lnTo>
                  <a:pt x="114" y="252"/>
                </a:lnTo>
                <a:lnTo>
                  <a:pt x="128" y="252"/>
                </a:lnTo>
                <a:lnTo>
                  <a:pt x="128" y="252"/>
                </a:lnTo>
                <a:lnTo>
                  <a:pt x="140" y="252"/>
                </a:lnTo>
                <a:lnTo>
                  <a:pt x="154" y="250"/>
                </a:lnTo>
                <a:lnTo>
                  <a:pt x="166" y="248"/>
                </a:lnTo>
                <a:lnTo>
                  <a:pt x="178" y="242"/>
                </a:lnTo>
                <a:lnTo>
                  <a:pt x="198" y="232"/>
                </a:lnTo>
                <a:lnTo>
                  <a:pt x="218" y="216"/>
                </a:lnTo>
                <a:lnTo>
                  <a:pt x="232" y="196"/>
                </a:lnTo>
                <a:lnTo>
                  <a:pt x="244" y="176"/>
                </a:lnTo>
                <a:lnTo>
                  <a:pt x="248" y="164"/>
                </a:lnTo>
                <a:lnTo>
                  <a:pt x="252" y="152"/>
                </a:lnTo>
                <a:lnTo>
                  <a:pt x="254" y="138"/>
                </a:lnTo>
                <a:lnTo>
                  <a:pt x="254" y="126"/>
                </a:lnTo>
                <a:lnTo>
                  <a:pt x="254" y="126"/>
                </a:lnTo>
                <a:lnTo>
                  <a:pt x="254" y="114"/>
                </a:lnTo>
                <a:lnTo>
                  <a:pt x="252" y="100"/>
                </a:lnTo>
                <a:lnTo>
                  <a:pt x="248" y="88"/>
                </a:lnTo>
                <a:lnTo>
                  <a:pt x="244" y="76"/>
                </a:lnTo>
                <a:lnTo>
                  <a:pt x="232" y="56"/>
                </a:lnTo>
                <a:lnTo>
                  <a:pt x="218" y="36"/>
                </a:lnTo>
                <a:lnTo>
                  <a:pt x="198" y="20"/>
                </a:lnTo>
                <a:lnTo>
                  <a:pt x="178" y="10"/>
                </a:lnTo>
                <a:lnTo>
                  <a:pt x="166" y="4"/>
                </a:lnTo>
                <a:lnTo>
                  <a:pt x="154" y="2"/>
                </a:lnTo>
                <a:lnTo>
                  <a:pt x="140" y="0"/>
                </a:lnTo>
                <a:lnTo>
                  <a:pt x="128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16" name="Freeform 55"/>
          <p:cNvSpPr>
            <a:spLocks/>
          </p:cNvSpPr>
          <p:nvPr userDrawn="1"/>
        </p:nvSpPr>
        <p:spPr bwMode="auto">
          <a:xfrm>
            <a:off x="2195816" y="1856219"/>
            <a:ext cx="104754" cy="100416"/>
          </a:xfrm>
          <a:custGeom>
            <a:avLst/>
            <a:gdLst/>
            <a:ahLst/>
            <a:cxnLst>
              <a:cxn ang="0">
                <a:pos x="26" y="0"/>
              </a:cxn>
              <a:cxn ang="0">
                <a:pos x="26" y="0"/>
              </a:cxn>
              <a:cxn ang="0">
                <a:pos x="16" y="2"/>
              </a:cxn>
              <a:cxn ang="0">
                <a:pos x="6" y="8"/>
              </a:cxn>
              <a:cxn ang="0">
                <a:pos x="2" y="16"/>
              </a:cxn>
              <a:cxn ang="0">
                <a:pos x="0" y="28"/>
              </a:cxn>
              <a:cxn ang="0">
                <a:pos x="0" y="28"/>
              </a:cxn>
              <a:cxn ang="0">
                <a:pos x="2" y="38"/>
              </a:cxn>
              <a:cxn ang="0">
                <a:pos x="6" y="46"/>
              </a:cxn>
              <a:cxn ang="0">
                <a:pos x="16" y="52"/>
              </a:cxn>
              <a:cxn ang="0">
                <a:pos x="26" y="54"/>
              </a:cxn>
              <a:cxn ang="0">
                <a:pos x="26" y="54"/>
              </a:cxn>
              <a:cxn ang="0">
                <a:pos x="36" y="52"/>
              </a:cxn>
              <a:cxn ang="0">
                <a:pos x="44" y="46"/>
              </a:cxn>
              <a:cxn ang="0">
                <a:pos x="50" y="38"/>
              </a:cxn>
              <a:cxn ang="0">
                <a:pos x="52" y="28"/>
              </a:cxn>
              <a:cxn ang="0">
                <a:pos x="52" y="28"/>
              </a:cxn>
              <a:cxn ang="0">
                <a:pos x="50" y="16"/>
              </a:cxn>
              <a:cxn ang="0">
                <a:pos x="44" y="8"/>
              </a:cxn>
              <a:cxn ang="0">
                <a:pos x="36" y="2"/>
              </a:cxn>
              <a:cxn ang="0">
                <a:pos x="26" y="0"/>
              </a:cxn>
            </a:cxnLst>
            <a:rect l="0" t="0" r="r" b="b"/>
            <a:pathLst>
              <a:path w="52" h="54">
                <a:moveTo>
                  <a:pt x="26" y="0"/>
                </a:moveTo>
                <a:lnTo>
                  <a:pt x="26" y="0"/>
                </a:lnTo>
                <a:lnTo>
                  <a:pt x="16" y="2"/>
                </a:lnTo>
                <a:lnTo>
                  <a:pt x="6" y="8"/>
                </a:lnTo>
                <a:lnTo>
                  <a:pt x="2" y="16"/>
                </a:lnTo>
                <a:lnTo>
                  <a:pt x="0" y="28"/>
                </a:lnTo>
                <a:lnTo>
                  <a:pt x="0" y="28"/>
                </a:lnTo>
                <a:lnTo>
                  <a:pt x="2" y="38"/>
                </a:lnTo>
                <a:lnTo>
                  <a:pt x="6" y="46"/>
                </a:lnTo>
                <a:lnTo>
                  <a:pt x="16" y="52"/>
                </a:lnTo>
                <a:lnTo>
                  <a:pt x="26" y="54"/>
                </a:lnTo>
                <a:lnTo>
                  <a:pt x="26" y="54"/>
                </a:lnTo>
                <a:lnTo>
                  <a:pt x="36" y="52"/>
                </a:lnTo>
                <a:lnTo>
                  <a:pt x="44" y="46"/>
                </a:lnTo>
                <a:lnTo>
                  <a:pt x="50" y="38"/>
                </a:lnTo>
                <a:lnTo>
                  <a:pt x="52" y="28"/>
                </a:lnTo>
                <a:lnTo>
                  <a:pt x="52" y="28"/>
                </a:lnTo>
                <a:lnTo>
                  <a:pt x="50" y="16"/>
                </a:lnTo>
                <a:lnTo>
                  <a:pt x="44" y="8"/>
                </a:lnTo>
                <a:lnTo>
                  <a:pt x="36" y="2"/>
                </a:lnTo>
                <a:lnTo>
                  <a:pt x="26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17" name="Freeform 56"/>
          <p:cNvSpPr>
            <a:spLocks/>
          </p:cNvSpPr>
          <p:nvPr userDrawn="1"/>
        </p:nvSpPr>
        <p:spPr bwMode="auto">
          <a:xfrm>
            <a:off x="2195816" y="1856219"/>
            <a:ext cx="104754" cy="100416"/>
          </a:xfrm>
          <a:custGeom>
            <a:avLst/>
            <a:gdLst/>
            <a:ahLst/>
            <a:cxnLst>
              <a:cxn ang="0">
                <a:pos x="26" y="0"/>
              </a:cxn>
              <a:cxn ang="0">
                <a:pos x="26" y="0"/>
              </a:cxn>
              <a:cxn ang="0">
                <a:pos x="16" y="2"/>
              </a:cxn>
              <a:cxn ang="0">
                <a:pos x="6" y="8"/>
              </a:cxn>
              <a:cxn ang="0">
                <a:pos x="2" y="16"/>
              </a:cxn>
              <a:cxn ang="0">
                <a:pos x="0" y="28"/>
              </a:cxn>
              <a:cxn ang="0">
                <a:pos x="0" y="28"/>
              </a:cxn>
              <a:cxn ang="0">
                <a:pos x="2" y="38"/>
              </a:cxn>
              <a:cxn ang="0">
                <a:pos x="6" y="46"/>
              </a:cxn>
              <a:cxn ang="0">
                <a:pos x="16" y="52"/>
              </a:cxn>
              <a:cxn ang="0">
                <a:pos x="26" y="54"/>
              </a:cxn>
              <a:cxn ang="0">
                <a:pos x="26" y="54"/>
              </a:cxn>
              <a:cxn ang="0">
                <a:pos x="36" y="52"/>
              </a:cxn>
              <a:cxn ang="0">
                <a:pos x="44" y="46"/>
              </a:cxn>
              <a:cxn ang="0">
                <a:pos x="50" y="38"/>
              </a:cxn>
              <a:cxn ang="0">
                <a:pos x="52" y="28"/>
              </a:cxn>
              <a:cxn ang="0">
                <a:pos x="52" y="28"/>
              </a:cxn>
              <a:cxn ang="0">
                <a:pos x="50" y="16"/>
              </a:cxn>
              <a:cxn ang="0">
                <a:pos x="44" y="8"/>
              </a:cxn>
              <a:cxn ang="0">
                <a:pos x="36" y="2"/>
              </a:cxn>
              <a:cxn ang="0">
                <a:pos x="26" y="0"/>
              </a:cxn>
            </a:cxnLst>
            <a:rect l="0" t="0" r="r" b="b"/>
            <a:pathLst>
              <a:path w="52" h="54">
                <a:moveTo>
                  <a:pt x="26" y="0"/>
                </a:moveTo>
                <a:lnTo>
                  <a:pt x="26" y="0"/>
                </a:lnTo>
                <a:lnTo>
                  <a:pt x="16" y="2"/>
                </a:lnTo>
                <a:lnTo>
                  <a:pt x="6" y="8"/>
                </a:lnTo>
                <a:lnTo>
                  <a:pt x="2" y="16"/>
                </a:lnTo>
                <a:lnTo>
                  <a:pt x="0" y="28"/>
                </a:lnTo>
                <a:lnTo>
                  <a:pt x="0" y="28"/>
                </a:lnTo>
                <a:lnTo>
                  <a:pt x="2" y="38"/>
                </a:lnTo>
                <a:lnTo>
                  <a:pt x="6" y="46"/>
                </a:lnTo>
                <a:lnTo>
                  <a:pt x="16" y="52"/>
                </a:lnTo>
                <a:lnTo>
                  <a:pt x="26" y="54"/>
                </a:lnTo>
                <a:lnTo>
                  <a:pt x="26" y="54"/>
                </a:lnTo>
                <a:lnTo>
                  <a:pt x="36" y="52"/>
                </a:lnTo>
                <a:lnTo>
                  <a:pt x="44" y="46"/>
                </a:lnTo>
                <a:lnTo>
                  <a:pt x="50" y="38"/>
                </a:lnTo>
                <a:lnTo>
                  <a:pt x="52" y="28"/>
                </a:lnTo>
                <a:lnTo>
                  <a:pt x="52" y="28"/>
                </a:lnTo>
                <a:lnTo>
                  <a:pt x="50" y="16"/>
                </a:lnTo>
                <a:lnTo>
                  <a:pt x="44" y="8"/>
                </a:lnTo>
                <a:lnTo>
                  <a:pt x="36" y="2"/>
                </a:lnTo>
                <a:lnTo>
                  <a:pt x="26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18" name="Freeform 57"/>
          <p:cNvSpPr>
            <a:spLocks/>
          </p:cNvSpPr>
          <p:nvPr userDrawn="1"/>
        </p:nvSpPr>
        <p:spPr bwMode="auto">
          <a:xfrm>
            <a:off x="777603" y="621492"/>
            <a:ext cx="269944" cy="249179"/>
          </a:xfrm>
          <a:custGeom>
            <a:avLst/>
            <a:gdLst/>
            <a:ahLst/>
            <a:cxnLst>
              <a:cxn ang="0">
                <a:pos x="66" y="0"/>
              </a:cxn>
              <a:cxn ang="0">
                <a:pos x="66" y="0"/>
              </a:cxn>
              <a:cxn ang="0">
                <a:pos x="54" y="2"/>
              </a:cxn>
              <a:cxn ang="0">
                <a:pos x="40" y="6"/>
              </a:cxn>
              <a:cxn ang="0">
                <a:pos x="30" y="12"/>
              </a:cxn>
              <a:cxn ang="0">
                <a:pos x="20" y="20"/>
              </a:cxn>
              <a:cxn ang="0">
                <a:pos x="10" y="30"/>
              </a:cxn>
              <a:cxn ang="0">
                <a:pos x="4" y="40"/>
              </a:cxn>
              <a:cxn ang="0">
                <a:pos x="0" y="54"/>
              </a:cxn>
              <a:cxn ang="0">
                <a:pos x="0" y="66"/>
              </a:cxn>
              <a:cxn ang="0">
                <a:pos x="0" y="66"/>
              </a:cxn>
              <a:cxn ang="0">
                <a:pos x="0" y="80"/>
              </a:cxn>
              <a:cxn ang="0">
                <a:pos x="4" y="92"/>
              </a:cxn>
              <a:cxn ang="0">
                <a:pos x="10" y="104"/>
              </a:cxn>
              <a:cxn ang="0">
                <a:pos x="20" y="114"/>
              </a:cxn>
              <a:cxn ang="0">
                <a:pos x="30" y="122"/>
              </a:cxn>
              <a:cxn ang="0">
                <a:pos x="40" y="128"/>
              </a:cxn>
              <a:cxn ang="0">
                <a:pos x="54" y="132"/>
              </a:cxn>
              <a:cxn ang="0">
                <a:pos x="66" y="134"/>
              </a:cxn>
              <a:cxn ang="0">
                <a:pos x="66" y="134"/>
              </a:cxn>
              <a:cxn ang="0">
                <a:pos x="80" y="132"/>
              </a:cxn>
              <a:cxn ang="0">
                <a:pos x="92" y="128"/>
              </a:cxn>
              <a:cxn ang="0">
                <a:pos x="104" y="122"/>
              </a:cxn>
              <a:cxn ang="0">
                <a:pos x="114" y="114"/>
              </a:cxn>
              <a:cxn ang="0">
                <a:pos x="122" y="104"/>
              </a:cxn>
              <a:cxn ang="0">
                <a:pos x="128" y="92"/>
              </a:cxn>
              <a:cxn ang="0">
                <a:pos x="132" y="80"/>
              </a:cxn>
              <a:cxn ang="0">
                <a:pos x="134" y="66"/>
              </a:cxn>
              <a:cxn ang="0">
                <a:pos x="134" y="66"/>
              </a:cxn>
              <a:cxn ang="0">
                <a:pos x="132" y="54"/>
              </a:cxn>
              <a:cxn ang="0">
                <a:pos x="128" y="40"/>
              </a:cxn>
              <a:cxn ang="0">
                <a:pos x="122" y="30"/>
              </a:cxn>
              <a:cxn ang="0">
                <a:pos x="114" y="20"/>
              </a:cxn>
              <a:cxn ang="0">
                <a:pos x="104" y="12"/>
              </a:cxn>
              <a:cxn ang="0">
                <a:pos x="92" y="6"/>
              </a:cxn>
              <a:cxn ang="0">
                <a:pos x="80" y="2"/>
              </a:cxn>
              <a:cxn ang="0">
                <a:pos x="66" y="0"/>
              </a:cxn>
            </a:cxnLst>
            <a:rect l="0" t="0" r="r" b="b"/>
            <a:pathLst>
              <a:path w="134" h="134">
                <a:moveTo>
                  <a:pt x="66" y="0"/>
                </a:moveTo>
                <a:lnTo>
                  <a:pt x="66" y="0"/>
                </a:lnTo>
                <a:lnTo>
                  <a:pt x="54" y="2"/>
                </a:lnTo>
                <a:lnTo>
                  <a:pt x="40" y="6"/>
                </a:lnTo>
                <a:lnTo>
                  <a:pt x="30" y="12"/>
                </a:lnTo>
                <a:lnTo>
                  <a:pt x="20" y="20"/>
                </a:lnTo>
                <a:lnTo>
                  <a:pt x="10" y="30"/>
                </a:lnTo>
                <a:lnTo>
                  <a:pt x="4" y="40"/>
                </a:lnTo>
                <a:lnTo>
                  <a:pt x="0" y="54"/>
                </a:lnTo>
                <a:lnTo>
                  <a:pt x="0" y="66"/>
                </a:lnTo>
                <a:lnTo>
                  <a:pt x="0" y="66"/>
                </a:lnTo>
                <a:lnTo>
                  <a:pt x="0" y="80"/>
                </a:lnTo>
                <a:lnTo>
                  <a:pt x="4" y="92"/>
                </a:lnTo>
                <a:lnTo>
                  <a:pt x="10" y="104"/>
                </a:lnTo>
                <a:lnTo>
                  <a:pt x="20" y="114"/>
                </a:lnTo>
                <a:lnTo>
                  <a:pt x="30" y="122"/>
                </a:lnTo>
                <a:lnTo>
                  <a:pt x="40" y="128"/>
                </a:lnTo>
                <a:lnTo>
                  <a:pt x="54" y="132"/>
                </a:lnTo>
                <a:lnTo>
                  <a:pt x="66" y="134"/>
                </a:lnTo>
                <a:lnTo>
                  <a:pt x="66" y="134"/>
                </a:lnTo>
                <a:lnTo>
                  <a:pt x="80" y="132"/>
                </a:lnTo>
                <a:lnTo>
                  <a:pt x="92" y="128"/>
                </a:lnTo>
                <a:lnTo>
                  <a:pt x="104" y="122"/>
                </a:lnTo>
                <a:lnTo>
                  <a:pt x="114" y="114"/>
                </a:lnTo>
                <a:lnTo>
                  <a:pt x="122" y="104"/>
                </a:lnTo>
                <a:lnTo>
                  <a:pt x="128" y="92"/>
                </a:lnTo>
                <a:lnTo>
                  <a:pt x="132" y="80"/>
                </a:lnTo>
                <a:lnTo>
                  <a:pt x="134" y="66"/>
                </a:lnTo>
                <a:lnTo>
                  <a:pt x="134" y="66"/>
                </a:lnTo>
                <a:lnTo>
                  <a:pt x="132" y="54"/>
                </a:lnTo>
                <a:lnTo>
                  <a:pt x="128" y="40"/>
                </a:lnTo>
                <a:lnTo>
                  <a:pt x="122" y="30"/>
                </a:lnTo>
                <a:lnTo>
                  <a:pt x="114" y="20"/>
                </a:lnTo>
                <a:lnTo>
                  <a:pt x="104" y="12"/>
                </a:lnTo>
                <a:lnTo>
                  <a:pt x="92" y="6"/>
                </a:lnTo>
                <a:lnTo>
                  <a:pt x="80" y="2"/>
                </a:lnTo>
                <a:lnTo>
                  <a:pt x="66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19" name="Freeform 58"/>
          <p:cNvSpPr>
            <a:spLocks/>
          </p:cNvSpPr>
          <p:nvPr userDrawn="1"/>
        </p:nvSpPr>
        <p:spPr bwMode="auto">
          <a:xfrm>
            <a:off x="777603" y="621492"/>
            <a:ext cx="269944" cy="249179"/>
          </a:xfrm>
          <a:custGeom>
            <a:avLst/>
            <a:gdLst/>
            <a:ahLst/>
            <a:cxnLst>
              <a:cxn ang="0">
                <a:pos x="66" y="0"/>
              </a:cxn>
              <a:cxn ang="0">
                <a:pos x="66" y="0"/>
              </a:cxn>
              <a:cxn ang="0">
                <a:pos x="54" y="2"/>
              </a:cxn>
              <a:cxn ang="0">
                <a:pos x="40" y="6"/>
              </a:cxn>
              <a:cxn ang="0">
                <a:pos x="30" y="12"/>
              </a:cxn>
              <a:cxn ang="0">
                <a:pos x="20" y="20"/>
              </a:cxn>
              <a:cxn ang="0">
                <a:pos x="10" y="30"/>
              </a:cxn>
              <a:cxn ang="0">
                <a:pos x="4" y="40"/>
              </a:cxn>
              <a:cxn ang="0">
                <a:pos x="0" y="54"/>
              </a:cxn>
              <a:cxn ang="0">
                <a:pos x="0" y="66"/>
              </a:cxn>
              <a:cxn ang="0">
                <a:pos x="0" y="66"/>
              </a:cxn>
              <a:cxn ang="0">
                <a:pos x="0" y="80"/>
              </a:cxn>
              <a:cxn ang="0">
                <a:pos x="4" y="92"/>
              </a:cxn>
              <a:cxn ang="0">
                <a:pos x="10" y="104"/>
              </a:cxn>
              <a:cxn ang="0">
                <a:pos x="20" y="114"/>
              </a:cxn>
              <a:cxn ang="0">
                <a:pos x="30" y="122"/>
              </a:cxn>
              <a:cxn ang="0">
                <a:pos x="40" y="128"/>
              </a:cxn>
              <a:cxn ang="0">
                <a:pos x="54" y="132"/>
              </a:cxn>
              <a:cxn ang="0">
                <a:pos x="66" y="134"/>
              </a:cxn>
              <a:cxn ang="0">
                <a:pos x="66" y="134"/>
              </a:cxn>
              <a:cxn ang="0">
                <a:pos x="80" y="132"/>
              </a:cxn>
              <a:cxn ang="0">
                <a:pos x="92" y="128"/>
              </a:cxn>
              <a:cxn ang="0">
                <a:pos x="104" y="122"/>
              </a:cxn>
              <a:cxn ang="0">
                <a:pos x="114" y="114"/>
              </a:cxn>
              <a:cxn ang="0">
                <a:pos x="122" y="104"/>
              </a:cxn>
              <a:cxn ang="0">
                <a:pos x="128" y="92"/>
              </a:cxn>
              <a:cxn ang="0">
                <a:pos x="132" y="80"/>
              </a:cxn>
              <a:cxn ang="0">
                <a:pos x="134" y="66"/>
              </a:cxn>
              <a:cxn ang="0">
                <a:pos x="134" y="66"/>
              </a:cxn>
              <a:cxn ang="0">
                <a:pos x="132" y="54"/>
              </a:cxn>
              <a:cxn ang="0">
                <a:pos x="128" y="40"/>
              </a:cxn>
              <a:cxn ang="0">
                <a:pos x="122" y="30"/>
              </a:cxn>
              <a:cxn ang="0">
                <a:pos x="114" y="20"/>
              </a:cxn>
              <a:cxn ang="0">
                <a:pos x="104" y="12"/>
              </a:cxn>
              <a:cxn ang="0">
                <a:pos x="92" y="6"/>
              </a:cxn>
              <a:cxn ang="0">
                <a:pos x="80" y="2"/>
              </a:cxn>
              <a:cxn ang="0">
                <a:pos x="66" y="0"/>
              </a:cxn>
            </a:cxnLst>
            <a:rect l="0" t="0" r="r" b="b"/>
            <a:pathLst>
              <a:path w="134" h="134">
                <a:moveTo>
                  <a:pt x="66" y="0"/>
                </a:moveTo>
                <a:lnTo>
                  <a:pt x="66" y="0"/>
                </a:lnTo>
                <a:lnTo>
                  <a:pt x="54" y="2"/>
                </a:lnTo>
                <a:lnTo>
                  <a:pt x="40" y="6"/>
                </a:lnTo>
                <a:lnTo>
                  <a:pt x="30" y="12"/>
                </a:lnTo>
                <a:lnTo>
                  <a:pt x="20" y="20"/>
                </a:lnTo>
                <a:lnTo>
                  <a:pt x="10" y="30"/>
                </a:lnTo>
                <a:lnTo>
                  <a:pt x="4" y="40"/>
                </a:lnTo>
                <a:lnTo>
                  <a:pt x="0" y="54"/>
                </a:lnTo>
                <a:lnTo>
                  <a:pt x="0" y="66"/>
                </a:lnTo>
                <a:lnTo>
                  <a:pt x="0" y="66"/>
                </a:lnTo>
                <a:lnTo>
                  <a:pt x="0" y="80"/>
                </a:lnTo>
                <a:lnTo>
                  <a:pt x="4" y="92"/>
                </a:lnTo>
                <a:lnTo>
                  <a:pt x="10" y="104"/>
                </a:lnTo>
                <a:lnTo>
                  <a:pt x="20" y="114"/>
                </a:lnTo>
                <a:lnTo>
                  <a:pt x="30" y="122"/>
                </a:lnTo>
                <a:lnTo>
                  <a:pt x="40" y="128"/>
                </a:lnTo>
                <a:lnTo>
                  <a:pt x="54" y="132"/>
                </a:lnTo>
                <a:lnTo>
                  <a:pt x="66" y="134"/>
                </a:lnTo>
                <a:lnTo>
                  <a:pt x="66" y="134"/>
                </a:lnTo>
                <a:lnTo>
                  <a:pt x="80" y="132"/>
                </a:lnTo>
                <a:lnTo>
                  <a:pt x="92" y="128"/>
                </a:lnTo>
                <a:lnTo>
                  <a:pt x="104" y="122"/>
                </a:lnTo>
                <a:lnTo>
                  <a:pt x="114" y="114"/>
                </a:lnTo>
                <a:lnTo>
                  <a:pt x="122" y="104"/>
                </a:lnTo>
                <a:lnTo>
                  <a:pt x="128" y="92"/>
                </a:lnTo>
                <a:lnTo>
                  <a:pt x="132" y="80"/>
                </a:lnTo>
                <a:lnTo>
                  <a:pt x="134" y="66"/>
                </a:lnTo>
                <a:lnTo>
                  <a:pt x="134" y="66"/>
                </a:lnTo>
                <a:lnTo>
                  <a:pt x="132" y="54"/>
                </a:lnTo>
                <a:lnTo>
                  <a:pt x="128" y="40"/>
                </a:lnTo>
                <a:lnTo>
                  <a:pt x="122" y="30"/>
                </a:lnTo>
                <a:lnTo>
                  <a:pt x="114" y="20"/>
                </a:lnTo>
                <a:lnTo>
                  <a:pt x="104" y="12"/>
                </a:lnTo>
                <a:lnTo>
                  <a:pt x="92" y="6"/>
                </a:lnTo>
                <a:lnTo>
                  <a:pt x="80" y="2"/>
                </a:lnTo>
                <a:lnTo>
                  <a:pt x="66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20" name="Freeform 59"/>
          <p:cNvSpPr>
            <a:spLocks/>
          </p:cNvSpPr>
          <p:nvPr userDrawn="1"/>
        </p:nvSpPr>
        <p:spPr bwMode="auto">
          <a:xfrm>
            <a:off x="2844489" y="2120287"/>
            <a:ext cx="269944" cy="249179"/>
          </a:xfrm>
          <a:custGeom>
            <a:avLst/>
            <a:gdLst/>
            <a:ahLst/>
            <a:cxnLst>
              <a:cxn ang="0">
                <a:pos x="68" y="0"/>
              </a:cxn>
              <a:cxn ang="0">
                <a:pos x="68" y="0"/>
              </a:cxn>
              <a:cxn ang="0">
                <a:pos x="54" y="0"/>
              </a:cxn>
              <a:cxn ang="0">
                <a:pos x="40" y="4"/>
              </a:cxn>
              <a:cxn ang="0">
                <a:pos x="30" y="10"/>
              </a:cxn>
              <a:cxn ang="0">
                <a:pos x="20" y="18"/>
              </a:cxn>
              <a:cxn ang="0">
                <a:pos x="12" y="28"/>
              </a:cxn>
              <a:cxn ang="0">
                <a:pos x="6" y="40"/>
              </a:cxn>
              <a:cxn ang="0">
                <a:pos x="2" y="52"/>
              </a:cxn>
              <a:cxn ang="0">
                <a:pos x="0" y="66"/>
              </a:cxn>
              <a:cxn ang="0">
                <a:pos x="0" y="66"/>
              </a:cxn>
              <a:cxn ang="0">
                <a:pos x="2" y="80"/>
              </a:cxn>
              <a:cxn ang="0">
                <a:pos x="6" y="92"/>
              </a:cxn>
              <a:cxn ang="0">
                <a:pos x="12" y="104"/>
              </a:cxn>
              <a:cxn ang="0">
                <a:pos x="20" y="114"/>
              </a:cxn>
              <a:cxn ang="0">
                <a:pos x="30" y="122"/>
              </a:cxn>
              <a:cxn ang="0">
                <a:pos x="40" y="128"/>
              </a:cxn>
              <a:cxn ang="0">
                <a:pos x="54" y="132"/>
              </a:cxn>
              <a:cxn ang="0">
                <a:pos x="68" y="134"/>
              </a:cxn>
              <a:cxn ang="0">
                <a:pos x="68" y="134"/>
              </a:cxn>
              <a:cxn ang="0">
                <a:pos x="80" y="132"/>
              </a:cxn>
              <a:cxn ang="0">
                <a:pos x="94" y="128"/>
              </a:cxn>
              <a:cxn ang="0">
                <a:pos x="104" y="122"/>
              </a:cxn>
              <a:cxn ang="0">
                <a:pos x="114" y="114"/>
              </a:cxn>
              <a:cxn ang="0">
                <a:pos x="122" y="104"/>
              </a:cxn>
              <a:cxn ang="0">
                <a:pos x="128" y="92"/>
              </a:cxn>
              <a:cxn ang="0">
                <a:pos x="132" y="80"/>
              </a:cxn>
              <a:cxn ang="0">
                <a:pos x="134" y="66"/>
              </a:cxn>
              <a:cxn ang="0">
                <a:pos x="134" y="66"/>
              </a:cxn>
              <a:cxn ang="0">
                <a:pos x="132" y="52"/>
              </a:cxn>
              <a:cxn ang="0">
                <a:pos x="128" y="40"/>
              </a:cxn>
              <a:cxn ang="0">
                <a:pos x="122" y="28"/>
              </a:cxn>
              <a:cxn ang="0">
                <a:pos x="114" y="18"/>
              </a:cxn>
              <a:cxn ang="0">
                <a:pos x="104" y="10"/>
              </a:cxn>
              <a:cxn ang="0">
                <a:pos x="94" y="4"/>
              </a:cxn>
              <a:cxn ang="0">
                <a:pos x="80" y="0"/>
              </a:cxn>
              <a:cxn ang="0">
                <a:pos x="68" y="0"/>
              </a:cxn>
            </a:cxnLst>
            <a:rect l="0" t="0" r="r" b="b"/>
            <a:pathLst>
              <a:path w="134" h="134">
                <a:moveTo>
                  <a:pt x="68" y="0"/>
                </a:moveTo>
                <a:lnTo>
                  <a:pt x="68" y="0"/>
                </a:lnTo>
                <a:lnTo>
                  <a:pt x="54" y="0"/>
                </a:lnTo>
                <a:lnTo>
                  <a:pt x="40" y="4"/>
                </a:lnTo>
                <a:lnTo>
                  <a:pt x="30" y="10"/>
                </a:lnTo>
                <a:lnTo>
                  <a:pt x="20" y="18"/>
                </a:lnTo>
                <a:lnTo>
                  <a:pt x="12" y="28"/>
                </a:lnTo>
                <a:lnTo>
                  <a:pt x="6" y="40"/>
                </a:lnTo>
                <a:lnTo>
                  <a:pt x="2" y="52"/>
                </a:lnTo>
                <a:lnTo>
                  <a:pt x="0" y="66"/>
                </a:lnTo>
                <a:lnTo>
                  <a:pt x="0" y="66"/>
                </a:lnTo>
                <a:lnTo>
                  <a:pt x="2" y="80"/>
                </a:lnTo>
                <a:lnTo>
                  <a:pt x="6" y="92"/>
                </a:lnTo>
                <a:lnTo>
                  <a:pt x="12" y="104"/>
                </a:lnTo>
                <a:lnTo>
                  <a:pt x="20" y="114"/>
                </a:lnTo>
                <a:lnTo>
                  <a:pt x="30" y="122"/>
                </a:lnTo>
                <a:lnTo>
                  <a:pt x="40" y="128"/>
                </a:lnTo>
                <a:lnTo>
                  <a:pt x="54" y="132"/>
                </a:lnTo>
                <a:lnTo>
                  <a:pt x="68" y="134"/>
                </a:lnTo>
                <a:lnTo>
                  <a:pt x="68" y="134"/>
                </a:lnTo>
                <a:lnTo>
                  <a:pt x="80" y="132"/>
                </a:lnTo>
                <a:lnTo>
                  <a:pt x="94" y="128"/>
                </a:lnTo>
                <a:lnTo>
                  <a:pt x="104" y="122"/>
                </a:lnTo>
                <a:lnTo>
                  <a:pt x="114" y="114"/>
                </a:lnTo>
                <a:lnTo>
                  <a:pt x="122" y="104"/>
                </a:lnTo>
                <a:lnTo>
                  <a:pt x="128" y="92"/>
                </a:lnTo>
                <a:lnTo>
                  <a:pt x="132" y="80"/>
                </a:lnTo>
                <a:lnTo>
                  <a:pt x="134" y="66"/>
                </a:lnTo>
                <a:lnTo>
                  <a:pt x="134" y="66"/>
                </a:lnTo>
                <a:lnTo>
                  <a:pt x="132" y="52"/>
                </a:lnTo>
                <a:lnTo>
                  <a:pt x="128" y="40"/>
                </a:lnTo>
                <a:lnTo>
                  <a:pt x="122" y="28"/>
                </a:lnTo>
                <a:lnTo>
                  <a:pt x="114" y="18"/>
                </a:lnTo>
                <a:lnTo>
                  <a:pt x="104" y="10"/>
                </a:lnTo>
                <a:lnTo>
                  <a:pt x="94" y="4"/>
                </a:lnTo>
                <a:lnTo>
                  <a:pt x="80" y="0"/>
                </a:lnTo>
                <a:lnTo>
                  <a:pt x="68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21" name="Freeform 60"/>
          <p:cNvSpPr>
            <a:spLocks/>
          </p:cNvSpPr>
          <p:nvPr userDrawn="1"/>
        </p:nvSpPr>
        <p:spPr bwMode="auto">
          <a:xfrm>
            <a:off x="2844489" y="2120287"/>
            <a:ext cx="269944" cy="249179"/>
          </a:xfrm>
          <a:custGeom>
            <a:avLst/>
            <a:gdLst/>
            <a:ahLst/>
            <a:cxnLst>
              <a:cxn ang="0">
                <a:pos x="68" y="0"/>
              </a:cxn>
              <a:cxn ang="0">
                <a:pos x="68" y="0"/>
              </a:cxn>
              <a:cxn ang="0">
                <a:pos x="54" y="0"/>
              </a:cxn>
              <a:cxn ang="0">
                <a:pos x="40" y="4"/>
              </a:cxn>
              <a:cxn ang="0">
                <a:pos x="30" y="10"/>
              </a:cxn>
              <a:cxn ang="0">
                <a:pos x="20" y="18"/>
              </a:cxn>
              <a:cxn ang="0">
                <a:pos x="12" y="28"/>
              </a:cxn>
              <a:cxn ang="0">
                <a:pos x="6" y="40"/>
              </a:cxn>
              <a:cxn ang="0">
                <a:pos x="2" y="52"/>
              </a:cxn>
              <a:cxn ang="0">
                <a:pos x="0" y="66"/>
              </a:cxn>
              <a:cxn ang="0">
                <a:pos x="0" y="66"/>
              </a:cxn>
              <a:cxn ang="0">
                <a:pos x="2" y="80"/>
              </a:cxn>
              <a:cxn ang="0">
                <a:pos x="6" y="92"/>
              </a:cxn>
              <a:cxn ang="0">
                <a:pos x="12" y="104"/>
              </a:cxn>
              <a:cxn ang="0">
                <a:pos x="20" y="114"/>
              </a:cxn>
              <a:cxn ang="0">
                <a:pos x="30" y="122"/>
              </a:cxn>
              <a:cxn ang="0">
                <a:pos x="40" y="128"/>
              </a:cxn>
              <a:cxn ang="0">
                <a:pos x="54" y="132"/>
              </a:cxn>
              <a:cxn ang="0">
                <a:pos x="68" y="134"/>
              </a:cxn>
              <a:cxn ang="0">
                <a:pos x="68" y="134"/>
              </a:cxn>
              <a:cxn ang="0">
                <a:pos x="80" y="132"/>
              </a:cxn>
              <a:cxn ang="0">
                <a:pos x="94" y="128"/>
              </a:cxn>
              <a:cxn ang="0">
                <a:pos x="104" y="122"/>
              </a:cxn>
              <a:cxn ang="0">
                <a:pos x="114" y="114"/>
              </a:cxn>
              <a:cxn ang="0">
                <a:pos x="122" y="104"/>
              </a:cxn>
              <a:cxn ang="0">
                <a:pos x="128" y="92"/>
              </a:cxn>
              <a:cxn ang="0">
                <a:pos x="132" y="80"/>
              </a:cxn>
              <a:cxn ang="0">
                <a:pos x="134" y="66"/>
              </a:cxn>
              <a:cxn ang="0">
                <a:pos x="134" y="66"/>
              </a:cxn>
              <a:cxn ang="0">
                <a:pos x="132" y="52"/>
              </a:cxn>
              <a:cxn ang="0">
                <a:pos x="128" y="40"/>
              </a:cxn>
              <a:cxn ang="0">
                <a:pos x="122" y="28"/>
              </a:cxn>
              <a:cxn ang="0">
                <a:pos x="114" y="18"/>
              </a:cxn>
              <a:cxn ang="0">
                <a:pos x="104" y="10"/>
              </a:cxn>
              <a:cxn ang="0">
                <a:pos x="94" y="4"/>
              </a:cxn>
              <a:cxn ang="0">
                <a:pos x="80" y="0"/>
              </a:cxn>
              <a:cxn ang="0">
                <a:pos x="68" y="0"/>
              </a:cxn>
            </a:cxnLst>
            <a:rect l="0" t="0" r="r" b="b"/>
            <a:pathLst>
              <a:path w="134" h="134">
                <a:moveTo>
                  <a:pt x="68" y="0"/>
                </a:moveTo>
                <a:lnTo>
                  <a:pt x="68" y="0"/>
                </a:lnTo>
                <a:lnTo>
                  <a:pt x="54" y="0"/>
                </a:lnTo>
                <a:lnTo>
                  <a:pt x="40" y="4"/>
                </a:lnTo>
                <a:lnTo>
                  <a:pt x="30" y="10"/>
                </a:lnTo>
                <a:lnTo>
                  <a:pt x="20" y="18"/>
                </a:lnTo>
                <a:lnTo>
                  <a:pt x="12" y="28"/>
                </a:lnTo>
                <a:lnTo>
                  <a:pt x="6" y="40"/>
                </a:lnTo>
                <a:lnTo>
                  <a:pt x="2" y="52"/>
                </a:lnTo>
                <a:lnTo>
                  <a:pt x="0" y="66"/>
                </a:lnTo>
                <a:lnTo>
                  <a:pt x="0" y="66"/>
                </a:lnTo>
                <a:lnTo>
                  <a:pt x="2" y="80"/>
                </a:lnTo>
                <a:lnTo>
                  <a:pt x="6" y="92"/>
                </a:lnTo>
                <a:lnTo>
                  <a:pt x="12" y="104"/>
                </a:lnTo>
                <a:lnTo>
                  <a:pt x="20" y="114"/>
                </a:lnTo>
                <a:lnTo>
                  <a:pt x="30" y="122"/>
                </a:lnTo>
                <a:lnTo>
                  <a:pt x="40" y="128"/>
                </a:lnTo>
                <a:lnTo>
                  <a:pt x="54" y="132"/>
                </a:lnTo>
                <a:lnTo>
                  <a:pt x="68" y="134"/>
                </a:lnTo>
                <a:lnTo>
                  <a:pt x="68" y="134"/>
                </a:lnTo>
                <a:lnTo>
                  <a:pt x="80" y="132"/>
                </a:lnTo>
                <a:lnTo>
                  <a:pt x="94" y="128"/>
                </a:lnTo>
                <a:lnTo>
                  <a:pt x="104" y="122"/>
                </a:lnTo>
                <a:lnTo>
                  <a:pt x="114" y="114"/>
                </a:lnTo>
                <a:lnTo>
                  <a:pt x="122" y="104"/>
                </a:lnTo>
                <a:lnTo>
                  <a:pt x="128" y="92"/>
                </a:lnTo>
                <a:lnTo>
                  <a:pt x="132" y="80"/>
                </a:lnTo>
                <a:lnTo>
                  <a:pt x="134" y="66"/>
                </a:lnTo>
                <a:lnTo>
                  <a:pt x="134" y="66"/>
                </a:lnTo>
                <a:lnTo>
                  <a:pt x="132" y="52"/>
                </a:lnTo>
                <a:lnTo>
                  <a:pt x="128" y="40"/>
                </a:lnTo>
                <a:lnTo>
                  <a:pt x="122" y="28"/>
                </a:lnTo>
                <a:lnTo>
                  <a:pt x="114" y="18"/>
                </a:lnTo>
                <a:lnTo>
                  <a:pt x="104" y="10"/>
                </a:lnTo>
                <a:lnTo>
                  <a:pt x="94" y="4"/>
                </a:lnTo>
                <a:lnTo>
                  <a:pt x="80" y="0"/>
                </a:lnTo>
                <a:lnTo>
                  <a:pt x="68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22" name="Freeform 61"/>
          <p:cNvSpPr>
            <a:spLocks/>
          </p:cNvSpPr>
          <p:nvPr userDrawn="1"/>
        </p:nvSpPr>
        <p:spPr bwMode="auto">
          <a:xfrm>
            <a:off x="1897670" y="2678152"/>
            <a:ext cx="269944" cy="249179"/>
          </a:xfrm>
          <a:custGeom>
            <a:avLst/>
            <a:gdLst/>
            <a:ahLst/>
            <a:cxnLst>
              <a:cxn ang="0">
                <a:pos x="68" y="0"/>
              </a:cxn>
              <a:cxn ang="0">
                <a:pos x="68" y="0"/>
              </a:cxn>
              <a:cxn ang="0">
                <a:pos x="54" y="0"/>
              </a:cxn>
              <a:cxn ang="0">
                <a:pos x="42" y="4"/>
              </a:cxn>
              <a:cxn ang="0">
                <a:pos x="30" y="10"/>
              </a:cxn>
              <a:cxn ang="0">
                <a:pos x="20" y="18"/>
              </a:cxn>
              <a:cxn ang="0">
                <a:pos x="12" y="28"/>
              </a:cxn>
              <a:cxn ang="0">
                <a:pos x="6" y="40"/>
              </a:cxn>
              <a:cxn ang="0">
                <a:pos x="2" y="52"/>
              </a:cxn>
              <a:cxn ang="0">
                <a:pos x="0" y="66"/>
              </a:cxn>
              <a:cxn ang="0">
                <a:pos x="0" y="66"/>
              </a:cxn>
              <a:cxn ang="0">
                <a:pos x="2" y="80"/>
              </a:cxn>
              <a:cxn ang="0">
                <a:pos x="6" y="92"/>
              </a:cxn>
              <a:cxn ang="0">
                <a:pos x="12" y="104"/>
              </a:cxn>
              <a:cxn ang="0">
                <a:pos x="20" y="114"/>
              </a:cxn>
              <a:cxn ang="0">
                <a:pos x="30" y="122"/>
              </a:cxn>
              <a:cxn ang="0">
                <a:pos x="42" y="128"/>
              </a:cxn>
              <a:cxn ang="0">
                <a:pos x="54" y="132"/>
              </a:cxn>
              <a:cxn ang="0">
                <a:pos x="68" y="134"/>
              </a:cxn>
              <a:cxn ang="0">
                <a:pos x="68" y="134"/>
              </a:cxn>
              <a:cxn ang="0">
                <a:pos x="80" y="132"/>
              </a:cxn>
              <a:cxn ang="0">
                <a:pos x="94" y="128"/>
              </a:cxn>
              <a:cxn ang="0">
                <a:pos x="104" y="122"/>
              </a:cxn>
              <a:cxn ang="0">
                <a:pos x="114" y="114"/>
              </a:cxn>
              <a:cxn ang="0">
                <a:pos x="124" y="104"/>
              </a:cxn>
              <a:cxn ang="0">
                <a:pos x="130" y="92"/>
              </a:cxn>
              <a:cxn ang="0">
                <a:pos x="134" y="80"/>
              </a:cxn>
              <a:cxn ang="0">
                <a:pos x="134" y="66"/>
              </a:cxn>
              <a:cxn ang="0">
                <a:pos x="134" y="66"/>
              </a:cxn>
              <a:cxn ang="0">
                <a:pos x="134" y="52"/>
              </a:cxn>
              <a:cxn ang="0">
                <a:pos x="130" y="40"/>
              </a:cxn>
              <a:cxn ang="0">
                <a:pos x="124" y="28"/>
              </a:cxn>
              <a:cxn ang="0">
                <a:pos x="114" y="18"/>
              </a:cxn>
              <a:cxn ang="0">
                <a:pos x="104" y="10"/>
              </a:cxn>
              <a:cxn ang="0">
                <a:pos x="94" y="4"/>
              </a:cxn>
              <a:cxn ang="0">
                <a:pos x="80" y="0"/>
              </a:cxn>
              <a:cxn ang="0">
                <a:pos x="68" y="0"/>
              </a:cxn>
            </a:cxnLst>
            <a:rect l="0" t="0" r="r" b="b"/>
            <a:pathLst>
              <a:path w="134" h="134">
                <a:moveTo>
                  <a:pt x="68" y="0"/>
                </a:moveTo>
                <a:lnTo>
                  <a:pt x="68" y="0"/>
                </a:lnTo>
                <a:lnTo>
                  <a:pt x="54" y="0"/>
                </a:lnTo>
                <a:lnTo>
                  <a:pt x="42" y="4"/>
                </a:lnTo>
                <a:lnTo>
                  <a:pt x="30" y="10"/>
                </a:lnTo>
                <a:lnTo>
                  <a:pt x="20" y="18"/>
                </a:lnTo>
                <a:lnTo>
                  <a:pt x="12" y="28"/>
                </a:lnTo>
                <a:lnTo>
                  <a:pt x="6" y="40"/>
                </a:lnTo>
                <a:lnTo>
                  <a:pt x="2" y="52"/>
                </a:lnTo>
                <a:lnTo>
                  <a:pt x="0" y="66"/>
                </a:lnTo>
                <a:lnTo>
                  <a:pt x="0" y="66"/>
                </a:lnTo>
                <a:lnTo>
                  <a:pt x="2" y="80"/>
                </a:lnTo>
                <a:lnTo>
                  <a:pt x="6" y="92"/>
                </a:lnTo>
                <a:lnTo>
                  <a:pt x="12" y="104"/>
                </a:lnTo>
                <a:lnTo>
                  <a:pt x="20" y="114"/>
                </a:lnTo>
                <a:lnTo>
                  <a:pt x="30" y="122"/>
                </a:lnTo>
                <a:lnTo>
                  <a:pt x="42" y="128"/>
                </a:lnTo>
                <a:lnTo>
                  <a:pt x="54" y="132"/>
                </a:lnTo>
                <a:lnTo>
                  <a:pt x="68" y="134"/>
                </a:lnTo>
                <a:lnTo>
                  <a:pt x="68" y="134"/>
                </a:lnTo>
                <a:lnTo>
                  <a:pt x="80" y="132"/>
                </a:lnTo>
                <a:lnTo>
                  <a:pt x="94" y="128"/>
                </a:lnTo>
                <a:lnTo>
                  <a:pt x="104" y="122"/>
                </a:lnTo>
                <a:lnTo>
                  <a:pt x="114" y="114"/>
                </a:lnTo>
                <a:lnTo>
                  <a:pt x="124" y="104"/>
                </a:lnTo>
                <a:lnTo>
                  <a:pt x="130" y="92"/>
                </a:lnTo>
                <a:lnTo>
                  <a:pt x="134" y="80"/>
                </a:lnTo>
                <a:lnTo>
                  <a:pt x="134" y="66"/>
                </a:lnTo>
                <a:lnTo>
                  <a:pt x="134" y="66"/>
                </a:lnTo>
                <a:lnTo>
                  <a:pt x="134" y="52"/>
                </a:lnTo>
                <a:lnTo>
                  <a:pt x="130" y="40"/>
                </a:lnTo>
                <a:lnTo>
                  <a:pt x="124" y="28"/>
                </a:lnTo>
                <a:lnTo>
                  <a:pt x="114" y="18"/>
                </a:lnTo>
                <a:lnTo>
                  <a:pt x="104" y="10"/>
                </a:lnTo>
                <a:lnTo>
                  <a:pt x="94" y="4"/>
                </a:lnTo>
                <a:lnTo>
                  <a:pt x="80" y="0"/>
                </a:lnTo>
                <a:lnTo>
                  <a:pt x="68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23" name="Freeform 62"/>
          <p:cNvSpPr>
            <a:spLocks/>
          </p:cNvSpPr>
          <p:nvPr userDrawn="1"/>
        </p:nvSpPr>
        <p:spPr bwMode="auto">
          <a:xfrm>
            <a:off x="1897670" y="2678152"/>
            <a:ext cx="269944" cy="249179"/>
          </a:xfrm>
          <a:custGeom>
            <a:avLst/>
            <a:gdLst/>
            <a:ahLst/>
            <a:cxnLst>
              <a:cxn ang="0">
                <a:pos x="68" y="0"/>
              </a:cxn>
              <a:cxn ang="0">
                <a:pos x="68" y="0"/>
              </a:cxn>
              <a:cxn ang="0">
                <a:pos x="54" y="0"/>
              </a:cxn>
              <a:cxn ang="0">
                <a:pos x="42" y="4"/>
              </a:cxn>
              <a:cxn ang="0">
                <a:pos x="30" y="10"/>
              </a:cxn>
              <a:cxn ang="0">
                <a:pos x="20" y="18"/>
              </a:cxn>
              <a:cxn ang="0">
                <a:pos x="12" y="28"/>
              </a:cxn>
              <a:cxn ang="0">
                <a:pos x="6" y="40"/>
              </a:cxn>
              <a:cxn ang="0">
                <a:pos x="2" y="52"/>
              </a:cxn>
              <a:cxn ang="0">
                <a:pos x="0" y="66"/>
              </a:cxn>
              <a:cxn ang="0">
                <a:pos x="0" y="66"/>
              </a:cxn>
              <a:cxn ang="0">
                <a:pos x="2" y="80"/>
              </a:cxn>
              <a:cxn ang="0">
                <a:pos x="6" y="92"/>
              </a:cxn>
              <a:cxn ang="0">
                <a:pos x="12" y="104"/>
              </a:cxn>
              <a:cxn ang="0">
                <a:pos x="20" y="114"/>
              </a:cxn>
              <a:cxn ang="0">
                <a:pos x="30" y="122"/>
              </a:cxn>
              <a:cxn ang="0">
                <a:pos x="42" y="128"/>
              </a:cxn>
              <a:cxn ang="0">
                <a:pos x="54" y="132"/>
              </a:cxn>
              <a:cxn ang="0">
                <a:pos x="68" y="134"/>
              </a:cxn>
              <a:cxn ang="0">
                <a:pos x="68" y="134"/>
              </a:cxn>
              <a:cxn ang="0">
                <a:pos x="80" y="132"/>
              </a:cxn>
              <a:cxn ang="0">
                <a:pos x="94" y="128"/>
              </a:cxn>
              <a:cxn ang="0">
                <a:pos x="104" y="122"/>
              </a:cxn>
              <a:cxn ang="0">
                <a:pos x="114" y="114"/>
              </a:cxn>
              <a:cxn ang="0">
                <a:pos x="124" y="104"/>
              </a:cxn>
              <a:cxn ang="0">
                <a:pos x="130" y="92"/>
              </a:cxn>
              <a:cxn ang="0">
                <a:pos x="134" y="80"/>
              </a:cxn>
              <a:cxn ang="0">
                <a:pos x="134" y="66"/>
              </a:cxn>
              <a:cxn ang="0">
                <a:pos x="134" y="66"/>
              </a:cxn>
              <a:cxn ang="0">
                <a:pos x="134" y="52"/>
              </a:cxn>
              <a:cxn ang="0">
                <a:pos x="130" y="40"/>
              </a:cxn>
              <a:cxn ang="0">
                <a:pos x="124" y="28"/>
              </a:cxn>
              <a:cxn ang="0">
                <a:pos x="114" y="18"/>
              </a:cxn>
              <a:cxn ang="0">
                <a:pos x="104" y="10"/>
              </a:cxn>
              <a:cxn ang="0">
                <a:pos x="94" y="4"/>
              </a:cxn>
              <a:cxn ang="0">
                <a:pos x="80" y="0"/>
              </a:cxn>
              <a:cxn ang="0">
                <a:pos x="68" y="0"/>
              </a:cxn>
            </a:cxnLst>
            <a:rect l="0" t="0" r="r" b="b"/>
            <a:pathLst>
              <a:path w="134" h="134">
                <a:moveTo>
                  <a:pt x="68" y="0"/>
                </a:moveTo>
                <a:lnTo>
                  <a:pt x="68" y="0"/>
                </a:lnTo>
                <a:lnTo>
                  <a:pt x="54" y="0"/>
                </a:lnTo>
                <a:lnTo>
                  <a:pt x="42" y="4"/>
                </a:lnTo>
                <a:lnTo>
                  <a:pt x="30" y="10"/>
                </a:lnTo>
                <a:lnTo>
                  <a:pt x="20" y="18"/>
                </a:lnTo>
                <a:lnTo>
                  <a:pt x="12" y="28"/>
                </a:lnTo>
                <a:lnTo>
                  <a:pt x="6" y="40"/>
                </a:lnTo>
                <a:lnTo>
                  <a:pt x="2" y="52"/>
                </a:lnTo>
                <a:lnTo>
                  <a:pt x="0" y="66"/>
                </a:lnTo>
                <a:lnTo>
                  <a:pt x="0" y="66"/>
                </a:lnTo>
                <a:lnTo>
                  <a:pt x="2" y="80"/>
                </a:lnTo>
                <a:lnTo>
                  <a:pt x="6" y="92"/>
                </a:lnTo>
                <a:lnTo>
                  <a:pt x="12" y="104"/>
                </a:lnTo>
                <a:lnTo>
                  <a:pt x="20" y="114"/>
                </a:lnTo>
                <a:lnTo>
                  <a:pt x="30" y="122"/>
                </a:lnTo>
                <a:lnTo>
                  <a:pt x="42" y="128"/>
                </a:lnTo>
                <a:lnTo>
                  <a:pt x="54" y="132"/>
                </a:lnTo>
                <a:lnTo>
                  <a:pt x="68" y="134"/>
                </a:lnTo>
                <a:lnTo>
                  <a:pt x="68" y="134"/>
                </a:lnTo>
                <a:lnTo>
                  <a:pt x="80" y="132"/>
                </a:lnTo>
                <a:lnTo>
                  <a:pt x="94" y="128"/>
                </a:lnTo>
                <a:lnTo>
                  <a:pt x="104" y="122"/>
                </a:lnTo>
                <a:lnTo>
                  <a:pt x="114" y="114"/>
                </a:lnTo>
                <a:lnTo>
                  <a:pt x="124" y="104"/>
                </a:lnTo>
                <a:lnTo>
                  <a:pt x="130" y="92"/>
                </a:lnTo>
                <a:lnTo>
                  <a:pt x="134" y="80"/>
                </a:lnTo>
                <a:lnTo>
                  <a:pt x="134" y="66"/>
                </a:lnTo>
                <a:lnTo>
                  <a:pt x="134" y="66"/>
                </a:lnTo>
                <a:lnTo>
                  <a:pt x="134" y="52"/>
                </a:lnTo>
                <a:lnTo>
                  <a:pt x="130" y="40"/>
                </a:lnTo>
                <a:lnTo>
                  <a:pt x="124" y="28"/>
                </a:lnTo>
                <a:lnTo>
                  <a:pt x="114" y="18"/>
                </a:lnTo>
                <a:lnTo>
                  <a:pt x="104" y="10"/>
                </a:lnTo>
                <a:lnTo>
                  <a:pt x="94" y="4"/>
                </a:lnTo>
                <a:lnTo>
                  <a:pt x="80" y="0"/>
                </a:lnTo>
                <a:lnTo>
                  <a:pt x="68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24" name="Freeform 63"/>
          <p:cNvSpPr>
            <a:spLocks/>
          </p:cNvSpPr>
          <p:nvPr userDrawn="1"/>
        </p:nvSpPr>
        <p:spPr bwMode="auto">
          <a:xfrm>
            <a:off x="2711535" y="-207876"/>
            <a:ext cx="269944" cy="249179"/>
          </a:xfrm>
          <a:custGeom>
            <a:avLst/>
            <a:gdLst/>
            <a:ahLst/>
            <a:cxnLst>
              <a:cxn ang="0">
                <a:pos x="68" y="0"/>
              </a:cxn>
              <a:cxn ang="0">
                <a:pos x="68" y="0"/>
              </a:cxn>
              <a:cxn ang="0">
                <a:pos x="54" y="2"/>
              </a:cxn>
              <a:cxn ang="0">
                <a:pos x="42" y="6"/>
              </a:cxn>
              <a:cxn ang="0">
                <a:pos x="30" y="12"/>
              </a:cxn>
              <a:cxn ang="0">
                <a:pos x="20" y="20"/>
              </a:cxn>
              <a:cxn ang="0">
                <a:pos x="12" y="30"/>
              </a:cxn>
              <a:cxn ang="0">
                <a:pos x="6" y="42"/>
              </a:cxn>
              <a:cxn ang="0">
                <a:pos x="2" y="54"/>
              </a:cxn>
              <a:cxn ang="0">
                <a:pos x="0" y="68"/>
              </a:cxn>
              <a:cxn ang="0">
                <a:pos x="0" y="68"/>
              </a:cxn>
              <a:cxn ang="0">
                <a:pos x="2" y="80"/>
              </a:cxn>
              <a:cxn ang="0">
                <a:pos x="6" y="94"/>
              </a:cxn>
              <a:cxn ang="0">
                <a:pos x="12" y="104"/>
              </a:cxn>
              <a:cxn ang="0">
                <a:pos x="20" y="114"/>
              </a:cxn>
              <a:cxn ang="0">
                <a:pos x="30" y="124"/>
              </a:cxn>
              <a:cxn ang="0">
                <a:pos x="42" y="130"/>
              </a:cxn>
              <a:cxn ang="0">
                <a:pos x="54" y="134"/>
              </a:cxn>
              <a:cxn ang="0">
                <a:pos x="68" y="134"/>
              </a:cxn>
              <a:cxn ang="0">
                <a:pos x="68" y="134"/>
              </a:cxn>
              <a:cxn ang="0">
                <a:pos x="82" y="134"/>
              </a:cxn>
              <a:cxn ang="0">
                <a:pos x="94" y="130"/>
              </a:cxn>
              <a:cxn ang="0">
                <a:pos x="106" y="124"/>
              </a:cxn>
              <a:cxn ang="0">
                <a:pos x="116" y="114"/>
              </a:cxn>
              <a:cxn ang="0">
                <a:pos x="124" y="104"/>
              </a:cxn>
              <a:cxn ang="0">
                <a:pos x="130" y="94"/>
              </a:cxn>
              <a:cxn ang="0">
                <a:pos x="134" y="80"/>
              </a:cxn>
              <a:cxn ang="0">
                <a:pos x="134" y="68"/>
              </a:cxn>
              <a:cxn ang="0">
                <a:pos x="134" y="68"/>
              </a:cxn>
              <a:cxn ang="0">
                <a:pos x="134" y="54"/>
              </a:cxn>
              <a:cxn ang="0">
                <a:pos x="130" y="42"/>
              </a:cxn>
              <a:cxn ang="0">
                <a:pos x="124" y="30"/>
              </a:cxn>
              <a:cxn ang="0">
                <a:pos x="116" y="20"/>
              </a:cxn>
              <a:cxn ang="0">
                <a:pos x="106" y="12"/>
              </a:cxn>
              <a:cxn ang="0">
                <a:pos x="94" y="6"/>
              </a:cxn>
              <a:cxn ang="0">
                <a:pos x="82" y="2"/>
              </a:cxn>
              <a:cxn ang="0">
                <a:pos x="68" y="0"/>
              </a:cxn>
            </a:cxnLst>
            <a:rect l="0" t="0" r="r" b="b"/>
            <a:pathLst>
              <a:path w="134" h="134">
                <a:moveTo>
                  <a:pt x="68" y="0"/>
                </a:moveTo>
                <a:lnTo>
                  <a:pt x="68" y="0"/>
                </a:lnTo>
                <a:lnTo>
                  <a:pt x="54" y="2"/>
                </a:lnTo>
                <a:lnTo>
                  <a:pt x="42" y="6"/>
                </a:lnTo>
                <a:lnTo>
                  <a:pt x="30" y="12"/>
                </a:lnTo>
                <a:lnTo>
                  <a:pt x="20" y="20"/>
                </a:lnTo>
                <a:lnTo>
                  <a:pt x="12" y="30"/>
                </a:lnTo>
                <a:lnTo>
                  <a:pt x="6" y="42"/>
                </a:lnTo>
                <a:lnTo>
                  <a:pt x="2" y="54"/>
                </a:lnTo>
                <a:lnTo>
                  <a:pt x="0" y="68"/>
                </a:lnTo>
                <a:lnTo>
                  <a:pt x="0" y="68"/>
                </a:lnTo>
                <a:lnTo>
                  <a:pt x="2" y="80"/>
                </a:lnTo>
                <a:lnTo>
                  <a:pt x="6" y="94"/>
                </a:lnTo>
                <a:lnTo>
                  <a:pt x="12" y="104"/>
                </a:lnTo>
                <a:lnTo>
                  <a:pt x="20" y="114"/>
                </a:lnTo>
                <a:lnTo>
                  <a:pt x="30" y="124"/>
                </a:lnTo>
                <a:lnTo>
                  <a:pt x="42" y="130"/>
                </a:lnTo>
                <a:lnTo>
                  <a:pt x="54" y="134"/>
                </a:lnTo>
                <a:lnTo>
                  <a:pt x="68" y="134"/>
                </a:lnTo>
                <a:lnTo>
                  <a:pt x="68" y="134"/>
                </a:lnTo>
                <a:lnTo>
                  <a:pt x="82" y="134"/>
                </a:lnTo>
                <a:lnTo>
                  <a:pt x="94" y="130"/>
                </a:lnTo>
                <a:lnTo>
                  <a:pt x="106" y="124"/>
                </a:lnTo>
                <a:lnTo>
                  <a:pt x="116" y="114"/>
                </a:lnTo>
                <a:lnTo>
                  <a:pt x="124" y="104"/>
                </a:lnTo>
                <a:lnTo>
                  <a:pt x="130" y="94"/>
                </a:lnTo>
                <a:lnTo>
                  <a:pt x="134" y="80"/>
                </a:lnTo>
                <a:lnTo>
                  <a:pt x="134" y="68"/>
                </a:lnTo>
                <a:lnTo>
                  <a:pt x="134" y="68"/>
                </a:lnTo>
                <a:lnTo>
                  <a:pt x="134" y="54"/>
                </a:lnTo>
                <a:lnTo>
                  <a:pt x="130" y="42"/>
                </a:lnTo>
                <a:lnTo>
                  <a:pt x="124" y="30"/>
                </a:lnTo>
                <a:lnTo>
                  <a:pt x="116" y="20"/>
                </a:lnTo>
                <a:lnTo>
                  <a:pt x="106" y="12"/>
                </a:lnTo>
                <a:lnTo>
                  <a:pt x="94" y="6"/>
                </a:lnTo>
                <a:lnTo>
                  <a:pt x="82" y="2"/>
                </a:lnTo>
                <a:lnTo>
                  <a:pt x="68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25" name="Freeform 64"/>
          <p:cNvSpPr>
            <a:spLocks/>
          </p:cNvSpPr>
          <p:nvPr userDrawn="1"/>
        </p:nvSpPr>
        <p:spPr bwMode="auto">
          <a:xfrm>
            <a:off x="2711535" y="-207876"/>
            <a:ext cx="269944" cy="249179"/>
          </a:xfrm>
          <a:custGeom>
            <a:avLst/>
            <a:gdLst/>
            <a:ahLst/>
            <a:cxnLst>
              <a:cxn ang="0">
                <a:pos x="68" y="0"/>
              </a:cxn>
              <a:cxn ang="0">
                <a:pos x="68" y="0"/>
              </a:cxn>
              <a:cxn ang="0">
                <a:pos x="54" y="2"/>
              </a:cxn>
              <a:cxn ang="0">
                <a:pos x="42" y="6"/>
              </a:cxn>
              <a:cxn ang="0">
                <a:pos x="30" y="12"/>
              </a:cxn>
              <a:cxn ang="0">
                <a:pos x="20" y="20"/>
              </a:cxn>
              <a:cxn ang="0">
                <a:pos x="12" y="30"/>
              </a:cxn>
              <a:cxn ang="0">
                <a:pos x="6" y="42"/>
              </a:cxn>
              <a:cxn ang="0">
                <a:pos x="2" y="54"/>
              </a:cxn>
              <a:cxn ang="0">
                <a:pos x="0" y="68"/>
              </a:cxn>
              <a:cxn ang="0">
                <a:pos x="0" y="68"/>
              </a:cxn>
              <a:cxn ang="0">
                <a:pos x="2" y="80"/>
              </a:cxn>
              <a:cxn ang="0">
                <a:pos x="6" y="94"/>
              </a:cxn>
              <a:cxn ang="0">
                <a:pos x="12" y="104"/>
              </a:cxn>
              <a:cxn ang="0">
                <a:pos x="20" y="114"/>
              </a:cxn>
              <a:cxn ang="0">
                <a:pos x="30" y="124"/>
              </a:cxn>
              <a:cxn ang="0">
                <a:pos x="42" y="130"/>
              </a:cxn>
              <a:cxn ang="0">
                <a:pos x="54" y="134"/>
              </a:cxn>
              <a:cxn ang="0">
                <a:pos x="68" y="134"/>
              </a:cxn>
              <a:cxn ang="0">
                <a:pos x="68" y="134"/>
              </a:cxn>
              <a:cxn ang="0">
                <a:pos x="82" y="134"/>
              </a:cxn>
              <a:cxn ang="0">
                <a:pos x="94" y="130"/>
              </a:cxn>
              <a:cxn ang="0">
                <a:pos x="106" y="124"/>
              </a:cxn>
              <a:cxn ang="0">
                <a:pos x="116" y="114"/>
              </a:cxn>
              <a:cxn ang="0">
                <a:pos x="124" y="104"/>
              </a:cxn>
              <a:cxn ang="0">
                <a:pos x="130" y="94"/>
              </a:cxn>
              <a:cxn ang="0">
                <a:pos x="134" y="80"/>
              </a:cxn>
              <a:cxn ang="0">
                <a:pos x="134" y="68"/>
              </a:cxn>
              <a:cxn ang="0">
                <a:pos x="134" y="68"/>
              </a:cxn>
              <a:cxn ang="0">
                <a:pos x="134" y="54"/>
              </a:cxn>
              <a:cxn ang="0">
                <a:pos x="130" y="42"/>
              </a:cxn>
              <a:cxn ang="0">
                <a:pos x="124" y="30"/>
              </a:cxn>
              <a:cxn ang="0">
                <a:pos x="116" y="20"/>
              </a:cxn>
              <a:cxn ang="0">
                <a:pos x="106" y="12"/>
              </a:cxn>
              <a:cxn ang="0">
                <a:pos x="94" y="6"/>
              </a:cxn>
              <a:cxn ang="0">
                <a:pos x="82" y="2"/>
              </a:cxn>
              <a:cxn ang="0">
                <a:pos x="68" y="0"/>
              </a:cxn>
            </a:cxnLst>
            <a:rect l="0" t="0" r="r" b="b"/>
            <a:pathLst>
              <a:path w="134" h="134">
                <a:moveTo>
                  <a:pt x="68" y="0"/>
                </a:moveTo>
                <a:lnTo>
                  <a:pt x="68" y="0"/>
                </a:lnTo>
                <a:lnTo>
                  <a:pt x="54" y="2"/>
                </a:lnTo>
                <a:lnTo>
                  <a:pt x="42" y="6"/>
                </a:lnTo>
                <a:lnTo>
                  <a:pt x="30" y="12"/>
                </a:lnTo>
                <a:lnTo>
                  <a:pt x="20" y="20"/>
                </a:lnTo>
                <a:lnTo>
                  <a:pt x="12" y="30"/>
                </a:lnTo>
                <a:lnTo>
                  <a:pt x="6" y="42"/>
                </a:lnTo>
                <a:lnTo>
                  <a:pt x="2" y="54"/>
                </a:lnTo>
                <a:lnTo>
                  <a:pt x="0" y="68"/>
                </a:lnTo>
                <a:lnTo>
                  <a:pt x="0" y="68"/>
                </a:lnTo>
                <a:lnTo>
                  <a:pt x="2" y="80"/>
                </a:lnTo>
                <a:lnTo>
                  <a:pt x="6" y="94"/>
                </a:lnTo>
                <a:lnTo>
                  <a:pt x="12" y="104"/>
                </a:lnTo>
                <a:lnTo>
                  <a:pt x="20" y="114"/>
                </a:lnTo>
                <a:lnTo>
                  <a:pt x="30" y="124"/>
                </a:lnTo>
                <a:lnTo>
                  <a:pt x="42" y="130"/>
                </a:lnTo>
                <a:lnTo>
                  <a:pt x="54" y="134"/>
                </a:lnTo>
                <a:lnTo>
                  <a:pt x="68" y="134"/>
                </a:lnTo>
                <a:lnTo>
                  <a:pt x="68" y="134"/>
                </a:lnTo>
                <a:lnTo>
                  <a:pt x="82" y="134"/>
                </a:lnTo>
                <a:lnTo>
                  <a:pt x="94" y="130"/>
                </a:lnTo>
                <a:lnTo>
                  <a:pt x="106" y="124"/>
                </a:lnTo>
                <a:lnTo>
                  <a:pt x="116" y="114"/>
                </a:lnTo>
                <a:lnTo>
                  <a:pt x="124" y="104"/>
                </a:lnTo>
                <a:lnTo>
                  <a:pt x="130" y="94"/>
                </a:lnTo>
                <a:lnTo>
                  <a:pt x="134" y="80"/>
                </a:lnTo>
                <a:lnTo>
                  <a:pt x="134" y="68"/>
                </a:lnTo>
                <a:lnTo>
                  <a:pt x="134" y="68"/>
                </a:lnTo>
                <a:lnTo>
                  <a:pt x="134" y="54"/>
                </a:lnTo>
                <a:lnTo>
                  <a:pt x="130" y="42"/>
                </a:lnTo>
                <a:lnTo>
                  <a:pt x="124" y="30"/>
                </a:lnTo>
                <a:lnTo>
                  <a:pt x="116" y="20"/>
                </a:lnTo>
                <a:lnTo>
                  <a:pt x="106" y="12"/>
                </a:lnTo>
                <a:lnTo>
                  <a:pt x="94" y="6"/>
                </a:lnTo>
                <a:lnTo>
                  <a:pt x="82" y="2"/>
                </a:lnTo>
                <a:lnTo>
                  <a:pt x="68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26" name="Freeform 65"/>
          <p:cNvSpPr>
            <a:spLocks/>
          </p:cNvSpPr>
          <p:nvPr userDrawn="1"/>
        </p:nvSpPr>
        <p:spPr bwMode="auto">
          <a:xfrm>
            <a:off x="64472" y="1536390"/>
            <a:ext cx="269944" cy="249179"/>
          </a:xfrm>
          <a:custGeom>
            <a:avLst/>
            <a:gdLst/>
            <a:ahLst/>
            <a:cxnLst>
              <a:cxn ang="0">
                <a:pos x="66" y="0"/>
              </a:cxn>
              <a:cxn ang="0">
                <a:pos x="66" y="0"/>
              </a:cxn>
              <a:cxn ang="0">
                <a:pos x="52" y="2"/>
              </a:cxn>
              <a:cxn ang="0">
                <a:pos x="40" y="6"/>
              </a:cxn>
              <a:cxn ang="0">
                <a:pos x="28" y="12"/>
              </a:cxn>
              <a:cxn ang="0">
                <a:pos x="20" y="20"/>
              </a:cxn>
              <a:cxn ang="0">
                <a:pos x="10" y="30"/>
              </a:cxn>
              <a:cxn ang="0">
                <a:pos x="4" y="42"/>
              </a:cxn>
              <a:cxn ang="0">
                <a:pos x="0" y="54"/>
              </a:cxn>
              <a:cxn ang="0">
                <a:pos x="0" y="68"/>
              </a:cxn>
              <a:cxn ang="0">
                <a:pos x="0" y="68"/>
              </a:cxn>
              <a:cxn ang="0">
                <a:pos x="0" y="80"/>
              </a:cxn>
              <a:cxn ang="0">
                <a:pos x="4" y="94"/>
              </a:cxn>
              <a:cxn ang="0">
                <a:pos x="10" y="104"/>
              </a:cxn>
              <a:cxn ang="0">
                <a:pos x="20" y="114"/>
              </a:cxn>
              <a:cxn ang="0">
                <a:pos x="28" y="122"/>
              </a:cxn>
              <a:cxn ang="0">
                <a:pos x="40" y="130"/>
              </a:cxn>
              <a:cxn ang="0">
                <a:pos x="52" y="134"/>
              </a:cxn>
              <a:cxn ang="0">
                <a:pos x="66" y="134"/>
              </a:cxn>
              <a:cxn ang="0">
                <a:pos x="66" y="134"/>
              </a:cxn>
              <a:cxn ang="0">
                <a:pos x="80" y="134"/>
              </a:cxn>
              <a:cxn ang="0">
                <a:pos x="92" y="130"/>
              </a:cxn>
              <a:cxn ang="0">
                <a:pos x="104" y="122"/>
              </a:cxn>
              <a:cxn ang="0">
                <a:pos x="114" y="114"/>
              </a:cxn>
              <a:cxn ang="0">
                <a:pos x="122" y="104"/>
              </a:cxn>
              <a:cxn ang="0">
                <a:pos x="128" y="94"/>
              </a:cxn>
              <a:cxn ang="0">
                <a:pos x="132" y="80"/>
              </a:cxn>
              <a:cxn ang="0">
                <a:pos x="134" y="68"/>
              </a:cxn>
              <a:cxn ang="0">
                <a:pos x="134" y="68"/>
              </a:cxn>
              <a:cxn ang="0">
                <a:pos x="132" y="54"/>
              </a:cxn>
              <a:cxn ang="0">
                <a:pos x="128" y="42"/>
              </a:cxn>
              <a:cxn ang="0">
                <a:pos x="122" y="30"/>
              </a:cxn>
              <a:cxn ang="0">
                <a:pos x="114" y="20"/>
              </a:cxn>
              <a:cxn ang="0">
                <a:pos x="104" y="12"/>
              </a:cxn>
              <a:cxn ang="0">
                <a:pos x="92" y="6"/>
              </a:cxn>
              <a:cxn ang="0">
                <a:pos x="80" y="2"/>
              </a:cxn>
              <a:cxn ang="0">
                <a:pos x="66" y="0"/>
              </a:cxn>
            </a:cxnLst>
            <a:rect l="0" t="0" r="r" b="b"/>
            <a:pathLst>
              <a:path w="134" h="134">
                <a:moveTo>
                  <a:pt x="66" y="0"/>
                </a:moveTo>
                <a:lnTo>
                  <a:pt x="66" y="0"/>
                </a:lnTo>
                <a:lnTo>
                  <a:pt x="52" y="2"/>
                </a:lnTo>
                <a:lnTo>
                  <a:pt x="40" y="6"/>
                </a:lnTo>
                <a:lnTo>
                  <a:pt x="28" y="12"/>
                </a:lnTo>
                <a:lnTo>
                  <a:pt x="20" y="20"/>
                </a:lnTo>
                <a:lnTo>
                  <a:pt x="10" y="30"/>
                </a:lnTo>
                <a:lnTo>
                  <a:pt x="4" y="42"/>
                </a:lnTo>
                <a:lnTo>
                  <a:pt x="0" y="54"/>
                </a:lnTo>
                <a:lnTo>
                  <a:pt x="0" y="68"/>
                </a:lnTo>
                <a:lnTo>
                  <a:pt x="0" y="68"/>
                </a:lnTo>
                <a:lnTo>
                  <a:pt x="0" y="80"/>
                </a:lnTo>
                <a:lnTo>
                  <a:pt x="4" y="94"/>
                </a:lnTo>
                <a:lnTo>
                  <a:pt x="10" y="104"/>
                </a:lnTo>
                <a:lnTo>
                  <a:pt x="20" y="114"/>
                </a:lnTo>
                <a:lnTo>
                  <a:pt x="28" y="122"/>
                </a:lnTo>
                <a:lnTo>
                  <a:pt x="40" y="130"/>
                </a:lnTo>
                <a:lnTo>
                  <a:pt x="52" y="134"/>
                </a:lnTo>
                <a:lnTo>
                  <a:pt x="66" y="134"/>
                </a:lnTo>
                <a:lnTo>
                  <a:pt x="66" y="134"/>
                </a:lnTo>
                <a:lnTo>
                  <a:pt x="80" y="134"/>
                </a:lnTo>
                <a:lnTo>
                  <a:pt x="92" y="130"/>
                </a:lnTo>
                <a:lnTo>
                  <a:pt x="104" y="122"/>
                </a:lnTo>
                <a:lnTo>
                  <a:pt x="114" y="114"/>
                </a:lnTo>
                <a:lnTo>
                  <a:pt x="122" y="104"/>
                </a:lnTo>
                <a:lnTo>
                  <a:pt x="128" y="94"/>
                </a:lnTo>
                <a:lnTo>
                  <a:pt x="132" y="80"/>
                </a:lnTo>
                <a:lnTo>
                  <a:pt x="134" y="68"/>
                </a:lnTo>
                <a:lnTo>
                  <a:pt x="134" y="68"/>
                </a:lnTo>
                <a:lnTo>
                  <a:pt x="132" y="54"/>
                </a:lnTo>
                <a:lnTo>
                  <a:pt x="128" y="42"/>
                </a:lnTo>
                <a:lnTo>
                  <a:pt x="122" y="30"/>
                </a:lnTo>
                <a:lnTo>
                  <a:pt x="114" y="20"/>
                </a:lnTo>
                <a:lnTo>
                  <a:pt x="104" y="12"/>
                </a:lnTo>
                <a:lnTo>
                  <a:pt x="92" y="6"/>
                </a:lnTo>
                <a:lnTo>
                  <a:pt x="80" y="2"/>
                </a:lnTo>
                <a:lnTo>
                  <a:pt x="66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27" name="Freeform 66"/>
          <p:cNvSpPr>
            <a:spLocks/>
          </p:cNvSpPr>
          <p:nvPr userDrawn="1"/>
        </p:nvSpPr>
        <p:spPr bwMode="auto">
          <a:xfrm>
            <a:off x="64472" y="1536390"/>
            <a:ext cx="269944" cy="249179"/>
          </a:xfrm>
          <a:custGeom>
            <a:avLst/>
            <a:gdLst/>
            <a:ahLst/>
            <a:cxnLst>
              <a:cxn ang="0">
                <a:pos x="66" y="0"/>
              </a:cxn>
              <a:cxn ang="0">
                <a:pos x="66" y="0"/>
              </a:cxn>
              <a:cxn ang="0">
                <a:pos x="52" y="2"/>
              </a:cxn>
              <a:cxn ang="0">
                <a:pos x="40" y="6"/>
              </a:cxn>
              <a:cxn ang="0">
                <a:pos x="28" y="12"/>
              </a:cxn>
              <a:cxn ang="0">
                <a:pos x="20" y="20"/>
              </a:cxn>
              <a:cxn ang="0">
                <a:pos x="10" y="30"/>
              </a:cxn>
              <a:cxn ang="0">
                <a:pos x="4" y="42"/>
              </a:cxn>
              <a:cxn ang="0">
                <a:pos x="0" y="54"/>
              </a:cxn>
              <a:cxn ang="0">
                <a:pos x="0" y="68"/>
              </a:cxn>
              <a:cxn ang="0">
                <a:pos x="0" y="68"/>
              </a:cxn>
              <a:cxn ang="0">
                <a:pos x="0" y="80"/>
              </a:cxn>
              <a:cxn ang="0">
                <a:pos x="4" y="94"/>
              </a:cxn>
              <a:cxn ang="0">
                <a:pos x="10" y="104"/>
              </a:cxn>
              <a:cxn ang="0">
                <a:pos x="20" y="114"/>
              </a:cxn>
              <a:cxn ang="0">
                <a:pos x="28" y="122"/>
              </a:cxn>
              <a:cxn ang="0">
                <a:pos x="40" y="130"/>
              </a:cxn>
              <a:cxn ang="0">
                <a:pos x="52" y="134"/>
              </a:cxn>
              <a:cxn ang="0">
                <a:pos x="66" y="134"/>
              </a:cxn>
              <a:cxn ang="0">
                <a:pos x="66" y="134"/>
              </a:cxn>
              <a:cxn ang="0">
                <a:pos x="80" y="134"/>
              </a:cxn>
              <a:cxn ang="0">
                <a:pos x="92" y="130"/>
              </a:cxn>
              <a:cxn ang="0">
                <a:pos x="104" y="122"/>
              </a:cxn>
              <a:cxn ang="0">
                <a:pos x="114" y="114"/>
              </a:cxn>
              <a:cxn ang="0">
                <a:pos x="122" y="104"/>
              </a:cxn>
              <a:cxn ang="0">
                <a:pos x="128" y="94"/>
              </a:cxn>
              <a:cxn ang="0">
                <a:pos x="132" y="80"/>
              </a:cxn>
              <a:cxn ang="0">
                <a:pos x="134" y="68"/>
              </a:cxn>
              <a:cxn ang="0">
                <a:pos x="134" y="68"/>
              </a:cxn>
              <a:cxn ang="0">
                <a:pos x="132" y="54"/>
              </a:cxn>
              <a:cxn ang="0">
                <a:pos x="128" y="42"/>
              </a:cxn>
              <a:cxn ang="0">
                <a:pos x="122" y="30"/>
              </a:cxn>
              <a:cxn ang="0">
                <a:pos x="114" y="20"/>
              </a:cxn>
              <a:cxn ang="0">
                <a:pos x="104" y="12"/>
              </a:cxn>
              <a:cxn ang="0">
                <a:pos x="92" y="6"/>
              </a:cxn>
              <a:cxn ang="0">
                <a:pos x="80" y="2"/>
              </a:cxn>
              <a:cxn ang="0">
                <a:pos x="66" y="0"/>
              </a:cxn>
            </a:cxnLst>
            <a:rect l="0" t="0" r="r" b="b"/>
            <a:pathLst>
              <a:path w="134" h="134">
                <a:moveTo>
                  <a:pt x="66" y="0"/>
                </a:moveTo>
                <a:lnTo>
                  <a:pt x="66" y="0"/>
                </a:lnTo>
                <a:lnTo>
                  <a:pt x="52" y="2"/>
                </a:lnTo>
                <a:lnTo>
                  <a:pt x="40" y="6"/>
                </a:lnTo>
                <a:lnTo>
                  <a:pt x="28" y="12"/>
                </a:lnTo>
                <a:lnTo>
                  <a:pt x="20" y="20"/>
                </a:lnTo>
                <a:lnTo>
                  <a:pt x="10" y="30"/>
                </a:lnTo>
                <a:lnTo>
                  <a:pt x="4" y="42"/>
                </a:lnTo>
                <a:lnTo>
                  <a:pt x="0" y="54"/>
                </a:lnTo>
                <a:lnTo>
                  <a:pt x="0" y="68"/>
                </a:lnTo>
                <a:lnTo>
                  <a:pt x="0" y="68"/>
                </a:lnTo>
                <a:lnTo>
                  <a:pt x="0" y="80"/>
                </a:lnTo>
                <a:lnTo>
                  <a:pt x="4" y="94"/>
                </a:lnTo>
                <a:lnTo>
                  <a:pt x="10" y="104"/>
                </a:lnTo>
                <a:lnTo>
                  <a:pt x="20" y="114"/>
                </a:lnTo>
                <a:lnTo>
                  <a:pt x="28" y="122"/>
                </a:lnTo>
                <a:lnTo>
                  <a:pt x="40" y="130"/>
                </a:lnTo>
                <a:lnTo>
                  <a:pt x="52" y="134"/>
                </a:lnTo>
                <a:lnTo>
                  <a:pt x="66" y="134"/>
                </a:lnTo>
                <a:lnTo>
                  <a:pt x="66" y="134"/>
                </a:lnTo>
                <a:lnTo>
                  <a:pt x="80" y="134"/>
                </a:lnTo>
                <a:lnTo>
                  <a:pt x="92" y="130"/>
                </a:lnTo>
                <a:lnTo>
                  <a:pt x="104" y="122"/>
                </a:lnTo>
                <a:lnTo>
                  <a:pt x="114" y="114"/>
                </a:lnTo>
                <a:lnTo>
                  <a:pt x="122" y="104"/>
                </a:lnTo>
                <a:lnTo>
                  <a:pt x="128" y="94"/>
                </a:lnTo>
                <a:lnTo>
                  <a:pt x="132" y="80"/>
                </a:lnTo>
                <a:lnTo>
                  <a:pt x="134" y="68"/>
                </a:lnTo>
                <a:lnTo>
                  <a:pt x="134" y="68"/>
                </a:lnTo>
                <a:lnTo>
                  <a:pt x="132" y="54"/>
                </a:lnTo>
                <a:lnTo>
                  <a:pt x="128" y="42"/>
                </a:lnTo>
                <a:lnTo>
                  <a:pt x="122" y="30"/>
                </a:lnTo>
                <a:lnTo>
                  <a:pt x="114" y="20"/>
                </a:lnTo>
                <a:lnTo>
                  <a:pt x="104" y="12"/>
                </a:lnTo>
                <a:lnTo>
                  <a:pt x="92" y="6"/>
                </a:lnTo>
                <a:lnTo>
                  <a:pt x="80" y="2"/>
                </a:lnTo>
                <a:lnTo>
                  <a:pt x="66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28" name="Freeform 67"/>
          <p:cNvSpPr>
            <a:spLocks/>
          </p:cNvSpPr>
          <p:nvPr userDrawn="1"/>
        </p:nvSpPr>
        <p:spPr bwMode="auto">
          <a:xfrm>
            <a:off x="1051574" y="919007"/>
            <a:ext cx="507657" cy="468606"/>
          </a:xfrm>
          <a:custGeom>
            <a:avLst/>
            <a:gdLst/>
            <a:ahLst/>
            <a:cxnLst>
              <a:cxn ang="0">
                <a:pos x="126" y="0"/>
              </a:cxn>
              <a:cxn ang="0">
                <a:pos x="126" y="0"/>
              </a:cxn>
              <a:cxn ang="0">
                <a:pos x="114" y="2"/>
              </a:cxn>
              <a:cxn ang="0">
                <a:pos x="102" y="4"/>
              </a:cxn>
              <a:cxn ang="0">
                <a:pos x="90" y="6"/>
              </a:cxn>
              <a:cxn ang="0">
                <a:pos x="78" y="10"/>
              </a:cxn>
              <a:cxn ang="0">
                <a:pos x="56" y="22"/>
              </a:cxn>
              <a:cxn ang="0">
                <a:pos x="38" y="38"/>
              </a:cxn>
              <a:cxn ang="0">
                <a:pos x="22" y="56"/>
              </a:cxn>
              <a:cxn ang="0">
                <a:pos x="10" y="78"/>
              </a:cxn>
              <a:cxn ang="0">
                <a:pos x="6" y="88"/>
              </a:cxn>
              <a:cxn ang="0">
                <a:pos x="4" y="100"/>
              </a:cxn>
              <a:cxn ang="0">
                <a:pos x="2" y="114"/>
              </a:cxn>
              <a:cxn ang="0">
                <a:pos x="0" y="126"/>
              </a:cxn>
              <a:cxn ang="0">
                <a:pos x="0" y="126"/>
              </a:cxn>
              <a:cxn ang="0">
                <a:pos x="2" y="140"/>
              </a:cxn>
              <a:cxn ang="0">
                <a:pos x="4" y="152"/>
              </a:cxn>
              <a:cxn ang="0">
                <a:pos x="6" y="164"/>
              </a:cxn>
              <a:cxn ang="0">
                <a:pos x="10" y="176"/>
              </a:cxn>
              <a:cxn ang="0">
                <a:pos x="22" y="196"/>
              </a:cxn>
              <a:cxn ang="0">
                <a:pos x="38" y="216"/>
              </a:cxn>
              <a:cxn ang="0">
                <a:pos x="56" y="230"/>
              </a:cxn>
              <a:cxn ang="0">
                <a:pos x="78" y="242"/>
              </a:cxn>
              <a:cxn ang="0">
                <a:pos x="90" y="246"/>
              </a:cxn>
              <a:cxn ang="0">
                <a:pos x="102" y="250"/>
              </a:cxn>
              <a:cxn ang="0">
                <a:pos x="114" y="252"/>
              </a:cxn>
              <a:cxn ang="0">
                <a:pos x="126" y="252"/>
              </a:cxn>
              <a:cxn ang="0">
                <a:pos x="126" y="252"/>
              </a:cxn>
              <a:cxn ang="0">
                <a:pos x="140" y="252"/>
              </a:cxn>
              <a:cxn ang="0">
                <a:pos x="152" y="250"/>
              </a:cxn>
              <a:cxn ang="0">
                <a:pos x="164" y="246"/>
              </a:cxn>
              <a:cxn ang="0">
                <a:pos x="176" y="242"/>
              </a:cxn>
              <a:cxn ang="0">
                <a:pos x="196" y="230"/>
              </a:cxn>
              <a:cxn ang="0">
                <a:pos x="216" y="216"/>
              </a:cxn>
              <a:cxn ang="0">
                <a:pos x="230" y="196"/>
              </a:cxn>
              <a:cxn ang="0">
                <a:pos x="242" y="176"/>
              </a:cxn>
              <a:cxn ang="0">
                <a:pos x="246" y="164"/>
              </a:cxn>
              <a:cxn ang="0">
                <a:pos x="250" y="152"/>
              </a:cxn>
              <a:cxn ang="0">
                <a:pos x="252" y="140"/>
              </a:cxn>
              <a:cxn ang="0">
                <a:pos x="252" y="126"/>
              </a:cxn>
              <a:cxn ang="0">
                <a:pos x="252" y="126"/>
              </a:cxn>
              <a:cxn ang="0">
                <a:pos x="252" y="114"/>
              </a:cxn>
              <a:cxn ang="0">
                <a:pos x="250" y="100"/>
              </a:cxn>
              <a:cxn ang="0">
                <a:pos x="246" y="88"/>
              </a:cxn>
              <a:cxn ang="0">
                <a:pos x="242" y="78"/>
              </a:cxn>
              <a:cxn ang="0">
                <a:pos x="230" y="56"/>
              </a:cxn>
              <a:cxn ang="0">
                <a:pos x="216" y="38"/>
              </a:cxn>
              <a:cxn ang="0">
                <a:pos x="196" y="22"/>
              </a:cxn>
              <a:cxn ang="0">
                <a:pos x="176" y="10"/>
              </a:cxn>
              <a:cxn ang="0">
                <a:pos x="164" y="6"/>
              </a:cxn>
              <a:cxn ang="0">
                <a:pos x="152" y="4"/>
              </a:cxn>
              <a:cxn ang="0">
                <a:pos x="140" y="2"/>
              </a:cxn>
              <a:cxn ang="0">
                <a:pos x="126" y="0"/>
              </a:cxn>
            </a:cxnLst>
            <a:rect l="0" t="0" r="r" b="b"/>
            <a:pathLst>
              <a:path w="252" h="252">
                <a:moveTo>
                  <a:pt x="126" y="0"/>
                </a:moveTo>
                <a:lnTo>
                  <a:pt x="126" y="0"/>
                </a:lnTo>
                <a:lnTo>
                  <a:pt x="114" y="2"/>
                </a:lnTo>
                <a:lnTo>
                  <a:pt x="102" y="4"/>
                </a:lnTo>
                <a:lnTo>
                  <a:pt x="90" y="6"/>
                </a:lnTo>
                <a:lnTo>
                  <a:pt x="78" y="10"/>
                </a:lnTo>
                <a:lnTo>
                  <a:pt x="56" y="22"/>
                </a:lnTo>
                <a:lnTo>
                  <a:pt x="38" y="38"/>
                </a:lnTo>
                <a:lnTo>
                  <a:pt x="22" y="56"/>
                </a:lnTo>
                <a:lnTo>
                  <a:pt x="10" y="78"/>
                </a:lnTo>
                <a:lnTo>
                  <a:pt x="6" y="88"/>
                </a:lnTo>
                <a:lnTo>
                  <a:pt x="4" y="100"/>
                </a:lnTo>
                <a:lnTo>
                  <a:pt x="2" y="114"/>
                </a:lnTo>
                <a:lnTo>
                  <a:pt x="0" y="126"/>
                </a:lnTo>
                <a:lnTo>
                  <a:pt x="0" y="126"/>
                </a:lnTo>
                <a:lnTo>
                  <a:pt x="2" y="140"/>
                </a:lnTo>
                <a:lnTo>
                  <a:pt x="4" y="152"/>
                </a:lnTo>
                <a:lnTo>
                  <a:pt x="6" y="164"/>
                </a:lnTo>
                <a:lnTo>
                  <a:pt x="10" y="176"/>
                </a:lnTo>
                <a:lnTo>
                  <a:pt x="22" y="196"/>
                </a:lnTo>
                <a:lnTo>
                  <a:pt x="38" y="216"/>
                </a:lnTo>
                <a:lnTo>
                  <a:pt x="56" y="230"/>
                </a:lnTo>
                <a:lnTo>
                  <a:pt x="78" y="242"/>
                </a:lnTo>
                <a:lnTo>
                  <a:pt x="90" y="246"/>
                </a:lnTo>
                <a:lnTo>
                  <a:pt x="102" y="250"/>
                </a:lnTo>
                <a:lnTo>
                  <a:pt x="114" y="252"/>
                </a:lnTo>
                <a:lnTo>
                  <a:pt x="126" y="252"/>
                </a:lnTo>
                <a:lnTo>
                  <a:pt x="126" y="252"/>
                </a:lnTo>
                <a:lnTo>
                  <a:pt x="140" y="252"/>
                </a:lnTo>
                <a:lnTo>
                  <a:pt x="152" y="250"/>
                </a:lnTo>
                <a:lnTo>
                  <a:pt x="164" y="246"/>
                </a:lnTo>
                <a:lnTo>
                  <a:pt x="176" y="242"/>
                </a:lnTo>
                <a:lnTo>
                  <a:pt x="196" y="230"/>
                </a:lnTo>
                <a:lnTo>
                  <a:pt x="216" y="216"/>
                </a:lnTo>
                <a:lnTo>
                  <a:pt x="230" y="196"/>
                </a:lnTo>
                <a:lnTo>
                  <a:pt x="242" y="176"/>
                </a:lnTo>
                <a:lnTo>
                  <a:pt x="246" y="164"/>
                </a:lnTo>
                <a:lnTo>
                  <a:pt x="250" y="152"/>
                </a:lnTo>
                <a:lnTo>
                  <a:pt x="252" y="140"/>
                </a:lnTo>
                <a:lnTo>
                  <a:pt x="252" y="126"/>
                </a:lnTo>
                <a:lnTo>
                  <a:pt x="252" y="126"/>
                </a:lnTo>
                <a:lnTo>
                  <a:pt x="252" y="114"/>
                </a:lnTo>
                <a:lnTo>
                  <a:pt x="250" y="100"/>
                </a:lnTo>
                <a:lnTo>
                  <a:pt x="246" y="88"/>
                </a:lnTo>
                <a:lnTo>
                  <a:pt x="242" y="78"/>
                </a:lnTo>
                <a:lnTo>
                  <a:pt x="230" y="56"/>
                </a:lnTo>
                <a:lnTo>
                  <a:pt x="216" y="38"/>
                </a:lnTo>
                <a:lnTo>
                  <a:pt x="196" y="22"/>
                </a:lnTo>
                <a:lnTo>
                  <a:pt x="176" y="10"/>
                </a:lnTo>
                <a:lnTo>
                  <a:pt x="164" y="6"/>
                </a:lnTo>
                <a:lnTo>
                  <a:pt x="152" y="4"/>
                </a:lnTo>
                <a:lnTo>
                  <a:pt x="140" y="2"/>
                </a:lnTo>
                <a:lnTo>
                  <a:pt x="126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29" name="Freeform 68"/>
          <p:cNvSpPr>
            <a:spLocks/>
          </p:cNvSpPr>
          <p:nvPr userDrawn="1"/>
        </p:nvSpPr>
        <p:spPr bwMode="auto">
          <a:xfrm>
            <a:off x="1051574" y="919007"/>
            <a:ext cx="507657" cy="468606"/>
          </a:xfrm>
          <a:custGeom>
            <a:avLst/>
            <a:gdLst/>
            <a:ahLst/>
            <a:cxnLst>
              <a:cxn ang="0">
                <a:pos x="126" y="0"/>
              </a:cxn>
              <a:cxn ang="0">
                <a:pos x="126" y="0"/>
              </a:cxn>
              <a:cxn ang="0">
                <a:pos x="114" y="2"/>
              </a:cxn>
              <a:cxn ang="0">
                <a:pos x="102" y="4"/>
              </a:cxn>
              <a:cxn ang="0">
                <a:pos x="90" y="6"/>
              </a:cxn>
              <a:cxn ang="0">
                <a:pos x="78" y="10"/>
              </a:cxn>
              <a:cxn ang="0">
                <a:pos x="56" y="22"/>
              </a:cxn>
              <a:cxn ang="0">
                <a:pos x="38" y="38"/>
              </a:cxn>
              <a:cxn ang="0">
                <a:pos x="22" y="56"/>
              </a:cxn>
              <a:cxn ang="0">
                <a:pos x="10" y="78"/>
              </a:cxn>
              <a:cxn ang="0">
                <a:pos x="6" y="88"/>
              </a:cxn>
              <a:cxn ang="0">
                <a:pos x="4" y="100"/>
              </a:cxn>
              <a:cxn ang="0">
                <a:pos x="2" y="114"/>
              </a:cxn>
              <a:cxn ang="0">
                <a:pos x="0" y="126"/>
              </a:cxn>
              <a:cxn ang="0">
                <a:pos x="0" y="126"/>
              </a:cxn>
              <a:cxn ang="0">
                <a:pos x="2" y="140"/>
              </a:cxn>
              <a:cxn ang="0">
                <a:pos x="4" y="152"/>
              </a:cxn>
              <a:cxn ang="0">
                <a:pos x="6" y="164"/>
              </a:cxn>
              <a:cxn ang="0">
                <a:pos x="10" y="176"/>
              </a:cxn>
              <a:cxn ang="0">
                <a:pos x="22" y="196"/>
              </a:cxn>
              <a:cxn ang="0">
                <a:pos x="38" y="216"/>
              </a:cxn>
              <a:cxn ang="0">
                <a:pos x="56" y="230"/>
              </a:cxn>
              <a:cxn ang="0">
                <a:pos x="78" y="242"/>
              </a:cxn>
              <a:cxn ang="0">
                <a:pos x="90" y="246"/>
              </a:cxn>
              <a:cxn ang="0">
                <a:pos x="102" y="250"/>
              </a:cxn>
              <a:cxn ang="0">
                <a:pos x="114" y="252"/>
              </a:cxn>
              <a:cxn ang="0">
                <a:pos x="126" y="252"/>
              </a:cxn>
              <a:cxn ang="0">
                <a:pos x="126" y="252"/>
              </a:cxn>
              <a:cxn ang="0">
                <a:pos x="140" y="252"/>
              </a:cxn>
              <a:cxn ang="0">
                <a:pos x="152" y="250"/>
              </a:cxn>
              <a:cxn ang="0">
                <a:pos x="164" y="246"/>
              </a:cxn>
              <a:cxn ang="0">
                <a:pos x="176" y="242"/>
              </a:cxn>
              <a:cxn ang="0">
                <a:pos x="196" y="230"/>
              </a:cxn>
              <a:cxn ang="0">
                <a:pos x="216" y="216"/>
              </a:cxn>
              <a:cxn ang="0">
                <a:pos x="230" y="196"/>
              </a:cxn>
              <a:cxn ang="0">
                <a:pos x="242" y="176"/>
              </a:cxn>
              <a:cxn ang="0">
                <a:pos x="246" y="164"/>
              </a:cxn>
              <a:cxn ang="0">
                <a:pos x="250" y="152"/>
              </a:cxn>
              <a:cxn ang="0">
                <a:pos x="252" y="140"/>
              </a:cxn>
              <a:cxn ang="0">
                <a:pos x="252" y="126"/>
              </a:cxn>
              <a:cxn ang="0">
                <a:pos x="252" y="126"/>
              </a:cxn>
              <a:cxn ang="0">
                <a:pos x="252" y="114"/>
              </a:cxn>
              <a:cxn ang="0">
                <a:pos x="250" y="100"/>
              </a:cxn>
              <a:cxn ang="0">
                <a:pos x="246" y="88"/>
              </a:cxn>
              <a:cxn ang="0">
                <a:pos x="242" y="78"/>
              </a:cxn>
              <a:cxn ang="0">
                <a:pos x="230" y="56"/>
              </a:cxn>
              <a:cxn ang="0">
                <a:pos x="216" y="38"/>
              </a:cxn>
              <a:cxn ang="0">
                <a:pos x="196" y="22"/>
              </a:cxn>
              <a:cxn ang="0">
                <a:pos x="176" y="10"/>
              </a:cxn>
              <a:cxn ang="0">
                <a:pos x="164" y="6"/>
              </a:cxn>
              <a:cxn ang="0">
                <a:pos x="152" y="4"/>
              </a:cxn>
              <a:cxn ang="0">
                <a:pos x="140" y="2"/>
              </a:cxn>
              <a:cxn ang="0">
                <a:pos x="126" y="0"/>
              </a:cxn>
            </a:cxnLst>
            <a:rect l="0" t="0" r="r" b="b"/>
            <a:pathLst>
              <a:path w="252" h="252">
                <a:moveTo>
                  <a:pt x="126" y="0"/>
                </a:moveTo>
                <a:lnTo>
                  <a:pt x="126" y="0"/>
                </a:lnTo>
                <a:lnTo>
                  <a:pt x="114" y="2"/>
                </a:lnTo>
                <a:lnTo>
                  <a:pt x="102" y="4"/>
                </a:lnTo>
                <a:lnTo>
                  <a:pt x="90" y="6"/>
                </a:lnTo>
                <a:lnTo>
                  <a:pt x="78" y="10"/>
                </a:lnTo>
                <a:lnTo>
                  <a:pt x="56" y="22"/>
                </a:lnTo>
                <a:lnTo>
                  <a:pt x="38" y="38"/>
                </a:lnTo>
                <a:lnTo>
                  <a:pt x="22" y="56"/>
                </a:lnTo>
                <a:lnTo>
                  <a:pt x="10" y="78"/>
                </a:lnTo>
                <a:lnTo>
                  <a:pt x="6" y="88"/>
                </a:lnTo>
                <a:lnTo>
                  <a:pt x="4" y="100"/>
                </a:lnTo>
                <a:lnTo>
                  <a:pt x="2" y="114"/>
                </a:lnTo>
                <a:lnTo>
                  <a:pt x="0" y="126"/>
                </a:lnTo>
                <a:lnTo>
                  <a:pt x="0" y="126"/>
                </a:lnTo>
                <a:lnTo>
                  <a:pt x="2" y="140"/>
                </a:lnTo>
                <a:lnTo>
                  <a:pt x="4" y="152"/>
                </a:lnTo>
                <a:lnTo>
                  <a:pt x="6" y="164"/>
                </a:lnTo>
                <a:lnTo>
                  <a:pt x="10" y="176"/>
                </a:lnTo>
                <a:lnTo>
                  <a:pt x="22" y="196"/>
                </a:lnTo>
                <a:lnTo>
                  <a:pt x="38" y="216"/>
                </a:lnTo>
                <a:lnTo>
                  <a:pt x="56" y="230"/>
                </a:lnTo>
                <a:lnTo>
                  <a:pt x="78" y="242"/>
                </a:lnTo>
                <a:lnTo>
                  <a:pt x="90" y="246"/>
                </a:lnTo>
                <a:lnTo>
                  <a:pt x="102" y="250"/>
                </a:lnTo>
                <a:lnTo>
                  <a:pt x="114" y="252"/>
                </a:lnTo>
                <a:lnTo>
                  <a:pt x="126" y="252"/>
                </a:lnTo>
                <a:lnTo>
                  <a:pt x="126" y="252"/>
                </a:lnTo>
                <a:lnTo>
                  <a:pt x="140" y="252"/>
                </a:lnTo>
                <a:lnTo>
                  <a:pt x="152" y="250"/>
                </a:lnTo>
                <a:lnTo>
                  <a:pt x="164" y="246"/>
                </a:lnTo>
                <a:lnTo>
                  <a:pt x="176" y="242"/>
                </a:lnTo>
                <a:lnTo>
                  <a:pt x="196" y="230"/>
                </a:lnTo>
                <a:lnTo>
                  <a:pt x="216" y="216"/>
                </a:lnTo>
                <a:lnTo>
                  <a:pt x="230" y="196"/>
                </a:lnTo>
                <a:lnTo>
                  <a:pt x="242" y="176"/>
                </a:lnTo>
                <a:lnTo>
                  <a:pt x="246" y="164"/>
                </a:lnTo>
                <a:lnTo>
                  <a:pt x="250" y="152"/>
                </a:lnTo>
                <a:lnTo>
                  <a:pt x="252" y="140"/>
                </a:lnTo>
                <a:lnTo>
                  <a:pt x="252" y="126"/>
                </a:lnTo>
                <a:lnTo>
                  <a:pt x="252" y="126"/>
                </a:lnTo>
                <a:lnTo>
                  <a:pt x="252" y="114"/>
                </a:lnTo>
                <a:lnTo>
                  <a:pt x="250" y="100"/>
                </a:lnTo>
                <a:lnTo>
                  <a:pt x="246" y="88"/>
                </a:lnTo>
                <a:lnTo>
                  <a:pt x="242" y="78"/>
                </a:lnTo>
                <a:lnTo>
                  <a:pt x="230" y="56"/>
                </a:lnTo>
                <a:lnTo>
                  <a:pt x="216" y="38"/>
                </a:lnTo>
                <a:lnTo>
                  <a:pt x="196" y="22"/>
                </a:lnTo>
                <a:lnTo>
                  <a:pt x="176" y="10"/>
                </a:lnTo>
                <a:lnTo>
                  <a:pt x="164" y="6"/>
                </a:lnTo>
                <a:lnTo>
                  <a:pt x="152" y="4"/>
                </a:lnTo>
                <a:lnTo>
                  <a:pt x="140" y="2"/>
                </a:lnTo>
                <a:lnTo>
                  <a:pt x="126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30" name="Freeform 69"/>
          <p:cNvSpPr>
            <a:spLocks/>
          </p:cNvSpPr>
          <p:nvPr userDrawn="1"/>
        </p:nvSpPr>
        <p:spPr bwMode="auto">
          <a:xfrm>
            <a:off x="3396466" y="1075222"/>
            <a:ext cx="269944" cy="249179"/>
          </a:xfrm>
          <a:custGeom>
            <a:avLst/>
            <a:gdLst/>
            <a:ahLst/>
            <a:cxnLst>
              <a:cxn ang="0">
                <a:pos x="68" y="0"/>
              </a:cxn>
              <a:cxn ang="0">
                <a:pos x="68" y="0"/>
              </a:cxn>
              <a:cxn ang="0">
                <a:pos x="54" y="2"/>
              </a:cxn>
              <a:cxn ang="0">
                <a:pos x="42" y="6"/>
              </a:cxn>
              <a:cxn ang="0">
                <a:pos x="30" y="12"/>
              </a:cxn>
              <a:cxn ang="0">
                <a:pos x="20" y="20"/>
              </a:cxn>
              <a:cxn ang="0">
                <a:pos x="12" y="30"/>
              </a:cxn>
              <a:cxn ang="0">
                <a:pos x="6" y="42"/>
              </a:cxn>
              <a:cxn ang="0">
                <a:pos x="2" y="54"/>
              </a:cxn>
              <a:cxn ang="0">
                <a:pos x="0" y="68"/>
              </a:cxn>
              <a:cxn ang="0">
                <a:pos x="0" y="68"/>
              </a:cxn>
              <a:cxn ang="0">
                <a:pos x="2" y="80"/>
              </a:cxn>
              <a:cxn ang="0">
                <a:pos x="6" y="94"/>
              </a:cxn>
              <a:cxn ang="0">
                <a:pos x="12" y="104"/>
              </a:cxn>
              <a:cxn ang="0">
                <a:pos x="20" y="114"/>
              </a:cxn>
              <a:cxn ang="0">
                <a:pos x="30" y="122"/>
              </a:cxn>
              <a:cxn ang="0">
                <a:pos x="42" y="130"/>
              </a:cxn>
              <a:cxn ang="0">
                <a:pos x="54" y="132"/>
              </a:cxn>
              <a:cxn ang="0">
                <a:pos x="68" y="134"/>
              </a:cxn>
              <a:cxn ang="0">
                <a:pos x="68" y="134"/>
              </a:cxn>
              <a:cxn ang="0">
                <a:pos x="82" y="132"/>
              </a:cxn>
              <a:cxn ang="0">
                <a:pos x="94" y="130"/>
              </a:cxn>
              <a:cxn ang="0">
                <a:pos x="106" y="122"/>
              </a:cxn>
              <a:cxn ang="0">
                <a:pos x="116" y="114"/>
              </a:cxn>
              <a:cxn ang="0">
                <a:pos x="124" y="104"/>
              </a:cxn>
              <a:cxn ang="0">
                <a:pos x="130" y="94"/>
              </a:cxn>
              <a:cxn ang="0">
                <a:pos x="134" y="80"/>
              </a:cxn>
              <a:cxn ang="0">
                <a:pos x="134" y="68"/>
              </a:cxn>
              <a:cxn ang="0">
                <a:pos x="134" y="68"/>
              </a:cxn>
              <a:cxn ang="0">
                <a:pos x="134" y="54"/>
              </a:cxn>
              <a:cxn ang="0">
                <a:pos x="130" y="42"/>
              </a:cxn>
              <a:cxn ang="0">
                <a:pos x="124" y="30"/>
              </a:cxn>
              <a:cxn ang="0">
                <a:pos x="116" y="20"/>
              </a:cxn>
              <a:cxn ang="0">
                <a:pos x="106" y="12"/>
              </a:cxn>
              <a:cxn ang="0">
                <a:pos x="94" y="6"/>
              </a:cxn>
              <a:cxn ang="0">
                <a:pos x="82" y="2"/>
              </a:cxn>
              <a:cxn ang="0">
                <a:pos x="68" y="0"/>
              </a:cxn>
            </a:cxnLst>
            <a:rect l="0" t="0" r="r" b="b"/>
            <a:pathLst>
              <a:path w="134" h="134">
                <a:moveTo>
                  <a:pt x="68" y="0"/>
                </a:moveTo>
                <a:lnTo>
                  <a:pt x="68" y="0"/>
                </a:lnTo>
                <a:lnTo>
                  <a:pt x="54" y="2"/>
                </a:lnTo>
                <a:lnTo>
                  <a:pt x="42" y="6"/>
                </a:lnTo>
                <a:lnTo>
                  <a:pt x="30" y="12"/>
                </a:lnTo>
                <a:lnTo>
                  <a:pt x="20" y="20"/>
                </a:lnTo>
                <a:lnTo>
                  <a:pt x="12" y="30"/>
                </a:lnTo>
                <a:lnTo>
                  <a:pt x="6" y="42"/>
                </a:lnTo>
                <a:lnTo>
                  <a:pt x="2" y="54"/>
                </a:lnTo>
                <a:lnTo>
                  <a:pt x="0" y="68"/>
                </a:lnTo>
                <a:lnTo>
                  <a:pt x="0" y="68"/>
                </a:lnTo>
                <a:lnTo>
                  <a:pt x="2" y="80"/>
                </a:lnTo>
                <a:lnTo>
                  <a:pt x="6" y="94"/>
                </a:lnTo>
                <a:lnTo>
                  <a:pt x="12" y="104"/>
                </a:lnTo>
                <a:lnTo>
                  <a:pt x="20" y="114"/>
                </a:lnTo>
                <a:lnTo>
                  <a:pt x="30" y="122"/>
                </a:lnTo>
                <a:lnTo>
                  <a:pt x="42" y="130"/>
                </a:lnTo>
                <a:lnTo>
                  <a:pt x="54" y="132"/>
                </a:lnTo>
                <a:lnTo>
                  <a:pt x="68" y="134"/>
                </a:lnTo>
                <a:lnTo>
                  <a:pt x="68" y="134"/>
                </a:lnTo>
                <a:lnTo>
                  <a:pt x="82" y="132"/>
                </a:lnTo>
                <a:lnTo>
                  <a:pt x="94" y="130"/>
                </a:lnTo>
                <a:lnTo>
                  <a:pt x="106" y="122"/>
                </a:lnTo>
                <a:lnTo>
                  <a:pt x="116" y="114"/>
                </a:lnTo>
                <a:lnTo>
                  <a:pt x="124" y="104"/>
                </a:lnTo>
                <a:lnTo>
                  <a:pt x="130" y="94"/>
                </a:lnTo>
                <a:lnTo>
                  <a:pt x="134" y="80"/>
                </a:lnTo>
                <a:lnTo>
                  <a:pt x="134" y="68"/>
                </a:lnTo>
                <a:lnTo>
                  <a:pt x="134" y="68"/>
                </a:lnTo>
                <a:lnTo>
                  <a:pt x="134" y="54"/>
                </a:lnTo>
                <a:lnTo>
                  <a:pt x="130" y="42"/>
                </a:lnTo>
                <a:lnTo>
                  <a:pt x="124" y="30"/>
                </a:lnTo>
                <a:lnTo>
                  <a:pt x="116" y="20"/>
                </a:lnTo>
                <a:lnTo>
                  <a:pt x="106" y="12"/>
                </a:lnTo>
                <a:lnTo>
                  <a:pt x="94" y="6"/>
                </a:lnTo>
                <a:lnTo>
                  <a:pt x="82" y="2"/>
                </a:lnTo>
                <a:lnTo>
                  <a:pt x="68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31" name="Freeform 70"/>
          <p:cNvSpPr>
            <a:spLocks/>
          </p:cNvSpPr>
          <p:nvPr userDrawn="1"/>
        </p:nvSpPr>
        <p:spPr bwMode="auto">
          <a:xfrm>
            <a:off x="3396466" y="1075222"/>
            <a:ext cx="269944" cy="249179"/>
          </a:xfrm>
          <a:custGeom>
            <a:avLst/>
            <a:gdLst/>
            <a:ahLst/>
            <a:cxnLst>
              <a:cxn ang="0">
                <a:pos x="68" y="0"/>
              </a:cxn>
              <a:cxn ang="0">
                <a:pos x="68" y="0"/>
              </a:cxn>
              <a:cxn ang="0">
                <a:pos x="54" y="2"/>
              </a:cxn>
              <a:cxn ang="0">
                <a:pos x="42" y="6"/>
              </a:cxn>
              <a:cxn ang="0">
                <a:pos x="30" y="12"/>
              </a:cxn>
              <a:cxn ang="0">
                <a:pos x="20" y="20"/>
              </a:cxn>
              <a:cxn ang="0">
                <a:pos x="12" y="30"/>
              </a:cxn>
              <a:cxn ang="0">
                <a:pos x="6" y="42"/>
              </a:cxn>
              <a:cxn ang="0">
                <a:pos x="2" y="54"/>
              </a:cxn>
              <a:cxn ang="0">
                <a:pos x="0" y="68"/>
              </a:cxn>
              <a:cxn ang="0">
                <a:pos x="0" y="68"/>
              </a:cxn>
              <a:cxn ang="0">
                <a:pos x="2" y="80"/>
              </a:cxn>
              <a:cxn ang="0">
                <a:pos x="6" y="94"/>
              </a:cxn>
              <a:cxn ang="0">
                <a:pos x="12" y="104"/>
              </a:cxn>
              <a:cxn ang="0">
                <a:pos x="20" y="114"/>
              </a:cxn>
              <a:cxn ang="0">
                <a:pos x="30" y="122"/>
              </a:cxn>
              <a:cxn ang="0">
                <a:pos x="42" y="130"/>
              </a:cxn>
              <a:cxn ang="0">
                <a:pos x="54" y="132"/>
              </a:cxn>
              <a:cxn ang="0">
                <a:pos x="68" y="134"/>
              </a:cxn>
              <a:cxn ang="0">
                <a:pos x="68" y="134"/>
              </a:cxn>
              <a:cxn ang="0">
                <a:pos x="82" y="132"/>
              </a:cxn>
              <a:cxn ang="0">
                <a:pos x="94" y="130"/>
              </a:cxn>
              <a:cxn ang="0">
                <a:pos x="106" y="122"/>
              </a:cxn>
              <a:cxn ang="0">
                <a:pos x="116" y="114"/>
              </a:cxn>
              <a:cxn ang="0">
                <a:pos x="124" y="104"/>
              </a:cxn>
              <a:cxn ang="0">
                <a:pos x="130" y="94"/>
              </a:cxn>
              <a:cxn ang="0">
                <a:pos x="134" y="80"/>
              </a:cxn>
              <a:cxn ang="0">
                <a:pos x="134" y="68"/>
              </a:cxn>
              <a:cxn ang="0">
                <a:pos x="134" y="68"/>
              </a:cxn>
              <a:cxn ang="0">
                <a:pos x="134" y="54"/>
              </a:cxn>
              <a:cxn ang="0">
                <a:pos x="130" y="42"/>
              </a:cxn>
              <a:cxn ang="0">
                <a:pos x="124" y="30"/>
              </a:cxn>
              <a:cxn ang="0">
                <a:pos x="116" y="20"/>
              </a:cxn>
              <a:cxn ang="0">
                <a:pos x="106" y="12"/>
              </a:cxn>
              <a:cxn ang="0">
                <a:pos x="94" y="6"/>
              </a:cxn>
              <a:cxn ang="0">
                <a:pos x="82" y="2"/>
              </a:cxn>
              <a:cxn ang="0">
                <a:pos x="68" y="0"/>
              </a:cxn>
            </a:cxnLst>
            <a:rect l="0" t="0" r="r" b="b"/>
            <a:pathLst>
              <a:path w="134" h="134">
                <a:moveTo>
                  <a:pt x="68" y="0"/>
                </a:moveTo>
                <a:lnTo>
                  <a:pt x="68" y="0"/>
                </a:lnTo>
                <a:lnTo>
                  <a:pt x="54" y="2"/>
                </a:lnTo>
                <a:lnTo>
                  <a:pt x="42" y="6"/>
                </a:lnTo>
                <a:lnTo>
                  <a:pt x="30" y="12"/>
                </a:lnTo>
                <a:lnTo>
                  <a:pt x="20" y="20"/>
                </a:lnTo>
                <a:lnTo>
                  <a:pt x="12" y="30"/>
                </a:lnTo>
                <a:lnTo>
                  <a:pt x="6" y="42"/>
                </a:lnTo>
                <a:lnTo>
                  <a:pt x="2" y="54"/>
                </a:lnTo>
                <a:lnTo>
                  <a:pt x="0" y="68"/>
                </a:lnTo>
                <a:lnTo>
                  <a:pt x="0" y="68"/>
                </a:lnTo>
                <a:lnTo>
                  <a:pt x="2" y="80"/>
                </a:lnTo>
                <a:lnTo>
                  <a:pt x="6" y="94"/>
                </a:lnTo>
                <a:lnTo>
                  <a:pt x="12" y="104"/>
                </a:lnTo>
                <a:lnTo>
                  <a:pt x="20" y="114"/>
                </a:lnTo>
                <a:lnTo>
                  <a:pt x="30" y="122"/>
                </a:lnTo>
                <a:lnTo>
                  <a:pt x="42" y="130"/>
                </a:lnTo>
                <a:lnTo>
                  <a:pt x="54" y="132"/>
                </a:lnTo>
                <a:lnTo>
                  <a:pt x="68" y="134"/>
                </a:lnTo>
                <a:lnTo>
                  <a:pt x="68" y="134"/>
                </a:lnTo>
                <a:lnTo>
                  <a:pt x="82" y="132"/>
                </a:lnTo>
                <a:lnTo>
                  <a:pt x="94" y="130"/>
                </a:lnTo>
                <a:lnTo>
                  <a:pt x="106" y="122"/>
                </a:lnTo>
                <a:lnTo>
                  <a:pt x="116" y="114"/>
                </a:lnTo>
                <a:lnTo>
                  <a:pt x="124" y="104"/>
                </a:lnTo>
                <a:lnTo>
                  <a:pt x="130" y="94"/>
                </a:lnTo>
                <a:lnTo>
                  <a:pt x="134" y="80"/>
                </a:lnTo>
                <a:lnTo>
                  <a:pt x="134" y="68"/>
                </a:lnTo>
                <a:lnTo>
                  <a:pt x="134" y="68"/>
                </a:lnTo>
                <a:lnTo>
                  <a:pt x="134" y="54"/>
                </a:lnTo>
                <a:lnTo>
                  <a:pt x="130" y="42"/>
                </a:lnTo>
                <a:lnTo>
                  <a:pt x="124" y="30"/>
                </a:lnTo>
                <a:lnTo>
                  <a:pt x="116" y="20"/>
                </a:lnTo>
                <a:lnTo>
                  <a:pt x="106" y="12"/>
                </a:lnTo>
                <a:lnTo>
                  <a:pt x="94" y="6"/>
                </a:lnTo>
                <a:lnTo>
                  <a:pt x="82" y="2"/>
                </a:lnTo>
                <a:lnTo>
                  <a:pt x="68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32" name="Freeform 71"/>
          <p:cNvSpPr>
            <a:spLocks/>
          </p:cNvSpPr>
          <p:nvPr userDrawn="1"/>
        </p:nvSpPr>
        <p:spPr bwMode="auto">
          <a:xfrm>
            <a:off x="1768739" y="1607042"/>
            <a:ext cx="269944" cy="249179"/>
          </a:xfrm>
          <a:custGeom>
            <a:avLst/>
            <a:gdLst/>
            <a:ahLst/>
            <a:cxnLst>
              <a:cxn ang="0">
                <a:pos x="68" y="0"/>
              </a:cxn>
              <a:cxn ang="0">
                <a:pos x="68" y="0"/>
              </a:cxn>
              <a:cxn ang="0">
                <a:pos x="54" y="2"/>
              </a:cxn>
              <a:cxn ang="0">
                <a:pos x="42" y="6"/>
              </a:cxn>
              <a:cxn ang="0">
                <a:pos x="30" y="12"/>
              </a:cxn>
              <a:cxn ang="0">
                <a:pos x="20" y="20"/>
              </a:cxn>
              <a:cxn ang="0">
                <a:pos x="12" y="30"/>
              </a:cxn>
              <a:cxn ang="0">
                <a:pos x="6" y="42"/>
              </a:cxn>
              <a:cxn ang="0">
                <a:pos x="2" y="54"/>
              </a:cxn>
              <a:cxn ang="0">
                <a:pos x="0" y="68"/>
              </a:cxn>
              <a:cxn ang="0">
                <a:pos x="0" y="68"/>
              </a:cxn>
              <a:cxn ang="0">
                <a:pos x="2" y="82"/>
              </a:cxn>
              <a:cxn ang="0">
                <a:pos x="6" y="94"/>
              </a:cxn>
              <a:cxn ang="0">
                <a:pos x="12" y="106"/>
              </a:cxn>
              <a:cxn ang="0">
                <a:pos x="20" y="116"/>
              </a:cxn>
              <a:cxn ang="0">
                <a:pos x="30" y="124"/>
              </a:cxn>
              <a:cxn ang="0">
                <a:pos x="42" y="130"/>
              </a:cxn>
              <a:cxn ang="0">
                <a:pos x="54" y="134"/>
              </a:cxn>
              <a:cxn ang="0">
                <a:pos x="68" y="134"/>
              </a:cxn>
              <a:cxn ang="0">
                <a:pos x="68" y="134"/>
              </a:cxn>
              <a:cxn ang="0">
                <a:pos x="80" y="134"/>
              </a:cxn>
              <a:cxn ang="0">
                <a:pos x="94" y="130"/>
              </a:cxn>
              <a:cxn ang="0">
                <a:pos x="104" y="124"/>
              </a:cxn>
              <a:cxn ang="0">
                <a:pos x="114" y="116"/>
              </a:cxn>
              <a:cxn ang="0">
                <a:pos x="122" y="106"/>
              </a:cxn>
              <a:cxn ang="0">
                <a:pos x="130" y="94"/>
              </a:cxn>
              <a:cxn ang="0">
                <a:pos x="132" y="82"/>
              </a:cxn>
              <a:cxn ang="0">
                <a:pos x="134" y="68"/>
              </a:cxn>
              <a:cxn ang="0">
                <a:pos x="134" y="68"/>
              </a:cxn>
              <a:cxn ang="0">
                <a:pos x="132" y="54"/>
              </a:cxn>
              <a:cxn ang="0">
                <a:pos x="130" y="42"/>
              </a:cxn>
              <a:cxn ang="0">
                <a:pos x="122" y="30"/>
              </a:cxn>
              <a:cxn ang="0">
                <a:pos x="114" y="20"/>
              </a:cxn>
              <a:cxn ang="0">
                <a:pos x="104" y="12"/>
              </a:cxn>
              <a:cxn ang="0">
                <a:pos x="94" y="6"/>
              </a:cxn>
              <a:cxn ang="0">
                <a:pos x="80" y="2"/>
              </a:cxn>
              <a:cxn ang="0">
                <a:pos x="68" y="0"/>
              </a:cxn>
            </a:cxnLst>
            <a:rect l="0" t="0" r="r" b="b"/>
            <a:pathLst>
              <a:path w="134" h="134">
                <a:moveTo>
                  <a:pt x="68" y="0"/>
                </a:moveTo>
                <a:lnTo>
                  <a:pt x="68" y="0"/>
                </a:lnTo>
                <a:lnTo>
                  <a:pt x="54" y="2"/>
                </a:lnTo>
                <a:lnTo>
                  <a:pt x="42" y="6"/>
                </a:lnTo>
                <a:lnTo>
                  <a:pt x="30" y="12"/>
                </a:lnTo>
                <a:lnTo>
                  <a:pt x="20" y="20"/>
                </a:lnTo>
                <a:lnTo>
                  <a:pt x="12" y="30"/>
                </a:lnTo>
                <a:lnTo>
                  <a:pt x="6" y="42"/>
                </a:lnTo>
                <a:lnTo>
                  <a:pt x="2" y="54"/>
                </a:lnTo>
                <a:lnTo>
                  <a:pt x="0" y="68"/>
                </a:lnTo>
                <a:lnTo>
                  <a:pt x="0" y="68"/>
                </a:lnTo>
                <a:lnTo>
                  <a:pt x="2" y="82"/>
                </a:lnTo>
                <a:lnTo>
                  <a:pt x="6" y="94"/>
                </a:lnTo>
                <a:lnTo>
                  <a:pt x="12" y="106"/>
                </a:lnTo>
                <a:lnTo>
                  <a:pt x="20" y="116"/>
                </a:lnTo>
                <a:lnTo>
                  <a:pt x="30" y="124"/>
                </a:lnTo>
                <a:lnTo>
                  <a:pt x="42" y="130"/>
                </a:lnTo>
                <a:lnTo>
                  <a:pt x="54" y="134"/>
                </a:lnTo>
                <a:lnTo>
                  <a:pt x="68" y="134"/>
                </a:lnTo>
                <a:lnTo>
                  <a:pt x="68" y="134"/>
                </a:lnTo>
                <a:lnTo>
                  <a:pt x="80" y="134"/>
                </a:lnTo>
                <a:lnTo>
                  <a:pt x="94" y="130"/>
                </a:lnTo>
                <a:lnTo>
                  <a:pt x="104" y="124"/>
                </a:lnTo>
                <a:lnTo>
                  <a:pt x="114" y="116"/>
                </a:lnTo>
                <a:lnTo>
                  <a:pt x="122" y="106"/>
                </a:lnTo>
                <a:lnTo>
                  <a:pt x="130" y="94"/>
                </a:lnTo>
                <a:lnTo>
                  <a:pt x="132" y="82"/>
                </a:lnTo>
                <a:lnTo>
                  <a:pt x="134" y="68"/>
                </a:lnTo>
                <a:lnTo>
                  <a:pt x="134" y="68"/>
                </a:lnTo>
                <a:lnTo>
                  <a:pt x="132" y="54"/>
                </a:lnTo>
                <a:lnTo>
                  <a:pt x="130" y="42"/>
                </a:lnTo>
                <a:lnTo>
                  <a:pt x="122" y="30"/>
                </a:lnTo>
                <a:lnTo>
                  <a:pt x="114" y="20"/>
                </a:lnTo>
                <a:lnTo>
                  <a:pt x="104" y="12"/>
                </a:lnTo>
                <a:lnTo>
                  <a:pt x="94" y="6"/>
                </a:lnTo>
                <a:lnTo>
                  <a:pt x="80" y="2"/>
                </a:lnTo>
                <a:lnTo>
                  <a:pt x="68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33" name="Freeform 72"/>
          <p:cNvSpPr>
            <a:spLocks/>
          </p:cNvSpPr>
          <p:nvPr userDrawn="1"/>
        </p:nvSpPr>
        <p:spPr bwMode="auto">
          <a:xfrm>
            <a:off x="1768739" y="1607042"/>
            <a:ext cx="269944" cy="249179"/>
          </a:xfrm>
          <a:custGeom>
            <a:avLst/>
            <a:gdLst/>
            <a:ahLst/>
            <a:cxnLst>
              <a:cxn ang="0">
                <a:pos x="68" y="0"/>
              </a:cxn>
              <a:cxn ang="0">
                <a:pos x="68" y="0"/>
              </a:cxn>
              <a:cxn ang="0">
                <a:pos x="54" y="2"/>
              </a:cxn>
              <a:cxn ang="0">
                <a:pos x="42" y="6"/>
              </a:cxn>
              <a:cxn ang="0">
                <a:pos x="30" y="12"/>
              </a:cxn>
              <a:cxn ang="0">
                <a:pos x="20" y="20"/>
              </a:cxn>
              <a:cxn ang="0">
                <a:pos x="12" y="30"/>
              </a:cxn>
              <a:cxn ang="0">
                <a:pos x="6" y="42"/>
              </a:cxn>
              <a:cxn ang="0">
                <a:pos x="2" y="54"/>
              </a:cxn>
              <a:cxn ang="0">
                <a:pos x="0" y="68"/>
              </a:cxn>
              <a:cxn ang="0">
                <a:pos x="0" y="68"/>
              </a:cxn>
              <a:cxn ang="0">
                <a:pos x="2" y="82"/>
              </a:cxn>
              <a:cxn ang="0">
                <a:pos x="6" y="94"/>
              </a:cxn>
              <a:cxn ang="0">
                <a:pos x="12" y="106"/>
              </a:cxn>
              <a:cxn ang="0">
                <a:pos x="20" y="116"/>
              </a:cxn>
              <a:cxn ang="0">
                <a:pos x="30" y="124"/>
              </a:cxn>
              <a:cxn ang="0">
                <a:pos x="42" y="130"/>
              </a:cxn>
              <a:cxn ang="0">
                <a:pos x="54" y="134"/>
              </a:cxn>
              <a:cxn ang="0">
                <a:pos x="68" y="134"/>
              </a:cxn>
              <a:cxn ang="0">
                <a:pos x="68" y="134"/>
              </a:cxn>
              <a:cxn ang="0">
                <a:pos x="80" y="134"/>
              </a:cxn>
              <a:cxn ang="0">
                <a:pos x="94" y="130"/>
              </a:cxn>
              <a:cxn ang="0">
                <a:pos x="104" y="124"/>
              </a:cxn>
              <a:cxn ang="0">
                <a:pos x="114" y="116"/>
              </a:cxn>
              <a:cxn ang="0">
                <a:pos x="122" y="106"/>
              </a:cxn>
              <a:cxn ang="0">
                <a:pos x="130" y="94"/>
              </a:cxn>
              <a:cxn ang="0">
                <a:pos x="132" y="82"/>
              </a:cxn>
              <a:cxn ang="0">
                <a:pos x="134" y="68"/>
              </a:cxn>
              <a:cxn ang="0">
                <a:pos x="134" y="68"/>
              </a:cxn>
              <a:cxn ang="0">
                <a:pos x="132" y="54"/>
              </a:cxn>
              <a:cxn ang="0">
                <a:pos x="130" y="42"/>
              </a:cxn>
              <a:cxn ang="0">
                <a:pos x="122" y="30"/>
              </a:cxn>
              <a:cxn ang="0">
                <a:pos x="114" y="20"/>
              </a:cxn>
              <a:cxn ang="0">
                <a:pos x="104" y="12"/>
              </a:cxn>
              <a:cxn ang="0">
                <a:pos x="94" y="6"/>
              </a:cxn>
              <a:cxn ang="0">
                <a:pos x="80" y="2"/>
              </a:cxn>
              <a:cxn ang="0">
                <a:pos x="68" y="0"/>
              </a:cxn>
            </a:cxnLst>
            <a:rect l="0" t="0" r="r" b="b"/>
            <a:pathLst>
              <a:path w="134" h="134">
                <a:moveTo>
                  <a:pt x="68" y="0"/>
                </a:moveTo>
                <a:lnTo>
                  <a:pt x="68" y="0"/>
                </a:lnTo>
                <a:lnTo>
                  <a:pt x="54" y="2"/>
                </a:lnTo>
                <a:lnTo>
                  <a:pt x="42" y="6"/>
                </a:lnTo>
                <a:lnTo>
                  <a:pt x="30" y="12"/>
                </a:lnTo>
                <a:lnTo>
                  <a:pt x="20" y="20"/>
                </a:lnTo>
                <a:lnTo>
                  <a:pt x="12" y="30"/>
                </a:lnTo>
                <a:lnTo>
                  <a:pt x="6" y="42"/>
                </a:lnTo>
                <a:lnTo>
                  <a:pt x="2" y="54"/>
                </a:lnTo>
                <a:lnTo>
                  <a:pt x="0" y="68"/>
                </a:lnTo>
                <a:lnTo>
                  <a:pt x="0" y="68"/>
                </a:lnTo>
                <a:lnTo>
                  <a:pt x="2" y="82"/>
                </a:lnTo>
                <a:lnTo>
                  <a:pt x="6" y="94"/>
                </a:lnTo>
                <a:lnTo>
                  <a:pt x="12" y="106"/>
                </a:lnTo>
                <a:lnTo>
                  <a:pt x="20" y="116"/>
                </a:lnTo>
                <a:lnTo>
                  <a:pt x="30" y="124"/>
                </a:lnTo>
                <a:lnTo>
                  <a:pt x="42" y="130"/>
                </a:lnTo>
                <a:lnTo>
                  <a:pt x="54" y="134"/>
                </a:lnTo>
                <a:lnTo>
                  <a:pt x="68" y="134"/>
                </a:lnTo>
                <a:lnTo>
                  <a:pt x="68" y="134"/>
                </a:lnTo>
                <a:lnTo>
                  <a:pt x="80" y="134"/>
                </a:lnTo>
                <a:lnTo>
                  <a:pt x="94" y="130"/>
                </a:lnTo>
                <a:lnTo>
                  <a:pt x="104" y="124"/>
                </a:lnTo>
                <a:lnTo>
                  <a:pt x="114" y="116"/>
                </a:lnTo>
                <a:lnTo>
                  <a:pt x="122" y="106"/>
                </a:lnTo>
                <a:lnTo>
                  <a:pt x="130" y="94"/>
                </a:lnTo>
                <a:lnTo>
                  <a:pt x="132" y="82"/>
                </a:lnTo>
                <a:lnTo>
                  <a:pt x="134" y="68"/>
                </a:lnTo>
                <a:lnTo>
                  <a:pt x="134" y="68"/>
                </a:lnTo>
                <a:lnTo>
                  <a:pt x="132" y="54"/>
                </a:lnTo>
                <a:lnTo>
                  <a:pt x="130" y="42"/>
                </a:lnTo>
                <a:lnTo>
                  <a:pt x="122" y="30"/>
                </a:lnTo>
                <a:lnTo>
                  <a:pt x="114" y="20"/>
                </a:lnTo>
                <a:lnTo>
                  <a:pt x="104" y="12"/>
                </a:lnTo>
                <a:lnTo>
                  <a:pt x="94" y="6"/>
                </a:lnTo>
                <a:lnTo>
                  <a:pt x="80" y="2"/>
                </a:lnTo>
                <a:lnTo>
                  <a:pt x="68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34" name="Freeform 73"/>
          <p:cNvSpPr>
            <a:spLocks/>
          </p:cNvSpPr>
          <p:nvPr userDrawn="1"/>
        </p:nvSpPr>
        <p:spPr bwMode="auto">
          <a:xfrm>
            <a:off x="2796145" y="2414083"/>
            <a:ext cx="169219" cy="156202"/>
          </a:xfrm>
          <a:custGeom>
            <a:avLst/>
            <a:gdLst/>
            <a:ahLst/>
            <a:cxnLst>
              <a:cxn ang="0">
                <a:pos x="42" y="0"/>
              </a:cxn>
              <a:cxn ang="0">
                <a:pos x="42" y="0"/>
              </a:cxn>
              <a:cxn ang="0">
                <a:pos x="34" y="0"/>
              </a:cxn>
              <a:cxn ang="0">
                <a:pos x="26" y="2"/>
              </a:cxn>
              <a:cxn ang="0">
                <a:pos x="18" y="6"/>
              </a:cxn>
              <a:cxn ang="0">
                <a:pos x="12" y="12"/>
              </a:cxn>
              <a:cxn ang="0">
                <a:pos x="6" y="18"/>
              </a:cxn>
              <a:cxn ang="0">
                <a:pos x="2" y="24"/>
              </a:cxn>
              <a:cxn ang="0">
                <a:pos x="0" y="32"/>
              </a:cxn>
              <a:cxn ang="0">
                <a:pos x="0" y="42"/>
              </a:cxn>
              <a:cxn ang="0">
                <a:pos x="0" y="42"/>
              </a:cxn>
              <a:cxn ang="0">
                <a:pos x="0" y="50"/>
              </a:cxn>
              <a:cxn ang="0">
                <a:pos x="2" y="58"/>
              </a:cxn>
              <a:cxn ang="0">
                <a:pos x="6" y="66"/>
              </a:cxn>
              <a:cxn ang="0">
                <a:pos x="12" y="72"/>
              </a:cxn>
              <a:cxn ang="0">
                <a:pos x="18" y="76"/>
              </a:cxn>
              <a:cxn ang="0">
                <a:pos x="26" y="80"/>
              </a:cxn>
              <a:cxn ang="0">
                <a:pos x="34" y="82"/>
              </a:cxn>
              <a:cxn ang="0">
                <a:pos x="42" y="84"/>
              </a:cxn>
              <a:cxn ang="0">
                <a:pos x="42" y="84"/>
              </a:cxn>
              <a:cxn ang="0">
                <a:pos x="50" y="82"/>
              </a:cxn>
              <a:cxn ang="0">
                <a:pos x="58" y="80"/>
              </a:cxn>
              <a:cxn ang="0">
                <a:pos x="66" y="76"/>
              </a:cxn>
              <a:cxn ang="0">
                <a:pos x="72" y="72"/>
              </a:cxn>
              <a:cxn ang="0">
                <a:pos x="76" y="66"/>
              </a:cxn>
              <a:cxn ang="0">
                <a:pos x="80" y="58"/>
              </a:cxn>
              <a:cxn ang="0">
                <a:pos x="84" y="50"/>
              </a:cxn>
              <a:cxn ang="0">
                <a:pos x="84" y="42"/>
              </a:cxn>
              <a:cxn ang="0">
                <a:pos x="84" y="42"/>
              </a:cxn>
              <a:cxn ang="0">
                <a:pos x="84" y="32"/>
              </a:cxn>
              <a:cxn ang="0">
                <a:pos x="80" y="24"/>
              </a:cxn>
              <a:cxn ang="0">
                <a:pos x="76" y="18"/>
              </a:cxn>
              <a:cxn ang="0">
                <a:pos x="72" y="12"/>
              </a:cxn>
              <a:cxn ang="0">
                <a:pos x="66" y="6"/>
              </a:cxn>
              <a:cxn ang="0">
                <a:pos x="58" y="2"/>
              </a:cxn>
              <a:cxn ang="0">
                <a:pos x="50" y="0"/>
              </a:cxn>
              <a:cxn ang="0">
                <a:pos x="42" y="0"/>
              </a:cxn>
            </a:cxnLst>
            <a:rect l="0" t="0" r="r" b="b"/>
            <a:pathLst>
              <a:path w="84" h="84">
                <a:moveTo>
                  <a:pt x="42" y="0"/>
                </a:moveTo>
                <a:lnTo>
                  <a:pt x="42" y="0"/>
                </a:lnTo>
                <a:lnTo>
                  <a:pt x="34" y="0"/>
                </a:lnTo>
                <a:lnTo>
                  <a:pt x="26" y="2"/>
                </a:lnTo>
                <a:lnTo>
                  <a:pt x="18" y="6"/>
                </a:lnTo>
                <a:lnTo>
                  <a:pt x="12" y="12"/>
                </a:lnTo>
                <a:lnTo>
                  <a:pt x="6" y="18"/>
                </a:lnTo>
                <a:lnTo>
                  <a:pt x="2" y="24"/>
                </a:lnTo>
                <a:lnTo>
                  <a:pt x="0" y="32"/>
                </a:lnTo>
                <a:lnTo>
                  <a:pt x="0" y="42"/>
                </a:lnTo>
                <a:lnTo>
                  <a:pt x="0" y="42"/>
                </a:lnTo>
                <a:lnTo>
                  <a:pt x="0" y="50"/>
                </a:lnTo>
                <a:lnTo>
                  <a:pt x="2" y="58"/>
                </a:lnTo>
                <a:lnTo>
                  <a:pt x="6" y="66"/>
                </a:lnTo>
                <a:lnTo>
                  <a:pt x="12" y="72"/>
                </a:lnTo>
                <a:lnTo>
                  <a:pt x="18" y="76"/>
                </a:lnTo>
                <a:lnTo>
                  <a:pt x="26" y="80"/>
                </a:lnTo>
                <a:lnTo>
                  <a:pt x="34" y="82"/>
                </a:lnTo>
                <a:lnTo>
                  <a:pt x="42" y="84"/>
                </a:lnTo>
                <a:lnTo>
                  <a:pt x="42" y="84"/>
                </a:lnTo>
                <a:lnTo>
                  <a:pt x="50" y="82"/>
                </a:lnTo>
                <a:lnTo>
                  <a:pt x="58" y="80"/>
                </a:lnTo>
                <a:lnTo>
                  <a:pt x="66" y="76"/>
                </a:lnTo>
                <a:lnTo>
                  <a:pt x="72" y="72"/>
                </a:lnTo>
                <a:lnTo>
                  <a:pt x="76" y="66"/>
                </a:lnTo>
                <a:lnTo>
                  <a:pt x="80" y="58"/>
                </a:lnTo>
                <a:lnTo>
                  <a:pt x="84" y="50"/>
                </a:lnTo>
                <a:lnTo>
                  <a:pt x="84" y="42"/>
                </a:lnTo>
                <a:lnTo>
                  <a:pt x="84" y="42"/>
                </a:lnTo>
                <a:lnTo>
                  <a:pt x="84" y="32"/>
                </a:lnTo>
                <a:lnTo>
                  <a:pt x="80" y="24"/>
                </a:lnTo>
                <a:lnTo>
                  <a:pt x="76" y="18"/>
                </a:lnTo>
                <a:lnTo>
                  <a:pt x="72" y="12"/>
                </a:lnTo>
                <a:lnTo>
                  <a:pt x="66" y="6"/>
                </a:lnTo>
                <a:lnTo>
                  <a:pt x="58" y="2"/>
                </a:lnTo>
                <a:lnTo>
                  <a:pt x="50" y="0"/>
                </a:lnTo>
                <a:lnTo>
                  <a:pt x="42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35" name="Freeform 74"/>
          <p:cNvSpPr>
            <a:spLocks/>
          </p:cNvSpPr>
          <p:nvPr userDrawn="1"/>
        </p:nvSpPr>
        <p:spPr bwMode="auto">
          <a:xfrm>
            <a:off x="2796145" y="2414083"/>
            <a:ext cx="169219" cy="156202"/>
          </a:xfrm>
          <a:custGeom>
            <a:avLst/>
            <a:gdLst/>
            <a:ahLst/>
            <a:cxnLst>
              <a:cxn ang="0">
                <a:pos x="42" y="0"/>
              </a:cxn>
              <a:cxn ang="0">
                <a:pos x="42" y="0"/>
              </a:cxn>
              <a:cxn ang="0">
                <a:pos x="34" y="0"/>
              </a:cxn>
              <a:cxn ang="0">
                <a:pos x="26" y="2"/>
              </a:cxn>
              <a:cxn ang="0">
                <a:pos x="18" y="6"/>
              </a:cxn>
              <a:cxn ang="0">
                <a:pos x="12" y="12"/>
              </a:cxn>
              <a:cxn ang="0">
                <a:pos x="6" y="18"/>
              </a:cxn>
              <a:cxn ang="0">
                <a:pos x="2" y="24"/>
              </a:cxn>
              <a:cxn ang="0">
                <a:pos x="0" y="32"/>
              </a:cxn>
              <a:cxn ang="0">
                <a:pos x="0" y="42"/>
              </a:cxn>
              <a:cxn ang="0">
                <a:pos x="0" y="42"/>
              </a:cxn>
              <a:cxn ang="0">
                <a:pos x="0" y="50"/>
              </a:cxn>
              <a:cxn ang="0">
                <a:pos x="2" y="58"/>
              </a:cxn>
              <a:cxn ang="0">
                <a:pos x="6" y="66"/>
              </a:cxn>
              <a:cxn ang="0">
                <a:pos x="12" y="72"/>
              </a:cxn>
              <a:cxn ang="0">
                <a:pos x="18" y="76"/>
              </a:cxn>
              <a:cxn ang="0">
                <a:pos x="26" y="80"/>
              </a:cxn>
              <a:cxn ang="0">
                <a:pos x="34" y="82"/>
              </a:cxn>
              <a:cxn ang="0">
                <a:pos x="42" y="84"/>
              </a:cxn>
              <a:cxn ang="0">
                <a:pos x="42" y="84"/>
              </a:cxn>
              <a:cxn ang="0">
                <a:pos x="50" y="82"/>
              </a:cxn>
              <a:cxn ang="0">
                <a:pos x="58" y="80"/>
              </a:cxn>
              <a:cxn ang="0">
                <a:pos x="66" y="76"/>
              </a:cxn>
              <a:cxn ang="0">
                <a:pos x="72" y="72"/>
              </a:cxn>
              <a:cxn ang="0">
                <a:pos x="76" y="66"/>
              </a:cxn>
              <a:cxn ang="0">
                <a:pos x="80" y="58"/>
              </a:cxn>
              <a:cxn ang="0">
                <a:pos x="84" y="50"/>
              </a:cxn>
              <a:cxn ang="0">
                <a:pos x="84" y="42"/>
              </a:cxn>
              <a:cxn ang="0">
                <a:pos x="84" y="42"/>
              </a:cxn>
              <a:cxn ang="0">
                <a:pos x="84" y="32"/>
              </a:cxn>
              <a:cxn ang="0">
                <a:pos x="80" y="24"/>
              </a:cxn>
              <a:cxn ang="0">
                <a:pos x="76" y="18"/>
              </a:cxn>
              <a:cxn ang="0">
                <a:pos x="72" y="12"/>
              </a:cxn>
              <a:cxn ang="0">
                <a:pos x="66" y="6"/>
              </a:cxn>
              <a:cxn ang="0">
                <a:pos x="58" y="2"/>
              </a:cxn>
              <a:cxn ang="0">
                <a:pos x="50" y="0"/>
              </a:cxn>
              <a:cxn ang="0">
                <a:pos x="42" y="0"/>
              </a:cxn>
            </a:cxnLst>
            <a:rect l="0" t="0" r="r" b="b"/>
            <a:pathLst>
              <a:path w="84" h="84">
                <a:moveTo>
                  <a:pt x="42" y="0"/>
                </a:moveTo>
                <a:lnTo>
                  <a:pt x="42" y="0"/>
                </a:lnTo>
                <a:lnTo>
                  <a:pt x="34" y="0"/>
                </a:lnTo>
                <a:lnTo>
                  <a:pt x="26" y="2"/>
                </a:lnTo>
                <a:lnTo>
                  <a:pt x="18" y="6"/>
                </a:lnTo>
                <a:lnTo>
                  <a:pt x="12" y="12"/>
                </a:lnTo>
                <a:lnTo>
                  <a:pt x="6" y="18"/>
                </a:lnTo>
                <a:lnTo>
                  <a:pt x="2" y="24"/>
                </a:lnTo>
                <a:lnTo>
                  <a:pt x="0" y="32"/>
                </a:lnTo>
                <a:lnTo>
                  <a:pt x="0" y="42"/>
                </a:lnTo>
                <a:lnTo>
                  <a:pt x="0" y="42"/>
                </a:lnTo>
                <a:lnTo>
                  <a:pt x="0" y="50"/>
                </a:lnTo>
                <a:lnTo>
                  <a:pt x="2" y="58"/>
                </a:lnTo>
                <a:lnTo>
                  <a:pt x="6" y="66"/>
                </a:lnTo>
                <a:lnTo>
                  <a:pt x="12" y="72"/>
                </a:lnTo>
                <a:lnTo>
                  <a:pt x="18" y="76"/>
                </a:lnTo>
                <a:lnTo>
                  <a:pt x="26" y="80"/>
                </a:lnTo>
                <a:lnTo>
                  <a:pt x="34" y="82"/>
                </a:lnTo>
                <a:lnTo>
                  <a:pt x="42" y="84"/>
                </a:lnTo>
                <a:lnTo>
                  <a:pt x="42" y="84"/>
                </a:lnTo>
                <a:lnTo>
                  <a:pt x="50" y="82"/>
                </a:lnTo>
                <a:lnTo>
                  <a:pt x="58" y="80"/>
                </a:lnTo>
                <a:lnTo>
                  <a:pt x="66" y="76"/>
                </a:lnTo>
                <a:lnTo>
                  <a:pt x="72" y="72"/>
                </a:lnTo>
                <a:lnTo>
                  <a:pt x="76" y="66"/>
                </a:lnTo>
                <a:lnTo>
                  <a:pt x="80" y="58"/>
                </a:lnTo>
                <a:lnTo>
                  <a:pt x="84" y="50"/>
                </a:lnTo>
                <a:lnTo>
                  <a:pt x="84" y="42"/>
                </a:lnTo>
                <a:lnTo>
                  <a:pt x="84" y="42"/>
                </a:lnTo>
                <a:lnTo>
                  <a:pt x="84" y="32"/>
                </a:lnTo>
                <a:lnTo>
                  <a:pt x="80" y="24"/>
                </a:lnTo>
                <a:lnTo>
                  <a:pt x="76" y="18"/>
                </a:lnTo>
                <a:lnTo>
                  <a:pt x="72" y="12"/>
                </a:lnTo>
                <a:lnTo>
                  <a:pt x="66" y="6"/>
                </a:lnTo>
                <a:lnTo>
                  <a:pt x="58" y="2"/>
                </a:lnTo>
                <a:lnTo>
                  <a:pt x="50" y="0"/>
                </a:lnTo>
                <a:lnTo>
                  <a:pt x="4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36" name="Freeform 75"/>
          <p:cNvSpPr>
            <a:spLocks/>
          </p:cNvSpPr>
          <p:nvPr userDrawn="1"/>
        </p:nvSpPr>
        <p:spPr bwMode="auto">
          <a:xfrm>
            <a:off x="2224027" y="-468214"/>
            <a:ext cx="209509" cy="193393"/>
          </a:xfrm>
          <a:custGeom>
            <a:avLst/>
            <a:gdLst/>
            <a:ahLst/>
            <a:cxnLst>
              <a:cxn ang="0">
                <a:pos x="52" y="0"/>
              </a:cxn>
              <a:cxn ang="0">
                <a:pos x="52" y="0"/>
              </a:cxn>
              <a:cxn ang="0">
                <a:pos x="42" y="2"/>
              </a:cxn>
              <a:cxn ang="0">
                <a:pos x="32" y="4"/>
              </a:cxn>
              <a:cxn ang="0">
                <a:pos x="24" y="10"/>
              </a:cxn>
              <a:cxn ang="0">
                <a:pos x="16" y="16"/>
              </a:cxn>
              <a:cxn ang="0">
                <a:pos x="10" y="24"/>
              </a:cxn>
              <a:cxn ang="0">
                <a:pos x="4" y="32"/>
              </a:cxn>
              <a:cxn ang="0">
                <a:pos x="2" y="42"/>
              </a:cxn>
              <a:cxn ang="0">
                <a:pos x="0" y="52"/>
              </a:cxn>
              <a:cxn ang="0">
                <a:pos x="0" y="52"/>
              </a:cxn>
              <a:cxn ang="0">
                <a:pos x="2" y="64"/>
              </a:cxn>
              <a:cxn ang="0">
                <a:pos x="4" y="74"/>
              </a:cxn>
              <a:cxn ang="0">
                <a:pos x="10" y="82"/>
              </a:cxn>
              <a:cxn ang="0">
                <a:pos x="16" y="90"/>
              </a:cxn>
              <a:cxn ang="0">
                <a:pos x="24" y="96"/>
              </a:cxn>
              <a:cxn ang="0">
                <a:pos x="32" y="100"/>
              </a:cxn>
              <a:cxn ang="0">
                <a:pos x="42" y="104"/>
              </a:cxn>
              <a:cxn ang="0">
                <a:pos x="52" y="104"/>
              </a:cxn>
              <a:cxn ang="0">
                <a:pos x="52" y="104"/>
              </a:cxn>
              <a:cxn ang="0">
                <a:pos x="64" y="104"/>
              </a:cxn>
              <a:cxn ang="0">
                <a:pos x="74" y="100"/>
              </a:cxn>
              <a:cxn ang="0">
                <a:pos x="82" y="96"/>
              </a:cxn>
              <a:cxn ang="0">
                <a:pos x="90" y="90"/>
              </a:cxn>
              <a:cxn ang="0">
                <a:pos x="96" y="82"/>
              </a:cxn>
              <a:cxn ang="0">
                <a:pos x="100" y="74"/>
              </a:cxn>
              <a:cxn ang="0">
                <a:pos x="104" y="64"/>
              </a:cxn>
              <a:cxn ang="0">
                <a:pos x="104" y="52"/>
              </a:cxn>
              <a:cxn ang="0">
                <a:pos x="104" y="52"/>
              </a:cxn>
              <a:cxn ang="0">
                <a:pos x="104" y="42"/>
              </a:cxn>
              <a:cxn ang="0">
                <a:pos x="100" y="32"/>
              </a:cxn>
              <a:cxn ang="0">
                <a:pos x="96" y="24"/>
              </a:cxn>
              <a:cxn ang="0">
                <a:pos x="90" y="16"/>
              </a:cxn>
              <a:cxn ang="0">
                <a:pos x="82" y="10"/>
              </a:cxn>
              <a:cxn ang="0">
                <a:pos x="74" y="4"/>
              </a:cxn>
              <a:cxn ang="0">
                <a:pos x="64" y="2"/>
              </a:cxn>
              <a:cxn ang="0">
                <a:pos x="52" y="0"/>
              </a:cxn>
            </a:cxnLst>
            <a:rect l="0" t="0" r="r" b="b"/>
            <a:pathLst>
              <a:path w="104" h="104">
                <a:moveTo>
                  <a:pt x="52" y="0"/>
                </a:moveTo>
                <a:lnTo>
                  <a:pt x="52" y="0"/>
                </a:lnTo>
                <a:lnTo>
                  <a:pt x="42" y="2"/>
                </a:lnTo>
                <a:lnTo>
                  <a:pt x="32" y="4"/>
                </a:lnTo>
                <a:lnTo>
                  <a:pt x="24" y="10"/>
                </a:lnTo>
                <a:lnTo>
                  <a:pt x="16" y="16"/>
                </a:lnTo>
                <a:lnTo>
                  <a:pt x="10" y="24"/>
                </a:lnTo>
                <a:lnTo>
                  <a:pt x="4" y="32"/>
                </a:lnTo>
                <a:lnTo>
                  <a:pt x="2" y="42"/>
                </a:lnTo>
                <a:lnTo>
                  <a:pt x="0" y="52"/>
                </a:lnTo>
                <a:lnTo>
                  <a:pt x="0" y="52"/>
                </a:lnTo>
                <a:lnTo>
                  <a:pt x="2" y="64"/>
                </a:lnTo>
                <a:lnTo>
                  <a:pt x="4" y="74"/>
                </a:lnTo>
                <a:lnTo>
                  <a:pt x="10" y="82"/>
                </a:lnTo>
                <a:lnTo>
                  <a:pt x="16" y="90"/>
                </a:lnTo>
                <a:lnTo>
                  <a:pt x="24" y="96"/>
                </a:lnTo>
                <a:lnTo>
                  <a:pt x="32" y="100"/>
                </a:lnTo>
                <a:lnTo>
                  <a:pt x="42" y="104"/>
                </a:lnTo>
                <a:lnTo>
                  <a:pt x="52" y="104"/>
                </a:lnTo>
                <a:lnTo>
                  <a:pt x="52" y="104"/>
                </a:lnTo>
                <a:lnTo>
                  <a:pt x="64" y="104"/>
                </a:lnTo>
                <a:lnTo>
                  <a:pt x="74" y="100"/>
                </a:lnTo>
                <a:lnTo>
                  <a:pt x="82" y="96"/>
                </a:lnTo>
                <a:lnTo>
                  <a:pt x="90" y="90"/>
                </a:lnTo>
                <a:lnTo>
                  <a:pt x="96" y="82"/>
                </a:lnTo>
                <a:lnTo>
                  <a:pt x="100" y="74"/>
                </a:lnTo>
                <a:lnTo>
                  <a:pt x="104" y="64"/>
                </a:lnTo>
                <a:lnTo>
                  <a:pt x="104" y="52"/>
                </a:lnTo>
                <a:lnTo>
                  <a:pt x="104" y="52"/>
                </a:lnTo>
                <a:lnTo>
                  <a:pt x="104" y="42"/>
                </a:lnTo>
                <a:lnTo>
                  <a:pt x="100" y="32"/>
                </a:lnTo>
                <a:lnTo>
                  <a:pt x="96" y="24"/>
                </a:lnTo>
                <a:lnTo>
                  <a:pt x="90" y="16"/>
                </a:lnTo>
                <a:lnTo>
                  <a:pt x="82" y="10"/>
                </a:lnTo>
                <a:lnTo>
                  <a:pt x="74" y="4"/>
                </a:lnTo>
                <a:lnTo>
                  <a:pt x="64" y="2"/>
                </a:lnTo>
                <a:lnTo>
                  <a:pt x="52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37" name="Freeform 76"/>
          <p:cNvSpPr>
            <a:spLocks/>
          </p:cNvSpPr>
          <p:nvPr userDrawn="1"/>
        </p:nvSpPr>
        <p:spPr bwMode="auto">
          <a:xfrm>
            <a:off x="2224027" y="-468214"/>
            <a:ext cx="209509" cy="193393"/>
          </a:xfrm>
          <a:custGeom>
            <a:avLst/>
            <a:gdLst/>
            <a:ahLst/>
            <a:cxnLst>
              <a:cxn ang="0">
                <a:pos x="52" y="0"/>
              </a:cxn>
              <a:cxn ang="0">
                <a:pos x="52" y="0"/>
              </a:cxn>
              <a:cxn ang="0">
                <a:pos x="42" y="2"/>
              </a:cxn>
              <a:cxn ang="0">
                <a:pos x="32" y="4"/>
              </a:cxn>
              <a:cxn ang="0">
                <a:pos x="24" y="10"/>
              </a:cxn>
              <a:cxn ang="0">
                <a:pos x="16" y="16"/>
              </a:cxn>
              <a:cxn ang="0">
                <a:pos x="10" y="24"/>
              </a:cxn>
              <a:cxn ang="0">
                <a:pos x="4" y="32"/>
              </a:cxn>
              <a:cxn ang="0">
                <a:pos x="2" y="42"/>
              </a:cxn>
              <a:cxn ang="0">
                <a:pos x="0" y="52"/>
              </a:cxn>
              <a:cxn ang="0">
                <a:pos x="0" y="52"/>
              </a:cxn>
              <a:cxn ang="0">
                <a:pos x="2" y="64"/>
              </a:cxn>
              <a:cxn ang="0">
                <a:pos x="4" y="74"/>
              </a:cxn>
              <a:cxn ang="0">
                <a:pos x="10" y="82"/>
              </a:cxn>
              <a:cxn ang="0">
                <a:pos x="16" y="90"/>
              </a:cxn>
              <a:cxn ang="0">
                <a:pos x="24" y="96"/>
              </a:cxn>
              <a:cxn ang="0">
                <a:pos x="32" y="100"/>
              </a:cxn>
              <a:cxn ang="0">
                <a:pos x="42" y="104"/>
              </a:cxn>
              <a:cxn ang="0">
                <a:pos x="52" y="104"/>
              </a:cxn>
              <a:cxn ang="0">
                <a:pos x="52" y="104"/>
              </a:cxn>
              <a:cxn ang="0">
                <a:pos x="64" y="104"/>
              </a:cxn>
              <a:cxn ang="0">
                <a:pos x="74" y="100"/>
              </a:cxn>
              <a:cxn ang="0">
                <a:pos x="82" y="96"/>
              </a:cxn>
              <a:cxn ang="0">
                <a:pos x="90" y="90"/>
              </a:cxn>
              <a:cxn ang="0">
                <a:pos x="96" y="82"/>
              </a:cxn>
              <a:cxn ang="0">
                <a:pos x="100" y="74"/>
              </a:cxn>
              <a:cxn ang="0">
                <a:pos x="104" y="64"/>
              </a:cxn>
              <a:cxn ang="0">
                <a:pos x="104" y="52"/>
              </a:cxn>
              <a:cxn ang="0">
                <a:pos x="104" y="52"/>
              </a:cxn>
              <a:cxn ang="0">
                <a:pos x="104" y="42"/>
              </a:cxn>
              <a:cxn ang="0">
                <a:pos x="100" y="32"/>
              </a:cxn>
              <a:cxn ang="0">
                <a:pos x="96" y="24"/>
              </a:cxn>
              <a:cxn ang="0">
                <a:pos x="90" y="16"/>
              </a:cxn>
              <a:cxn ang="0">
                <a:pos x="82" y="10"/>
              </a:cxn>
              <a:cxn ang="0">
                <a:pos x="74" y="4"/>
              </a:cxn>
              <a:cxn ang="0">
                <a:pos x="64" y="2"/>
              </a:cxn>
              <a:cxn ang="0">
                <a:pos x="52" y="0"/>
              </a:cxn>
            </a:cxnLst>
            <a:rect l="0" t="0" r="r" b="b"/>
            <a:pathLst>
              <a:path w="104" h="104">
                <a:moveTo>
                  <a:pt x="52" y="0"/>
                </a:moveTo>
                <a:lnTo>
                  <a:pt x="52" y="0"/>
                </a:lnTo>
                <a:lnTo>
                  <a:pt x="42" y="2"/>
                </a:lnTo>
                <a:lnTo>
                  <a:pt x="32" y="4"/>
                </a:lnTo>
                <a:lnTo>
                  <a:pt x="24" y="10"/>
                </a:lnTo>
                <a:lnTo>
                  <a:pt x="16" y="16"/>
                </a:lnTo>
                <a:lnTo>
                  <a:pt x="10" y="24"/>
                </a:lnTo>
                <a:lnTo>
                  <a:pt x="4" y="32"/>
                </a:lnTo>
                <a:lnTo>
                  <a:pt x="2" y="42"/>
                </a:lnTo>
                <a:lnTo>
                  <a:pt x="0" y="52"/>
                </a:lnTo>
                <a:lnTo>
                  <a:pt x="0" y="52"/>
                </a:lnTo>
                <a:lnTo>
                  <a:pt x="2" y="64"/>
                </a:lnTo>
                <a:lnTo>
                  <a:pt x="4" y="74"/>
                </a:lnTo>
                <a:lnTo>
                  <a:pt x="10" y="82"/>
                </a:lnTo>
                <a:lnTo>
                  <a:pt x="16" y="90"/>
                </a:lnTo>
                <a:lnTo>
                  <a:pt x="24" y="96"/>
                </a:lnTo>
                <a:lnTo>
                  <a:pt x="32" y="100"/>
                </a:lnTo>
                <a:lnTo>
                  <a:pt x="42" y="104"/>
                </a:lnTo>
                <a:lnTo>
                  <a:pt x="52" y="104"/>
                </a:lnTo>
                <a:lnTo>
                  <a:pt x="52" y="104"/>
                </a:lnTo>
                <a:lnTo>
                  <a:pt x="64" y="104"/>
                </a:lnTo>
                <a:lnTo>
                  <a:pt x="74" y="100"/>
                </a:lnTo>
                <a:lnTo>
                  <a:pt x="82" y="96"/>
                </a:lnTo>
                <a:lnTo>
                  <a:pt x="90" y="90"/>
                </a:lnTo>
                <a:lnTo>
                  <a:pt x="96" y="82"/>
                </a:lnTo>
                <a:lnTo>
                  <a:pt x="100" y="74"/>
                </a:lnTo>
                <a:lnTo>
                  <a:pt x="104" y="64"/>
                </a:lnTo>
                <a:lnTo>
                  <a:pt x="104" y="52"/>
                </a:lnTo>
                <a:lnTo>
                  <a:pt x="104" y="52"/>
                </a:lnTo>
                <a:lnTo>
                  <a:pt x="104" y="42"/>
                </a:lnTo>
                <a:lnTo>
                  <a:pt x="100" y="32"/>
                </a:lnTo>
                <a:lnTo>
                  <a:pt x="96" y="24"/>
                </a:lnTo>
                <a:lnTo>
                  <a:pt x="90" y="16"/>
                </a:lnTo>
                <a:lnTo>
                  <a:pt x="82" y="10"/>
                </a:lnTo>
                <a:lnTo>
                  <a:pt x="74" y="4"/>
                </a:lnTo>
                <a:lnTo>
                  <a:pt x="64" y="2"/>
                </a:lnTo>
                <a:lnTo>
                  <a:pt x="5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38" name="Freeform 77"/>
          <p:cNvSpPr>
            <a:spLocks/>
          </p:cNvSpPr>
          <p:nvPr userDrawn="1"/>
        </p:nvSpPr>
        <p:spPr bwMode="auto">
          <a:xfrm>
            <a:off x="24174" y="885535"/>
            <a:ext cx="108784" cy="100416"/>
          </a:xfrm>
          <a:custGeom>
            <a:avLst/>
            <a:gdLst/>
            <a:ahLst/>
            <a:cxnLst>
              <a:cxn ang="0">
                <a:pos x="26" y="0"/>
              </a:cxn>
              <a:cxn ang="0">
                <a:pos x="26" y="0"/>
              </a:cxn>
              <a:cxn ang="0">
                <a:pos x="16" y="2"/>
              </a:cxn>
              <a:cxn ang="0">
                <a:pos x="8" y="8"/>
              </a:cxn>
              <a:cxn ang="0">
                <a:pos x="2" y="16"/>
              </a:cxn>
              <a:cxn ang="0">
                <a:pos x="0" y="26"/>
              </a:cxn>
              <a:cxn ang="0">
                <a:pos x="0" y="26"/>
              </a:cxn>
              <a:cxn ang="0">
                <a:pos x="2" y="38"/>
              </a:cxn>
              <a:cxn ang="0">
                <a:pos x="8" y="46"/>
              </a:cxn>
              <a:cxn ang="0">
                <a:pos x="16" y="52"/>
              </a:cxn>
              <a:cxn ang="0">
                <a:pos x="26" y="54"/>
              </a:cxn>
              <a:cxn ang="0">
                <a:pos x="26" y="54"/>
              </a:cxn>
              <a:cxn ang="0">
                <a:pos x="38" y="52"/>
              </a:cxn>
              <a:cxn ang="0">
                <a:pos x="46" y="46"/>
              </a:cxn>
              <a:cxn ang="0">
                <a:pos x="52" y="38"/>
              </a:cxn>
              <a:cxn ang="0">
                <a:pos x="54" y="26"/>
              </a:cxn>
              <a:cxn ang="0">
                <a:pos x="54" y="26"/>
              </a:cxn>
              <a:cxn ang="0">
                <a:pos x="52" y="16"/>
              </a:cxn>
              <a:cxn ang="0">
                <a:pos x="46" y="8"/>
              </a:cxn>
              <a:cxn ang="0">
                <a:pos x="38" y="2"/>
              </a:cxn>
              <a:cxn ang="0">
                <a:pos x="26" y="0"/>
              </a:cxn>
            </a:cxnLst>
            <a:rect l="0" t="0" r="r" b="b"/>
            <a:pathLst>
              <a:path w="54" h="54">
                <a:moveTo>
                  <a:pt x="26" y="0"/>
                </a:moveTo>
                <a:lnTo>
                  <a:pt x="26" y="0"/>
                </a:lnTo>
                <a:lnTo>
                  <a:pt x="16" y="2"/>
                </a:lnTo>
                <a:lnTo>
                  <a:pt x="8" y="8"/>
                </a:lnTo>
                <a:lnTo>
                  <a:pt x="2" y="16"/>
                </a:lnTo>
                <a:lnTo>
                  <a:pt x="0" y="26"/>
                </a:lnTo>
                <a:lnTo>
                  <a:pt x="0" y="26"/>
                </a:lnTo>
                <a:lnTo>
                  <a:pt x="2" y="38"/>
                </a:lnTo>
                <a:lnTo>
                  <a:pt x="8" y="46"/>
                </a:lnTo>
                <a:lnTo>
                  <a:pt x="16" y="52"/>
                </a:lnTo>
                <a:lnTo>
                  <a:pt x="26" y="54"/>
                </a:lnTo>
                <a:lnTo>
                  <a:pt x="26" y="54"/>
                </a:lnTo>
                <a:lnTo>
                  <a:pt x="38" y="52"/>
                </a:lnTo>
                <a:lnTo>
                  <a:pt x="46" y="46"/>
                </a:lnTo>
                <a:lnTo>
                  <a:pt x="52" y="38"/>
                </a:lnTo>
                <a:lnTo>
                  <a:pt x="54" y="26"/>
                </a:lnTo>
                <a:lnTo>
                  <a:pt x="54" y="26"/>
                </a:lnTo>
                <a:lnTo>
                  <a:pt x="52" y="16"/>
                </a:lnTo>
                <a:lnTo>
                  <a:pt x="46" y="8"/>
                </a:lnTo>
                <a:lnTo>
                  <a:pt x="38" y="2"/>
                </a:lnTo>
                <a:lnTo>
                  <a:pt x="26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39" name="Freeform 78"/>
          <p:cNvSpPr>
            <a:spLocks/>
          </p:cNvSpPr>
          <p:nvPr userDrawn="1"/>
        </p:nvSpPr>
        <p:spPr bwMode="auto">
          <a:xfrm>
            <a:off x="24174" y="885535"/>
            <a:ext cx="108784" cy="100416"/>
          </a:xfrm>
          <a:custGeom>
            <a:avLst/>
            <a:gdLst/>
            <a:ahLst/>
            <a:cxnLst>
              <a:cxn ang="0">
                <a:pos x="26" y="0"/>
              </a:cxn>
              <a:cxn ang="0">
                <a:pos x="26" y="0"/>
              </a:cxn>
              <a:cxn ang="0">
                <a:pos x="16" y="2"/>
              </a:cxn>
              <a:cxn ang="0">
                <a:pos x="8" y="8"/>
              </a:cxn>
              <a:cxn ang="0">
                <a:pos x="2" y="16"/>
              </a:cxn>
              <a:cxn ang="0">
                <a:pos x="0" y="26"/>
              </a:cxn>
              <a:cxn ang="0">
                <a:pos x="0" y="26"/>
              </a:cxn>
              <a:cxn ang="0">
                <a:pos x="2" y="38"/>
              </a:cxn>
              <a:cxn ang="0">
                <a:pos x="8" y="46"/>
              </a:cxn>
              <a:cxn ang="0">
                <a:pos x="16" y="52"/>
              </a:cxn>
              <a:cxn ang="0">
                <a:pos x="26" y="54"/>
              </a:cxn>
              <a:cxn ang="0">
                <a:pos x="26" y="54"/>
              </a:cxn>
              <a:cxn ang="0">
                <a:pos x="38" y="52"/>
              </a:cxn>
              <a:cxn ang="0">
                <a:pos x="46" y="46"/>
              </a:cxn>
              <a:cxn ang="0">
                <a:pos x="52" y="38"/>
              </a:cxn>
              <a:cxn ang="0">
                <a:pos x="54" y="26"/>
              </a:cxn>
              <a:cxn ang="0">
                <a:pos x="54" y="26"/>
              </a:cxn>
              <a:cxn ang="0">
                <a:pos x="52" y="16"/>
              </a:cxn>
              <a:cxn ang="0">
                <a:pos x="46" y="8"/>
              </a:cxn>
              <a:cxn ang="0">
                <a:pos x="38" y="2"/>
              </a:cxn>
              <a:cxn ang="0">
                <a:pos x="26" y="0"/>
              </a:cxn>
            </a:cxnLst>
            <a:rect l="0" t="0" r="r" b="b"/>
            <a:pathLst>
              <a:path w="54" h="54">
                <a:moveTo>
                  <a:pt x="26" y="0"/>
                </a:moveTo>
                <a:lnTo>
                  <a:pt x="26" y="0"/>
                </a:lnTo>
                <a:lnTo>
                  <a:pt x="16" y="2"/>
                </a:lnTo>
                <a:lnTo>
                  <a:pt x="8" y="8"/>
                </a:lnTo>
                <a:lnTo>
                  <a:pt x="2" y="16"/>
                </a:lnTo>
                <a:lnTo>
                  <a:pt x="0" y="26"/>
                </a:lnTo>
                <a:lnTo>
                  <a:pt x="0" y="26"/>
                </a:lnTo>
                <a:lnTo>
                  <a:pt x="2" y="38"/>
                </a:lnTo>
                <a:lnTo>
                  <a:pt x="8" y="46"/>
                </a:lnTo>
                <a:lnTo>
                  <a:pt x="16" y="52"/>
                </a:lnTo>
                <a:lnTo>
                  <a:pt x="26" y="54"/>
                </a:lnTo>
                <a:lnTo>
                  <a:pt x="26" y="54"/>
                </a:lnTo>
                <a:lnTo>
                  <a:pt x="38" y="52"/>
                </a:lnTo>
                <a:lnTo>
                  <a:pt x="46" y="46"/>
                </a:lnTo>
                <a:lnTo>
                  <a:pt x="52" y="38"/>
                </a:lnTo>
                <a:lnTo>
                  <a:pt x="54" y="26"/>
                </a:lnTo>
                <a:lnTo>
                  <a:pt x="54" y="26"/>
                </a:lnTo>
                <a:lnTo>
                  <a:pt x="52" y="16"/>
                </a:lnTo>
                <a:lnTo>
                  <a:pt x="46" y="8"/>
                </a:lnTo>
                <a:lnTo>
                  <a:pt x="38" y="2"/>
                </a:lnTo>
                <a:lnTo>
                  <a:pt x="26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40" name="Freeform 79"/>
          <p:cNvSpPr>
            <a:spLocks/>
          </p:cNvSpPr>
          <p:nvPr userDrawn="1"/>
        </p:nvSpPr>
        <p:spPr bwMode="auto">
          <a:xfrm>
            <a:off x="1035462" y="-241350"/>
            <a:ext cx="366641" cy="338438"/>
          </a:xfrm>
          <a:custGeom>
            <a:avLst/>
            <a:gdLst/>
            <a:ahLst/>
            <a:cxnLst>
              <a:cxn ang="0">
                <a:pos x="92" y="0"/>
              </a:cxn>
              <a:cxn ang="0">
                <a:pos x="92" y="0"/>
              </a:cxn>
              <a:cxn ang="0">
                <a:pos x="72" y="2"/>
              </a:cxn>
              <a:cxn ang="0">
                <a:pos x="56" y="8"/>
              </a:cxn>
              <a:cxn ang="0">
                <a:pos x="40" y="16"/>
              </a:cxn>
              <a:cxn ang="0">
                <a:pos x="26" y="28"/>
              </a:cxn>
              <a:cxn ang="0">
                <a:pos x="16" y="40"/>
              </a:cxn>
              <a:cxn ang="0">
                <a:pos x="8" y="56"/>
              </a:cxn>
              <a:cxn ang="0">
                <a:pos x="2" y="74"/>
              </a:cxn>
              <a:cxn ang="0">
                <a:pos x="0" y="92"/>
              </a:cxn>
              <a:cxn ang="0">
                <a:pos x="0" y="92"/>
              </a:cxn>
              <a:cxn ang="0">
                <a:pos x="2" y="110"/>
              </a:cxn>
              <a:cxn ang="0">
                <a:pos x="8" y="128"/>
              </a:cxn>
              <a:cxn ang="0">
                <a:pos x="16" y="142"/>
              </a:cxn>
              <a:cxn ang="0">
                <a:pos x="26" y="156"/>
              </a:cxn>
              <a:cxn ang="0">
                <a:pos x="40" y="168"/>
              </a:cxn>
              <a:cxn ang="0">
                <a:pos x="56" y="176"/>
              </a:cxn>
              <a:cxn ang="0">
                <a:pos x="72" y="182"/>
              </a:cxn>
              <a:cxn ang="0">
                <a:pos x="92" y="182"/>
              </a:cxn>
              <a:cxn ang="0">
                <a:pos x="92" y="182"/>
              </a:cxn>
              <a:cxn ang="0">
                <a:pos x="110" y="182"/>
              </a:cxn>
              <a:cxn ang="0">
                <a:pos x="126" y="176"/>
              </a:cxn>
              <a:cxn ang="0">
                <a:pos x="142" y="168"/>
              </a:cxn>
              <a:cxn ang="0">
                <a:pos x="156" y="156"/>
              </a:cxn>
              <a:cxn ang="0">
                <a:pos x="168" y="142"/>
              </a:cxn>
              <a:cxn ang="0">
                <a:pos x="176" y="128"/>
              </a:cxn>
              <a:cxn ang="0">
                <a:pos x="180" y="110"/>
              </a:cxn>
              <a:cxn ang="0">
                <a:pos x="182" y="92"/>
              </a:cxn>
              <a:cxn ang="0">
                <a:pos x="182" y="92"/>
              </a:cxn>
              <a:cxn ang="0">
                <a:pos x="180" y="74"/>
              </a:cxn>
              <a:cxn ang="0">
                <a:pos x="176" y="56"/>
              </a:cxn>
              <a:cxn ang="0">
                <a:pos x="168" y="40"/>
              </a:cxn>
              <a:cxn ang="0">
                <a:pos x="156" y="28"/>
              </a:cxn>
              <a:cxn ang="0">
                <a:pos x="142" y="16"/>
              </a:cxn>
              <a:cxn ang="0">
                <a:pos x="126" y="8"/>
              </a:cxn>
              <a:cxn ang="0">
                <a:pos x="110" y="2"/>
              </a:cxn>
              <a:cxn ang="0">
                <a:pos x="92" y="0"/>
              </a:cxn>
            </a:cxnLst>
            <a:rect l="0" t="0" r="r" b="b"/>
            <a:pathLst>
              <a:path w="182" h="182">
                <a:moveTo>
                  <a:pt x="92" y="0"/>
                </a:moveTo>
                <a:lnTo>
                  <a:pt x="92" y="0"/>
                </a:lnTo>
                <a:lnTo>
                  <a:pt x="72" y="2"/>
                </a:lnTo>
                <a:lnTo>
                  <a:pt x="56" y="8"/>
                </a:lnTo>
                <a:lnTo>
                  <a:pt x="40" y="16"/>
                </a:lnTo>
                <a:lnTo>
                  <a:pt x="26" y="28"/>
                </a:lnTo>
                <a:lnTo>
                  <a:pt x="16" y="40"/>
                </a:lnTo>
                <a:lnTo>
                  <a:pt x="8" y="56"/>
                </a:lnTo>
                <a:lnTo>
                  <a:pt x="2" y="74"/>
                </a:lnTo>
                <a:lnTo>
                  <a:pt x="0" y="92"/>
                </a:lnTo>
                <a:lnTo>
                  <a:pt x="0" y="92"/>
                </a:lnTo>
                <a:lnTo>
                  <a:pt x="2" y="110"/>
                </a:lnTo>
                <a:lnTo>
                  <a:pt x="8" y="128"/>
                </a:lnTo>
                <a:lnTo>
                  <a:pt x="16" y="142"/>
                </a:lnTo>
                <a:lnTo>
                  <a:pt x="26" y="156"/>
                </a:lnTo>
                <a:lnTo>
                  <a:pt x="40" y="168"/>
                </a:lnTo>
                <a:lnTo>
                  <a:pt x="56" y="176"/>
                </a:lnTo>
                <a:lnTo>
                  <a:pt x="72" y="182"/>
                </a:lnTo>
                <a:lnTo>
                  <a:pt x="92" y="182"/>
                </a:lnTo>
                <a:lnTo>
                  <a:pt x="92" y="182"/>
                </a:lnTo>
                <a:lnTo>
                  <a:pt x="110" y="182"/>
                </a:lnTo>
                <a:lnTo>
                  <a:pt x="126" y="176"/>
                </a:lnTo>
                <a:lnTo>
                  <a:pt x="142" y="168"/>
                </a:lnTo>
                <a:lnTo>
                  <a:pt x="156" y="156"/>
                </a:lnTo>
                <a:lnTo>
                  <a:pt x="168" y="142"/>
                </a:lnTo>
                <a:lnTo>
                  <a:pt x="176" y="128"/>
                </a:lnTo>
                <a:lnTo>
                  <a:pt x="180" y="110"/>
                </a:lnTo>
                <a:lnTo>
                  <a:pt x="182" y="92"/>
                </a:lnTo>
                <a:lnTo>
                  <a:pt x="182" y="92"/>
                </a:lnTo>
                <a:lnTo>
                  <a:pt x="180" y="74"/>
                </a:lnTo>
                <a:lnTo>
                  <a:pt x="176" y="56"/>
                </a:lnTo>
                <a:lnTo>
                  <a:pt x="168" y="40"/>
                </a:lnTo>
                <a:lnTo>
                  <a:pt x="156" y="28"/>
                </a:lnTo>
                <a:lnTo>
                  <a:pt x="142" y="16"/>
                </a:lnTo>
                <a:lnTo>
                  <a:pt x="126" y="8"/>
                </a:lnTo>
                <a:lnTo>
                  <a:pt x="110" y="2"/>
                </a:lnTo>
                <a:lnTo>
                  <a:pt x="92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41" name="Freeform 80"/>
          <p:cNvSpPr>
            <a:spLocks/>
          </p:cNvSpPr>
          <p:nvPr userDrawn="1"/>
        </p:nvSpPr>
        <p:spPr bwMode="auto">
          <a:xfrm>
            <a:off x="1035462" y="-241350"/>
            <a:ext cx="366641" cy="338438"/>
          </a:xfrm>
          <a:custGeom>
            <a:avLst/>
            <a:gdLst/>
            <a:ahLst/>
            <a:cxnLst>
              <a:cxn ang="0">
                <a:pos x="92" y="0"/>
              </a:cxn>
              <a:cxn ang="0">
                <a:pos x="92" y="0"/>
              </a:cxn>
              <a:cxn ang="0">
                <a:pos x="72" y="2"/>
              </a:cxn>
              <a:cxn ang="0">
                <a:pos x="56" y="8"/>
              </a:cxn>
              <a:cxn ang="0">
                <a:pos x="40" y="16"/>
              </a:cxn>
              <a:cxn ang="0">
                <a:pos x="26" y="28"/>
              </a:cxn>
              <a:cxn ang="0">
                <a:pos x="16" y="40"/>
              </a:cxn>
              <a:cxn ang="0">
                <a:pos x="8" y="56"/>
              </a:cxn>
              <a:cxn ang="0">
                <a:pos x="2" y="74"/>
              </a:cxn>
              <a:cxn ang="0">
                <a:pos x="0" y="92"/>
              </a:cxn>
              <a:cxn ang="0">
                <a:pos x="0" y="92"/>
              </a:cxn>
              <a:cxn ang="0">
                <a:pos x="2" y="110"/>
              </a:cxn>
              <a:cxn ang="0">
                <a:pos x="8" y="128"/>
              </a:cxn>
              <a:cxn ang="0">
                <a:pos x="16" y="142"/>
              </a:cxn>
              <a:cxn ang="0">
                <a:pos x="26" y="156"/>
              </a:cxn>
              <a:cxn ang="0">
                <a:pos x="40" y="168"/>
              </a:cxn>
              <a:cxn ang="0">
                <a:pos x="56" y="176"/>
              </a:cxn>
              <a:cxn ang="0">
                <a:pos x="72" y="182"/>
              </a:cxn>
              <a:cxn ang="0">
                <a:pos x="92" y="182"/>
              </a:cxn>
              <a:cxn ang="0">
                <a:pos x="92" y="182"/>
              </a:cxn>
              <a:cxn ang="0">
                <a:pos x="110" y="182"/>
              </a:cxn>
              <a:cxn ang="0">
                <a:pos x="126" y="176"/>
              </a:cxn>
              <a:cxn ang="0">
                <a:pos x="142" y="168"/>
              </a:cxn>
              <a:cxn ang="0">
                <a:pos x="156" y="156"/>
              </a:cxn>
              <a:cxn ang="0">
                <a:pos x="168" y="142"/>
              </a:cxn>
              <a:cxn ang="0">
                <a:pos x="176" y="128"/>
              </a:cxn>
              <a:cxn ang="0">
                <a:pos x="180" y="110"/>
              </a:cxn>
              <a:cxn ang="0">
                <a:pos x="182" y="92"/>
              </a:cxn>
              <a:cxn ang="0">
                <a:pos x="182" y="92"/>
              </a:cxn>
              <a:cxn ang="0">
                <a:pos x="180" y="74"/>
              </a:cxn>
              <a:cxn ang="0">
                <a:pos x="176" y="56"/>
              </a:cxn>
              <a:cxn ang="0">
                <a:pos x="168" y="40"/>
              </a:cxn>
              <a:cxn ang="0">
                <a:pos x="156" y="28"/>
              </a:cxn>
              <a:cxn ang="0">
                <a:pos x="142" y="16"/>
              </a:cxn>
              <a:cxn ang="0">
                <a:pos x="126" y="8"/>
              </a:cxn>
              <a:cxn ang="0">
                <a:pos x="110" y="2"/>
              </a:cxn>
              <a:cxn ang="0">
                <a:pos x="92" y="0"/>
              </a:cxn>
            </a:cxnLst>
            <a:rect l="0" t="0" r="r" b="b"/>
            <a:pathLst>
              <a:path w="182" h="182">
                <a:moveTo>
                  <a:pt x="92" y="0"/>
                </a:moveTo>
                <a:lnTo>
                  <a:pt x="92" y="0"/>
                </a:lnTo>
                <a:lnTo>
                  <a:pt x="72" y="2"/>
                </a:lnTo>
                <a:lnTo>
                  <a:pt x="56" y="8"/>
                </a:lnTo>
                <a:lnTo>
                  <a:pt x="40" y="16"/>
                </a:lnTo>
                <a:lnTo>
                  <a:pt x="26" y="28"/>
                </a:lnTo>
                <a:lnTo>
                  <a:pt x="16" y="40"/>
                </a:lnTo>
                <a:lnTo>
                  <a:pt x="8" y="56"/>
                </a:lnTo>
                <a:lnTo>
                  <a:pt x="2" y="74"/>
                </a:lnTo>
                <a:lnTo>
                  <a:pt x="0" y="92"/>
                </a:lnTo>
                <a:lnTo>
                  <a:pt x="0" y="92"/>
                </a:lnTo>
                <a:lnTo>
                  <a:pt x="2" y="110"/>
                </a:lnTo>
                <a:lnTo>
                  <a:pt x="8" y="128"/>
                </a:lnTo>
                <a:lnTo>
                  <a:pt x="16" y="142"/>
                </a:lnTo>
                <a:lnTo>
                  <a:pt x="26" y="156"/>
                </a:lnTo>
                <a:lnTo>
                  <a:pt x="40" y="168"/>
                </a:lnTo>
                <a:lnTo>
                  <a:pt x="56" y="176"/>
                </a:lnTo>
                <a:lnTo>
                  <a:pt x="72" y="182"/>
                </a:lnTo>
                <a:lnTo>
                  <a:pt x="92" y="182"/>
                </a:lnTo>
                <a:lnTo>
                  <a:pt x="92" y="182"/>
                </a:lnTo>
                <a:lnTo>
                  <a:pt x="110" y="182"/>
                </a:lnTo>
                <a:lnTo>
                  <a:pt x="126" y="176"/>
                </a:lnTo>
                <a:lnTo>
                  <a:pt x="142" y="168"/>
                </a:lnTo>
                <a:lnTo>
                  <a:pt x="156" y="156"/>
                </a:lnTo>
                <a:lnTo>
                  <a:pt x="168" y="142"/>
                </a:lnTo>
                <a:lnTo>
                  <a:pt x="176" y="128"/>
                </a:lnTo>
                <a:lnTo>
                  <a:pt x="180" y="110"/>
                </a:lnTo>
                <a:lnTo>
                  <a:pt x="182" y="92"/>
                </a:lnTo>
                <a:lnTo>
                  <a:pt x="182" y="92"/>
                </a:lnTo>
                <a:lnTo>
                  <a:pt x="180" y="74"/>
                </a:lnTo>
                <a:lnTo>
                  <a:pt x="176" y="56"/>
                </a:lnTo>
                <a:lnTo>
                  <a:pt x="168" y="40"/>
                </a:lnTo>
                <a:lnTo>
                  <a:pt x="156" y="28"/>
                </a:lnTo>
                <a:lnTo>
                  <a:pt x="142" y="16"/>
                </a:lnTo>
                <a:lnTo>
                  <a:pt x="126" y="8"/>
                </a:lnTo>
                <a:lnTo>
                  <a:pt x="110" y="2"/>
                </a:lnTo>
                <a:lnTo>
                  <a:pt x="9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42" name="Freeform 81"/>
          <p:cNvSpPr>
            <a:spLocks/>
          </p:cNvSpPr>
          <p:nvPr userDrawn="1"/>
        </p:nvSpPr>
        <p:spPr bwMode="auto">
          <a:xfrm>
            <a:off x="592268" y="937602"/>
            <a:ext cx="366641" cy="338438"/>
          </a:xfrm>
          <a:custGeom>
            <a:avLst/>
            <a:gdLst/>
            <a:ahLst/>
            <a:cxnLst>
              <a:cxn ang="0">
                <a:pos x="92" y="0"/>
              </a:cxn>
              <a:cxn ang="0">
                <a:pos x="92" y="0"/>
              </a:cxn>
              <a:cxn ang="0">
                <a:pos x="72" y="2"/>
              </a:cxn>
              <a:cxn ang="0">
                <a:pos x="56" y="6"/>
              </a:cxn>
              <a:cxn ang="0">
                <a:pos x="40" y="14"/>
              </a:cxn>
              <a:cxn ang="0">
                <a:pos x="26" y="26"/>
              </a:cxn>
              <a:cxn ang="0">
                <a:pos x="16" y="40"/>
              </a:cxn>
              <a:cxn ang="0">
                <a:pos x="6" y="54"/>
              </a:cxn>
              <a:cxn ang="0">
                <a:pos x="2" y="72"/>
              </a:cxn>
              <a:cxn ang="0">
                <a:pos x="0" y="90"/>
              </a:cxn>
              <a:cxn ang="0">
                <a:pos x="0" y="90"/>
              </a:cxn>
              <a:cxn ang="0">
                <a:pos x="2" y="108"/>
              </a:cxn>
              <a:cxn ang="0">
                <a:pos x="6" y="126"/>
              </a:cxn>
              <a:cxn ang="0">
                <a:pos x="16" y="142"/>
              </a:cxn>
              <a:cxn ang="0">
                <a:pos x="26" y="156"/>
              </a:cxn>
              <a:cxn ang="0">
                <a:pos x="40" y="166"/>
              </a:cxn>
              <a:cxn ang="0">
                <a:pos x="56" y="174"/>
              </a:cxn>
              <a:cxn ang="0">
                <a:pos x="72" y="180"/>
              </a:cxn>
              <a:cxn ang="0">
                <a:pos x="92" y="182"/>
              </a:cxn>
              <a:cxn ang="0">
                <a:pos x="92" y="182"/>
              </a:cxn>
              <a:cxn ang="0">
                <a:pos x="110" y="180"/>
              </a:cxn>
              <a:cxn ang="0">
                <a:pos x="126" y="174"/>
              </a:cxn>
              <a:cxn ang="0">
                <a:pos x="142" y="166"/>
              </a:cxn>
              <a:cxn ang="0">
                <a:pos x="156" y="156"/>
              </a:cxn>
              <a:cxn ang="0">
                <a:pos x="166" y="142"/>
              </a:cxn>
              <a:cxn ang="0">
                <a:pos x="176" y="126"/>
              </a:cxn>
              <a:cxn ang="0">
                <a:pos x="180" y="108"/>
              </a:cxn>
              <a:cxn ang="0">
                <a:pos x="182" y="90"/>
              </a:cxn>
              <a:cxn ang="0">
                <a:pos x="182" y="90"/>
              </a:cxn>
              <a:cxn ang="0">
                <a:pos x="180" y="72"/>
              </a:cxn>
              <a:cxn ang="0">
                <a:pos x="176" y="54"/>
              </a:cxn>
              <a:cxn ang="0">
                <a:pos x="166" y="40"/>
              </a:cxn>
              <a:cxn ang="0">
                <a:pos x="156" y="26"/>
              </a:cxn>
              <a:cxn ang="0">
                <a:pos x="142" y="14"/>
              </a:cxn>
              <a:cxn ang="0">
                <a:pos x="126" y="6"/>
              </a:cxn>
              <a:cxn ang="0">
                <a:pos x="110" y="2"/>
              </a:cxn>
              <a:cxn ang="0">
                <a:pos x="92" y="0"/>
              </a:cxn>
            </a:cxnLst>
            <a:rect l="0" t="0" r="r" b="b"/>
            <a:pathLst>
              <a:path w="182" h="182">
                <a:moveTo>
                  <a:pt x="92" y="0"/>
                </a:moveTo>
                <a:lnTo>
                  <a:pt x="92" y="0"/>
                </a:lnTo>
                <a:lnTo>
                  <a:pt x="72" y="2"/>
                </a:lnTo>
                <a:lnTo>
                  <a:pt x="56" y="6"/>
                </a:lnTo>
                <a:lnTo>
                  <a:pt x="40" y="14"/>
                </a:lnTo>
                <a:lnTo>
                  <a:pt x="26" y="26"/>
                </a:lnTo>
                <a:lnTo>
                  <a:pt x="16" y="40"/>
                </a:lnTo>
                <a:lnTo>
                  <a:pt x="6" y="54"/>
                </a:lnTo>
                <a:lnTo>
                  <a:pt x="2" y="72"/>
                </a:lnTo>
                <a:lnTo>
                  <a:pt x="0" y="90"/>
                </a:lnTo>
                <a:lnTo>
                  <a:pt x="0" y="90"/>
                </a:lnTo>
                <a:lnTo>
                  <a:pt x="2" y="108"/>
                </a:lnTo>
                <a:lnTo>
                  <a:pt x="6" y="126"/>
                </a:lnTo>
                <a:lnTo>
                  <a:pt x="16" y="142"/>
                </a:lnTo>
                <a:lnTo>
                  <a:pt x="26" y="156"/>
                </a:lnTo>
                <a:lnTo>
                  <a:pt x="40" y="166"/>
                </a:lnTo>
                <a:lnTo>
                  <a:pt x="56" y="174"/>
                </a:lnTo>
                <a:lnTo>
                  <a:pt x="72" y="180"/>
                </a:lnTo>
                <a:lnTo>
                  <a:pt x="92" y="182"/>
                </a:lnTo>
                <a:lnTo>
                  <a:pt x="92" y="182"/>
                </a:lnTo>
                <a:lnTo>
                  <a:pt x="110" y="180"/>
                </a:lnTo>
                <a:lnTo>
                  <a:pt x="126" y="174"/>
                </a:lnTo>
                <a:lnTo>
                  <a:pt x="142" y="166"/>
                </a:lnTo>
                <a:lnTo>
                  <a:pt x="156" y="156"/>
                </a:lnTo>
                <a:lnTo>
                  <a:pt x="166" y="142"/>
                </a:lnTo>
                <a:lnTo>
                  <a:pt x="176" y="126"/>
                </a:lnTo>
                <a:lnTo>
                  <a:pt x="180" y="108"/>
                </a:lnTo>
                <a:lnTo>
                  <a:pt x="182" y="90"/>
                </a:lnTo>
                <a:lnTo>
                  <a:pt x="182" y="90"/>
                </a:lnTo>
                <a:lnTo>
                  <a:pt x="180" y="72"/>
                </a:lnTo>
                <a:lnTo>
                  <a:pt x="176" y="54"/>
                </a:lnTo>
                <a:lnTo>
                  <a:pt x="166" y="40"/>
                </a:lnTo>
                <a:lnTo>
                  <a:pt x="156" y="26"/>
                </a:lnTo>
                <a:lnTo>
                  <a:pt x="142" y="14"/>
                </a:lnTo>
                <a:lnTo>
                  <a:pt x="126" y="6"/>
                </a:lnTo>
                <a:lnTo>
                  <a:pt x="110" y="2"/>
                </a:lnTo>
                <a:lnTo>
                  <a:pt x="92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43" name="Freeform 82"/>
          <p:cNvSpPr>
            <a:spLocks/>
          </p:cNvSpPr>
          <p:nvPr userDrawn="1"/>
        </p:nvSpPr>
        <p:spPr bwMode="auto">
          <a:xfrm>
            <a:off x="592268" y="937602"/>
            <a:ext cx="366641" cy="338438"/>
          </a:xfrm>
          <a:custGeom>
            <a:avLst/>
            <a:gdLst/>
            <a:ahLst/>
            <a:cxnLst>
              <a:cxn ang="0">
                <a:pos x="92" y="0"/>
              </a:cxn>
              <a:cxn ang="0">
                <a:pos x="92" y="0"/>
              </a:cxn>
              <a:cxn ang="0">
                <a:pos x="72" y="2"/>
              </a:cxn>
              <a:cxn ang="0">
                <a:pos x="56" y="6"/>
              </a:cxn>
              <a:cxn ang="0">
                <a:pos x="40" y="14"/>
              </a:cxn>
              <a:cxn ang="0">
                <a:pos x="26" y="26"/>
              </a:cxn>
              <a:cxn ang="0">
                <a:pos x="16" y="40"/>
              </a:cxn>
              <a:cxn ang="0">
                <a:pos x="6" y="54"/>
              </a:cxn>
              <a:cxn ang="0">
                <a:pos x="2" y="72"/>
              </a:cxn>
              <a:cxn ang="0">
                <a:pos x="0" y="90"/>
              </a:cxn>
              <a:cxn ang="0">
                <a:pos x="0" y="90"/>
              </a:cxn>
              <a:cxn ang="0">
                <a:pos x="2" y="108"/>
              </a:cxn>
              <a:cxn ang="0">
                <a:pos x="6" y="126"/>
              </a:cxn>
              <a:cxn ang="0">
                <a:pos x="16" y="142"/>
              </a:cxn>
              <a:cxn ang="0">
                <a:pos x="26" y="156"/>
              </a:cxn>
              <a:cxn ang="0">
                <a:pos x="40" y="166"/>
              </a:cxn>
              <a:cxn ang="0">
                <a:pos x="56" y="174"/>
              </a:cxn>
              <a:cxn ang="0">
                <a:pos x="72" y="180"/>
              </a:cxn>
              <a:cxn ang="0">
                <a:pos x="92" y="182"/>
              </a:cxn>
              <a:cxn ang="0">
                <a:pos x="92" y="182"/>
              </a:cxn>
              <a:cxn ang="0">
                <a:pos x="110" y="180"/>
              </a:cxn>
              <a:cxn ang="0">
                <a:pos x="126" y="174"/>
              </a:cxn>
              <a:cxn ang="0">
                <a:pos x="142" y="166"/>
              </a:cxn>
              <a:cxn ang="0">
                <a:pos x="156" y="156"/>
              </a:cxn>
              <a:cxn ang="0">
                <a:pos x="166" y="142"/>
              </a:cxn>
              <a:cxn ang="0">
                <a:pos x="176" y="126"/>
              </a:cxn>
              <a:cxn ang="0">
                <a:pos x="180" y="108"/>
              </a:cxn>
              <a:cxn ang="0">
                <a:pos x="182" y="90"/>
              </a:cxn>
              <a:cxn ang="0">
                <a:pos x="182" y="90"/>
              </a:cxn>
              <a:cxn ang="0">
                <a:pos x="180" y="72"/>
              </a:cxn>
              <a:cxn ang="0">
                <a:pos x="176" y="54"/>
              </a:cxn>
              <a:cxn ang="0">
                <a:pos x="166" y="40"/>
              </a:cxn>
              <a:cxn ang="0">
                <a:pos x="156" y="26"/>
              </a:cxn>
              <a:cxn ang="0">
                <a:pos x="142" y="14"/>
              </a:cxn>
              <a:cxn ang="0">
                <a:pos x="126" y="6"/>
              </a:cxn>
              <a:cxn ang="0">
                <a:pos x="110" y="2"/>
              </a:cxn>
              <a:cxn ang="0">
                <a:pos x="92" y="0"/>
              </a:cxn>
            </a:cxnLst>
            <a:rect l="0" t="0" r="r" b="b"/>
            <a:pathLst>
              <a:path w="182" h="182">
                <a:moveTo>
                  <a:pt x="92" y="0"/>
                </a:moveTo>
                <a:lnTo>
                  <a:pt x="92" y="0"/>
                </a:lnTo>
                <a:lnTo>
                  <a:pt x="72" y="2"/>
                </a:lnTo>
                <a:lnTo>
                  <a:pt x="56" y="6"/>
                </a:lnTo>
                <a:lnTo>
                  <a:pt x="40" y="14"/>
                </a:lnTo>
                <a:lnTo>
                  <a:pt x="26" y="26"/>
                </a:lnTo>
                <a:lnTo>
                  <a:pt x="16" y="40"/>
                </a:lnTo>
                <a:lnTo>
                  <a:pt x="6" y="54"/>
                </a:lnTo>
                <a:lnTo>
                  <a:pt x="2" y="72"/>
                </a:lnTo>
                <a:lnTo>
                  <a:pt x="0" y="90"/>
                </a:lnTo>
                <a:lnTo>
                  <a:pt x="0" y="90"/>
                </a:lnTo>
                <a:lnTo>
                  <a:pt x="2" y="108"/>
                </a:lnTo>
                <a:lnTo>
                  <a:pt x="6" y="126"/>
                </a:lnTo>
                <a:lnTo>
                  <a:pt x="16" y="142"/>
                </a:lnTo>
                <a:lnTo>
                  <a:pt x="26" y="156"/>
                </a:lnTo>
                <a:lnTo>
                  <a:pt x="40" y="166"/>
                </a:lnTo>
                <a:lnTo>
                  <a:pt x="56" y="174"/>
                </a:lnTo>
                <a:lnTo>
                  <a:pt x="72" y="180"/>
                </a:lnTo>
                <a:lnTo>
                  <a:pt x="92" y="182"/>
                </a:lnTo>
                <a:lnTo>
                  <a:pt x="92" y="182"/>
                </a:lnTo>
                <a:lnTo>
                  <a:pt x="110" y="180"/>
                </a:lnTo>
                <a:lnTo>
                  <a:pt x="126" y="174"/>
                </a:lnTo>
                <a:lnTo>
                  <a:pt x="142" y="166"/>
                </a:lnTo>
                <a:lnTo>
                  <a:pt x="156" y="156"/>
                </a:lnTo>
                <a:lnTo>
                  <a:pt x="166" y="142"/>
                </a:lnTo>
                <a:lnTo>
                  <a:pt x="176" y="126"/>
                </a:lnTo>
                <a:lnTo>
                  <a:pt x="180" y="108"/>
                </a:lnTo>
                <a:lnTo>
                  <a:pt x="182" y="90"/>
                </a:lnTo>
                <a:lnTo>
                  <a:pt x="182" y="90"/>
                </a:lnTo>
                <a:lnTo>
                  <a:pt x="180" y="72"/>
                </a:lnTo>
                <a:lnTo>
                  <a:pt x="176" y="54"/>
                </a:lnTo>
                <a:lnTo>
                  <a:pt x="166" y="40"/>
                </a:lnTo>
                <a:lnTo>
                  <a:pt x="156" y="26"/>
                </a:lnTo>
                <a:lnTo>
                  <a:pt x="142" y="14"/>
                </a:lnTo>
                <a:lnTo>
                  <a:pt x="126" y="6"/>
                </a:lnTo>
                <a:lnTo>
                  <a:pt x="110" y="2"/>
                </a:lnTo>
                <a:lnTo>
                  <a:pt x="9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44" name="Freeform 83"/>
          <p:cNvSpPr>
            <a:spLocks/>
          </p:cNvSpPr>
          <p:nvPr userDrawn="1"/>
        </p:nvSpPr>
        <p:spPr bwMode="auto">
          <a:xfrm>
            <a:off x="2989535" y="517345"/>
            <a:ext cx="612411" cy="565302"/>
          </a:xfrm>
          <a:custGeom>
            <a:avLst/>
            <a:gdLst/>
            <a:ahLst/>
            <a:cxnLst>
              <a:cxn ang="0">
                <a:pos x="152" y="0"/>
              </a:cxn>
              <a:cxn ang="0">
                <a:pos x="122" y="2"/>
              </a:cxn>
              <a:cxn ang="0">
                <a:pos x="94" y="12"/>
              </a:cxn>
              <a:cxn ang="0">
                <a:pos x="68" y="26"/>
              </a:cxn>
              <a:cxn ang="0">
                <a:pos x="46" y="44"/>
              </a:cxn>
              <a:cxn ang="0">
                <a:pos x="26" y="66"/>
              </a:cxn>
              <a:cxn ang="0">
                <a:pos x="12" y="92"/>
              </a:cxn>
              <a:cxn ang="0">
                <a:pos x="4" y="120"/>
              </a:cxn>
              <a:cxn ang="0">
                <a:pos x="0" y="152"/>
              </a:cxn>
              <a:cxn ang="0">
                <a:pos x="2" y="168"/>
              </a:cxn>
              <a:cxn ang="0">
                <a:pos x="8" y="196"/>
              </a:cxn>
              <a:cxn ang="0">
                <a:pos x="20" y="224"/>
              </a:cxn>
              <a:cxn ang="0">
                <a:pos x="36" y="248"/>
              </a:cxn>
              <a:cxn ang="0">
                <a:pos x="56" y="268"/>
              </a:cxn>
              <a:cxn ang="0">
                <a:pos x="80" y="284"/>
              </a:cxn>
              <a:cxn ang="0">
                <a:pos x="108" y="296"/>
              </a:cxn>
              <a:cxn ang="0">
                <a:pos x="136" y="302"/>
              </a:cxn>
              <a:cxn ang="0">
                <a:pos x="152" y="304"/>
              </a:cxn>
              <a:cxn ang="0">
                <a:pos x="184" y="300"/>
              </a:cxn>
              <a:cxn ang="0">
                <a:pos x="212" y="292"/>
              </a:cxn>
              <a:cxn ang="0">
                <a:pos x="238" y="278"/>
              </a:cxn>
              <a:cxn ang="0">
                <a:pos x="260" y="258"/>
              </a:cxn>
              <a:cxn ang="0">
                <a:pos x="278" y="236"/>
              </a:cxn>
              <a:cxn ang="0">
                <a:pos x="292" y="210"/>
              </a:cxn>
              <a:cxn ang="0">
                <a:pos x="302" y="182"/>
              </a:cxn>
              <a:cxn ang="0">
                <a:pos x="304" y="152"/>
              </a:cxn>
              <a:cxn ang="0">
                <a:pos x="304" y="136"/>
              </a:cxn>
              <a:cxn ang="0">
                <a:pos x="298" y="106"/>
              </a:cxn>
              <a:cxn ang="0">
                <a:pos x="286" y="80"/>
              </a:cxn>
              <a:cxn ang="0">
                <a:pos x="270" y="54"/>
              </a:cxn>
              <a:cxn ang="0">
                <a:pos x="250" y="34"/>
              </a:cxn>
              <a:cxn ang="0">
                <a:pos x="224" y="18"/>
              </a:cxn>
              <a:cxn ang="0">
                <a:pos x="198" y="6"/>
              </a:cxn>
              <a:cxn ang="0">
                <a:pos x="168" y="0"/>
              </a:cxn>
            </a:cxnLst>
            <a:rect l="0" t="0" r="r" b="b"/>
            <a:pathLst>
              <a:path w="304" h="304">
                <a:moveTo>
                  <a:pt x="152" y="0"/>
                </a:moveTo>
                <a:lnTo>
                  <a:pt x="152" y="0"/>
                </a:lnTo>
                <a:lnTo>
                  <a:pt x="136" y="0"/>
                </a:lnTo>
                <a:lnTo>
                  <a:pt x="122" y="2"/>
                </a:lnTo>
                <a:lnTo>
                  <a:pt x="108" y="6"/>
                </a:lnTo>
                <a:lnTo>
                  <a:pt x="94" y="12"/>
                </a:lnTo>
                <a:lnTo>
                  <a:pt x="80" y="18"/>
                </a:lnTo>
                <a:lnTo>
                  <a:pt x="68" y="26"/>
                </a:lnTo>
                <a:lnTo>
                  <a:pt x="56" y="34"/>
                </a:lnTo>
                <a:lnTo>
                  <a:pt x="46" y="44"/>
                </a:lnTo>
                <a:lnTo>
                  <a:pt x="36" y="54"/>
                </a:lnTo>
                <a:lnTo>
                  <a:pt x="26" y="66"/>
                </a:lnTo>
                <a:lnTo>
                  <a:pt x="20" y="80"/>
                </a:lnTo>
                <a:lnTo>
                  <a:pt x="12" y="92"/>
                </a:lnTo>
                <a:lnTo>
                  <a:pt x="8" y="106"/>
                </a:lnTo>
                <a:lnTo>
                  <a:pt x="4" y="120"/>
                </a:lnTo>
                <a:lnTo>
                  <a:pt x="2" y="136"/>
                </a:lnTo>
                <a:lnTo>
                  <a:pt x="0" y="152"/>
                </a:lnTo>
                <a:lnTo>
                  <a:pt x="0" y="152"/>
                </a:lnTo>
                <a:lnTo>
                  <a:pt x="2" y="168"/>
                </a:lnTo>
                <a:lnTo>
                  <a:pt x="4" y="182"/>
                </a:lnTo>
                <a:lnTo>
                  <a:pt x="8" y="196"/>
                </a:lnTo>
                <a:lnTo>
                  <a:pt x="12" y="210"/>
                </a:lnTo>
                <a:lnTo>
                  <a:pt x="20" y="224"/>
                </a:lnTo>
                <a:lnTo>
                  <a:pt x="26" y="236"/>
                </a:lnTo>
                <a:lnTo>
                  <a:pt x="36" y="248"/>
                </a:lnTo>
                <a:lnTo>
                  <a:pt x="46" y="258"/>
                </a:lnTo>
                <a:lnTo>
                  <a:pt x="56" y="268"/>
                </a:lnTo>
                <a:lnTo>
                  <a:pt x="68" y="278"/>
                </a:lnTo>
                <a:lnTo>
                  <a:pt x="80" y="284"/>
                </a:lnTo>
                <a:lnTo>
                  <a:pt x="94" y="292"/>
                </a:lnTo>
                <a:lnTo>
                  <a:pt x="108" y="296"/>
                </a:lnTo>
                <a:lnTo>
                  <a:pt x="122" y="300"/>
                </a:lnTo>
                <a:lnTo>
                  <a:pt x="136" y="302"/>
                </a:lnTo>
                <a:lnTo>
                  <a:pt x="152" y="304"/>
                </a:lnTo>
                <a:lnTo>
                  <a:pt x="152" y="304"/>
                </a:lnTo>
                <a:lnTo>
                  <a:pt x="168" y="302"/>
                </a:lnTo>
                <a:lnTo>
                  <a:pt x="184" y="300"/>
                </a:lnTo>
                <a:lnTo>
                  <a:pt x="198" y="296"/>
                </a:lnTo>
                <a:lnTo>
                  <a:pt x="212" y="292"/>
                </a:lnTo>
                <a:lnTo>
                  <a:pt x="224" y="284"/>
                </a:lnTo>
                <a:lnTo>
                  <a:pt x="238" y="278"/>
                </a:lnTo>
                <a:lnTo>
                  <a:pt x="250" y="268"/>
                </a:lnTo>
                <a:lnTo>
                  <a:pt x="260" y="258"/>
                </a:lnTo>
                <a:lnTo>
                  <a:pt x="270" y="248"/>
                </a:lnTo>
                <a:lnTo>
                  <a:pt x="278" y="236"/>
                </a:lnTo>
                <a:lnTo>
                  <a:pt x="286" y="224"/>
                </a:lnTo>
                <a:lnTo>
                  <a:pt x="292" y="210"/>
                </a:lnTo>
                <a:lnTo>
                  <a:pt x="298" y="196"/>
                </a:lnTo>
                <a:lnTo>
                  <a:pt x="302" y="182"/>
                </a:lnTo>
                <a:lnTo>
                  <a:pt x="304" y="168"/>
                </a:lnTo>
                <a:lnTo>
                  <a:pt x="304" y="152"/>
                </a:lnTo>
                <a:lnTo>
                  <a:pt x="304" y="152"/>
                </a:lnTo>
                <a:lnTo>
                  <a:pt x="304" y="136"/>
                </a:lnTo>
                <a:lnTo>
                  <a:pt x="302" y="120"/>
                </a:lnTo>
                <a:lnTo>
                  <a:pt x="298" y="106"/>
                </a:lnTo>
                <a:lnTo>
                  <a:pt x="292" y="92"/>
                </a:lnTo>
                <a:lnTo>
                  <a:pt x="286" y="80"/>
                </a:lnTo>
                <a:lnTo>
                  <a:pt x="278" y="66"/>
                </a:lnTo>
                <a:lnTo>
                  <a:pt x="270" y="54"/>
                </a:lnTo>
                <a:lnTo>
                  <a:pt x="260" y="44"/>
                </a:lnTo>
                <a:lnTo>
                  <a:pt x="250" y="34"/>
                </a:lnTo>
                <a:lnTo>
                  <a:pt x="238" y="26"/>
                </a:lnTo>
                <a:lnTo>
                  <a:pt x="224" y="18"/>
                </a:lnTo>
                <a:lnTo>
                  <a:pt x="212" y="12"/>
                </a:lnTo>
                <a:lnTo>
                  <a:pt x="198" y="6"/>
                </a:lnTo>
                <a:lnTo>
                  <a:pt x="184" y="2"/>
                </a:lnTo>
                <a:lnTo>
                  <a:pt x="168" y="0"/>
                </a:lnTo>
                <a:lnTo>
                  <a:pt x="152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45" name="Freeform 84"/>
          <p:cNvSpPr>
            <a:spLocks/>
          </p:cNvSpPr>
          <p:nvPr userDrawn="1"/>
        </p:nvSpPr>
        <p:spPr bwMode="auto">
          <a:xfrm>
            <a:off x="2989535" y="517345"/>
            <a:ext cx="612411" cy="565302"/>
          </a:xfrm>
          <a:custGeom>
            <a:avLst/>
            <a:gdLst/>
            <a:ahLst/>
            <a:cxnLst>
              <a:cxn ang="0">
                <a:pos x="152" y="0"/>
              </a:cxn>
              <a:cxn ang="0">
                <a:pos x="122" y="2"/>
              </a:cxn>
              <a:cxn ang="0">
                <a:pos x="94" y="12"/>
              </a:cxn>
              <a:cxn ang="0">
                <a:pos x="68" y="26"/>
              </a:cxn>
              <a:cxn ang="0">
                <a:pos x="46" y="44"/>
              </a:cxn>
              <a:cxn ang="0">
                <a:pos x="26" y="66"/>
              </a:cxn>
              <a:cxn ang="0">
                <a:pos x="12" y="92"/>
              </a:cxn>
              <a:cxn ang="0">
                <a:pos x="4" y="120"/>
              </a:cxn>
              <a:cxn ang="0">
                <a:pos x="0" y="152"/>
              </a:cxn>
              <a:cxn ang="0">
                <a:pos x="2" y="168"/>
              </a:cxn>
              <a:cxn ang="0">
                <a:pos x="8" y="196"/>
              </a:cxn>
              <a:cxn ang="0">
                <a:pos x="20" y="224"/>
              </a:cxn>
              <a:cxn ang="0">
                <a:pos x="36" y="248"/>
              </a:cxn>
              <a:cxn ang="0">
                <a:pos x="56" y="268"/>
              </a:cxn>
              <a:cxn ang="0">
                <a:pos x="80" y="284"/>
              </a:cxn>
              <a:cxn ang="0">
                <a:pos x="108" y="296"/>
              </a:cxn>
              <a:cxn ang="0">
                <a:pos x="136" y="302"/>
              </a:cxn>
              <a:cxn ang="0">
                <a:pos x="152" y="304"/>
              </a:cxn>
              <a:cxn ang="0">
                <a:pos x="184" y="300"/>
              </a:cxn>
              <a:cxn ang="0">
                <a:pos x="212" y="292"/>
              </a:cxn>
              <a:cxn ang="0">
                <a:pos x="238" y="278"/>
              </a:cxn>
              <a:cxn ang="0">
                <a:pos x="260" y="258"/>
              </a:cxn>
              <a:cxn ang="0">
                <a:pos x="278" y="236"/>
              </a:cxn>
              <a:cxn ang="0">
                <a:pos x="292" y="210"/>
              </a:cxn>
              <a:cxn ang="0">
                <a:pos x="302" y="182"/>
              </a:cxn>
              <a:cxn ang="0">
                <a:pos x="304" y="152"/>
              </a:cxn>
              <a:cxn ang="0">
                <a:pos x="304" y="136"/>
              </a:cxn>
              <a:cxn ang="0">
                <a:pos x="298" y="106"/>
              </a:cxn>
              <a:cxn ang="0">
                <a:pos x="286" y="80"/>
              </a:cxn>
              <a:cxn ang="0">
                <a:pos x="270" y="54"/>
              </a:cxn>
              <a:cxn ang="0">
                <a:pos x="250" y="34"/>
              </a:cxn>
              <a:cxn ang="0">
                <a:pos x="224" y="18"/>
              </a:cxn>
              <a:cxn ang="0">
                <a:pos x="198" y="6"/>
              </a:cxn>
              <a:cxn ang="0">
                <a:pos x="168" y="0"/>
              </a:cxn>
            </a:cxnLst>
            <a:rect l="0" t="0" r="r" b="b"/>
            <a:pathLst>
              <a:path w="304" h="304">
                <a:moveTo>
                  <a:pt x="152" y="0"/>
                </a:moveTo>
                <a:lnTo>
                  <a:pt x="152" y="0"/>
                </a:lnTo>
                <a:lnTo>
                  <a:pt x="136" y="0"/>
                </a:lnTo>
                <a:lnTo>
                  <a:pt x="122" y="2"/>
                </a:lnTo>
                <a:lnTo>
                  <a:pt x="108" y="6"/>
                </a:lnTo>
                <a:lnTo>
                  <a:pt x="94" y="12"/>
                </a:lnTo>
                <a:lnTo>
                  <a:pt x="80" y="18"/>
                </a:lnTo>
                <a:lnTo>
                  <a:pt x="68" y="26"/>
                </a:lnTo>
                <a:lnTo>
                  <a:pt x="56" y="34"/>
                </a:lnTo>
                <a:lnTo>
                  <a:pt x="46" y="44"/>
                </a:lnTo>
                <a:lnTo>
                  <a:pt x="36" y="54"/>
                </a:lnTo>
                <a:lnTo>
                  <a:pt x="26" y="66"/>
                </a:lnTo>
                <a:lnTo>
                  <a:pt x="20" y="80"/>
                </a:lnTo>
                <a:lnTo>
                  <a:pt x="12" y="92"/>
                </a:lnTo>
                <a:lnTo>
                  <a:pt x="8" y="106"/>
                </a:lnTo>
                <a:lnTo>
                  <a:pt x="4" y="120"/>
                </a:lnTo>
                <a:lnTo>
                  <a:pt x="2" y="136"/>
                </a:lnTo>
                <a:lnTo>
                  <a:pt x="0" y="152"/>
                </a:lnTo>
                <a:lnTo>
                  <a:pt x="0" y="152"/>
                </a:lnTo>
                <a:lnTo>
                  <a:pt x="2" y="168"/>
                </a:lnTo>
                <a:lnTo>
                  <a:pt x="4" y="182"/>
                </a:lnTo>
                <a:lnTo>
                  <a:pt x="8" y="196"/>
                </a:lnTo>
                <a:lnTo>
                  <a:pt x="12" y="210"/>
                </a:lnTo>
                <a:lnTo>
                  <a:pt x="20" y="224"/>
                </a:lnTo>
                <a:lnTo>
                  <a:pt x="26" y="236"/>
                </a:lnTo>
                <a:lnTo>
                  <a:pt x="36" y="248"/>
                </a:lnTo>
                <a:lnTo>
                  <a:pt x="46" y="258"/>
                </a:lnTo>
                <a:lnTo>
                  <a:pt x="56" y="268"/>
                </a:lnTo>
                <a:lnTo>
                  <a:pt x="68" y="278"/>
                </a:lnTo>
                <a:lnTo>
                  <a:pt x="80" y="284"/>
                </a:lnTo>
                <a:lnTo>
                  <a:pt x="94" y="292"/>
                </a:lnTo>
                <a:lnTo>
                  <a:pt x="108" y="296"/>
                </a:lnTo>
                <a:lnTo>
                  <a:pt x="122" y="300"/>
                </a:lnTo>
                <a:lnTo>
                  <a:pt x="136" y="302"/>
                </a:lnTo>
                <a:lnTo>
                  <a:pt x="152" y="304"/>
                </a:lnTo>
                <a:lnTo>
                  <a:pt x="152" y="304"/>
                </a:lnTo>
                <a:lnTo>
                  <a:pt x="168" y="302"/>
                </a:lnTo>
                <a:lnTo>
                  <a:pt x="184" y="300"/>
                </a:lnTo>
                <a:lnTo>
                  <a:pt x="198" y="296"/>
                </a:lnTo>
                <a:lnTo>
                  <a:pt x="212" y="292"/>
                </a:lnTo>
                <a:lnTo>
                  <a:pt x="224" y="284"/>
                </a:lnTo>
                <a:lnTo>
                  <a:pt x="238" y="278"/>
                </a:lnTo>
                <a:lnTo>
                  <a:pt x="250" y="268"/>
                </a:lnTo>
                <a:lnTo>
                  <a:pt x="260" y="258"/>
                </a:lnTo>
                <a:lnTo>
                  <a:pt x="270" y="248"/>
                </a:lnTo>
                <a:lnTo>
                  <a:pt x="278" y="236"/>
                </a:lnTo>
                <a:lnTo>
                  <a:pt x="286" y="224"/>
                </a:lnTo>
                <a:lnTo>
                  <a:pt x="292" y="210"/>
                </a:lnTo>
                <a:lnTo>
                  <a:pt x="298" y="196"/>
                </a:lnTo>
                <a:lnTo>
                  <a:pt x="302" y="182"/>
                </a:lnTo>
                <a:lnTo>
                  <a:pt x="304" y="168"/>
                </a:lnTo>
                <a:lnTo>
                  <a:pt x="304" y="152"/>
                </a:lnTo>
                <a:lnTo>
                  <a:pt x="304" y="152"/>
                </a:lnTo>
                <a:lnTo>
                  <a:pt x="304" y="136"/>
                </a:lnTo>
                <a:lnTo>
                  <a:pt x="302" y="120"/>
                </a:lnTo>
                <a:lnTo>
                  <a:pt x="298" y="106"/>
                </a:lnTo>
                <a:lnTo>
                  <a:pt x="292" y="92"/>
                </a:lnTo>
                <a:lnTo>
                  <a:pt x="286" y="80"/>
                </a:lnTo>
                <a:lnTo>
                  <a:pt x="278" y="66"/>
                </a:lnTo>
                <a:lnTo>
                  <a:pt x="270" y="54"/>
                </a:lnTo>
                <a:lnTo>
                  <a:pt x="260" y="44"/>
                </a:lnTo>
                <a:lnTo>
                  <a:pt x="250" y="34"/>
                </a:lnTo>
                <a:lnTo>
                  <a:pt x="238" y="26"/>
                </a:lnTo>
                <a:lnTo>
                  <a:pt x="224" y="18"/>
                </a:lnTo>
                <a:lnTo>
                  <a:pt x="212" y="12"/>
                </a:lnTo>
                <a:lnTo>
                  <a:pt x="198" y="6"/>
                </a:lnTo>
                <a:lnTo>
                  <a:pt x="184" y="2"/>
                </a:lnTo>
                <a:lnTo>
                  <a:pt x="168" y="0"/>
                </a:lnTo>
                <a:lnTo>
                  <a:pt x="15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46" name="Freeform 85"/>
          <p:cNvSpPr>
            <a:spLocks/>
          </p:cNvSpPr>
          <p:nvPr userDrawn="1"/>
        </p:nvSpPr>
        <p:spPr bwMode="auto">
          <a:xfrm>
            <a:off x="2759886" y="1517794"/>
            <a:ext cx="112813" cy="104135"/>
          </a:xfrm>
          <a:custGeom>
            <a:avLst/>
            <a:gdLst/>
            <a:ahLst/>
            <a:cxnLst>
              <a:cxn ang="0">
                <a:pos x="28" y="0"/>
              </a:cxn>
              <a:cxn ang="0">
                <a:pos x="28" y="0"/>
              </a:cxn>
              <a:cxn ang="0">
                <a:pos x="18" y="2"/>
              </a:cxn>
              <a:cxn ang="0">
                <a:pos x="8" y="8"/>
              </a:cxn>
              <a:cxn ang="0">
                <a:pos x="2" y="16"/>
              </a:cxn>
              <a:cxn ang="0">
                <a:pos x="0" y="28"/>
              </a:cxn>
              <a:cxn ang="0">
                <a:pos x="0" y="28"/>
              </a:cxn>
              <a:cxn ang="0">
                <a:pos x="2" y="38"/>
              </a:cxn>
              <a:cxn ang="0">
                <a:pos x="8" y="46"/>
              </a:cxn>
              <a:cxn ang="0">
                <a:pos x="18" y="52"/>
              </a:cxn>
              <a:cxn ang="0">
                <a:pos x="28" y="56"/>
              </a:cxn>
              <a:cxn ang="0">
                <a:pos x="28" y="56"/>
              </a:cxn>
              <a:cxn ang="0">
                <a:pos x="38" y="52"/>
              </a:cxn>
              <a:cxn ang="0">
                <a:pos x="48" y="46"/>
              </a:cxn>
              <a:cxn ang="0">
                <a:pos x="54" y="38"/>
              </a:cxn>
              <a:cxn ang="0">
                <a:pos x="56" y="28"/>
              </a:cxn>
              <a:cxn ang="0">
                <a:pos x="56" y="28"/>
              </a:cxn>
              <a:cxn ang="0">
                <a:pos x="54" y="16"/>
              </a:cxn>
              <a:cxn ang="0">
                <a:pos x="48" y="8"/>
              </a:cxn>
              <a:cxn ang="0">
                <a:pos x="38" y="2"/>
              </a:cxn>
              <a:cxn ang="0">
                <a:pos x="28" y="0"/>
              </a:cxn>
            </a:cxnLst>
            <a:rect l="0" t="0" r="r" b="b"/>
            <a:pathLst>
              <a:path w="56" h="56">
                <a:moveTo>
                  <a:pt x="28" y="0"/>
                </a:moveTo>
                <a:lnTo>
                  <a:pt x="28" y="0"/>
                </a:lnTo>
                <a:lnTo>
                  <a:pt x="18" y="2"/>
                </a:lnTo>
                <a:lnTo>
                  <a:pt x="8" y="8"/>
                </a:lnTo>
                <a:lnTo>
                  <a:pt x="2" y="16"/>
                </a:lnTo>
                <a:lnTo>
                  <a:pt x="0" y="28"/>
                </a:lnTo>
                <a:lnTo>
                  <a:pt x="0" y="28"/>
                </a:lnTo>
                <a:lnTo>
                  <a:pt x="2" y="38"/>
                </a:lnTo>
                <a:lnTo>
                  <a:pt x="8" y="46"/>
                </a:lnTo>
                <a:lnTo>
                  <a:pt x="18" y="52"/>
                </a:lnTo>
                <a:lnTo>
                  <a:pt x="28" y="56"/>
                </a:lnTo>
                <a:lnTo>
                  <a:pt x="28" y="56"/>
                </a:lnTo>
                <a:lnTo>
                  <a:pt x="38" y="52"/>
                </a:lnTo>
                <a:lnTo>
                  <a:pt x="48" y="46"/>
                </a:lnTo>
                <a:lnTo>
                  <a:pt x="54" y="38"/>
                </a:lnTo>
                <a:lnTo>
                  <a:pt x="56" y="28"/>
                </a:lnTo>
                <a:lnTo>
                  <a:pt x="56" y="28"/>
                </a:lnTo>
                <a:lnTo>
                  <a:pt x="54" y="16"/>
                </a:lnTo>
                <a:lnTo>
                  <a:pt x="48" y="8"/>
                </a:lnTo>
                <a:lnTo>
                  <a:pt x="38" y="2"/>
                </a:lnTo>
                <a:lnTo>
                  <a:pt x="28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47" name="Freeform 86"/>
          <p:cNvSpPr>
            <a:spLocks/>
          </p:cNvSpPr>
          <p:nvPr userDrawn="1"/>
        </p:nvSpPr>
        <p:spPr bwMode="auto">
          <a:xfrm>
            <a:off x="2759886" y="1517794"/>
            <a:ext cx="112813" cy="104135"/>
          </a:xfrm>
          <a:custGeom>
            <a:avLst/>
            <a:gdLst/>
            <a:ahLst/>
            <a:cxnLst>
              <a:cxn ang="0">
                <a:pos x="28" y="0"/>
              </a:cxn>
              <a:cxn ang="0">
                <a:pos x="28" y="0"/>
              </a:cxn>
              <a:cxn ang="0">
                <a:pos x="18" y="2"/>
              </a:cxn>
              <a:cxn ang="0">
                <a:pos x="8" y="8"/>
              </a:cxn>
              <a:cxn ang="0">
                <a:pos x="2" y="16"/>
              </a:cxn>
              <a:cxn ang="0">
                <a:pos x="0" y="28"/>
              </a:cxn>
              <a:cxn ang="0">
                <a:pos x="0" y="28"/>
              </a:cxn>
              <a:cxn ang="0">
                <a:pos x="2" y="38"/>
              </a:cxn>
              <a:cxn ang="0">
                <a:pos x="8" y="46"/>
              </a:cxn>
              <a:cxn ang="0">
                <a:pos x="18" y="52"/>
              </a:cxn>
              <a:cxn ang="0">
                <a:pos x="28" y="56"/>
              </a:cxn>
              <a:cxn ang="0">
                <a:pos x="28" y="56"/>
              </a:cxn>
              <a:cxn ang="0">
                <a:pos x="38" y="52"/>
              </a:cxn>
              <a:cxn ang="0">
                <a:pos x="48" y="46"/>
              </a:cxn>
              <a:cxn ang="0">
                <a:pos x="54" y="38"/>
              </a:cxn>
              <a:cxn ang="0">
                <a:pos x="56" y="28"/>
              </a:cxn>
              <a:cxn ang="0">
                <a:pos x="56" y="28"/>
              </a:cxn>
              <a:cxn ang="0">
                <a:pos x="54" y="16"/>
              </a:cxn>
              <a:cxn ang="0">
                <a:pos x="48" y="8"/>
              </a:cxn>
              <a:cxn ang="0">
                <a:pos x="38" y="2"/>
              </a:cxn>
              <a:cxn ang="0">
                <a:pos x="28" y="0"/>
              </a:cxn>
            </a:cxnLst>
            <a:rect l="0" t="0" r="r" b="b"/>
            <a:pathLst>
              <a:path w="56" h="56">
                <a:moveTo>
                  <a:pt x="28" y="0"/>
                </a:moveTo>
                <a:lnTo>
                  <a:pt x="28" y="0"/>
                </a:lnTo>
                <a:lnTo>
                  <a:pt x="18" y="2"/>
                </a:lnTo>
                <a:lnTo>
                  <a:pt x="8" y="8"/>
                </a:lnTo>
                <a:lnTo>
                  <a:pt x="2" y="16"/>
                </a:lnTo>
                <a:lnTo>
                  <a:pt x="0" y="28"/>
                </a:lnTo>
                <a:lnTo>
                  <a:pt x="0" y="28"/>
                </a:lnTo>
                <a:lnTo>
                  <a:pt x="2" y="38"/>
                </a:lnTo>
                <a:lnTo>
                  <a:pt x="8" y="46"/>
                </a:lnTo>
                <a:lnTo>
                  <a:pt x="18" y="52"/>
                </a:lnTo>
                <a:lnTo>
                  <a:pt x="28" y="56"/>
                </a:lnTo>
                <a:lnTo>
                  <a:pt x="28" y="56"/>
                </a:lnTo>
                <a:lnTo>
                  <a:pt x="38" y="52"/>
                </a:lnTo>
                <a:lnTo>
                  <a:pt x="48" y="46"/>
                </a:lnTo>
                <a:lnTo>
                  <a:pt x="54" y="38"/>
                </a:lnTo>
                <a:lnTo>
                  <a:pt x="56" y="28"/>
                </a:lnTo>
                <a:lnTo>
                  <a:pt x="56" y="28"/>
                </a:lnTo>
                <a:lnTo>
                  <a:pt x="54" y="16"/>
                </a:lnTo>
                <a:lnTo>
                  <a:pt x="48" y="8"/>
                </a:lnTo>
                <a:lnTo>
                  <a:pt x="38" y="2"/>
                </a:lnTo>
                <a:lnTo>
                  <a:pt x="28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48" name="Freeform 87"/>
          <p:cNvSpPr>
            <a:spLocks/>
          </p:cNvSpPr>
          <p:nvPr userDrawn="1"/>
        </p:nvSpPr>
        <p:spPr bwMode="auto">
          <a:xfrm>
            <a:off x="1506854" y="59909"/>
            <a:ext cx="157132" cy="145045"/>
          </a:xfrm>
          <a:custGeom>
            <a:avLst/>
            <a:gdLst/>
            <a:ahLst/>
            <a:cxnLst>
              <a:cxn ang="0">
                <a:pos x="40" y="0"/>
              </a:cxn>
              <a:cxn ang="0">
                <a:pos x="40" y="0"/>
              </a:cxn>
              <a:cxn ang="0">
                <a:pos x="32" y="0"/>
              </a:cxn>
              <a:cxn ang="0">
                <a:pos x="24" y="2"/>
              </a:cxn>
              <a:cxn ang="0">
                <a:pos x="18" y="6"/>
              </a:cxn>
              <a:cxn ang="0">
                <a:pos x="12" y="10"/>
              </a:cxn>
              <a:cxn ang="0">
                <a:pos x="8" y="16"/>
              </a:cxn>
              <a:cxn ang="0">
                <a:pos x="4" y="24"/>
              </a:cxn>
              <a:cxn ang="0">
                <a:pos x="2" y="30"/>
              </a:cxn>
              <a:cxn ang="0">
                <a:pos x="0" y="38"/>
              </a:cxn>
              <a:cxn ang="0">
                <a:pos x="0" y="38"/>
              </a:cxn>
              <a:cxn ang="0">
                <a:pos x="2" y="46"/>
              </a:cxn>
              <a:cxn ang="0">
                <a:pos x="4" y="54"/>
              </a:cxn>
              <a:cxn ang="0">
                <a:pos x="8" y="60"/>
              </a:cxn>
              <a:cxn ang="0">
                <a:pos x="12" y="66"/>
              </a:cxn>
              <a:cxn ang="0">
                <a:pos x="18" y="70"/>
              </a:cxn>
              <a:cxn ang="0">
                <a:pos x="24" y="74"/>
              </a:cxn>
              <a:cxn ang="0">
                <a:pos x="32" y="76"/>
              </a:cxn>
              <a:cxn ang="0">
                <a:pos x="40" y="78"/>
              </a:cxn>
              <a:cxn ang="0">
                <a:pos x="40" y="78"/>
              </a:cxn>
              <a:cxn ang="0">
                <a:pos x="48" y="76"/>
              </a:cxn>
              <a:cxn ang="0">
                <a:pos x="56" y="74"/>
              </a:cxn>
              <a:cxn ang="0">
                <a:pos x="62" y="70"/>
              </a:cxn>
              <a:cxn ang="0">
                <a:pos x="68" y="66"/>
              </a:cxn>
              <a:cxn ang="0">
                <a:pos x="72" y="60"/>
              </a:cxn>
              <a:cxn ang="0">
                <a:pos x="76" y="54"/>
              </a:cxn>
              <a:cxn ang="0">
                <a:pos x="78" y="46"/>
              </a:cxn>
              <a:cxn ang="0">
                <a:pos x="78" y="38"/>
              </a:cxn>
              <a:cxn ang="0">
                <a:pos x="78" y="38"/>
              </a:cxn>
              <a:cxn ang="0">
                <a:pos x="78" y="30"/>
              </a:cxn>
              <a:cxn ang="0">
                <a:pos x="76" y="24"/>
              </a:cxn>
              <a:cxn ang="0">
                <a:pos x="72" y="16"/>
              </a:cxn>
              <a:cxn ang="0">
                <a:pos x="68" y="10"/>
              </a:cxn>
              <a:cxn ang="0">
                <a:pos x="62" y="6"/>
              </a:cxn>
              <a:cxn ang="0">
                <a:pos x="56" y="2"/>
              </a:cxn>
              <a:cxn ang="0">
                <a:pos x="48" y="0"/>
              </a:cxn>
              <a:cxn ang="0">
                <a:pos x="40" y="0"/>
              </a:cxn>
            </a:cxnLst>
            <a:rect l="0" t="0" r="r" b="b"/>
            <a:pathLst>
              <a:path w="78" h="78">
                <a:moveTo>
                  <a:pt x="40" y="0"/>
                </a:moveTo>
                <a:lnTo>
                  <a:pt x="40" y="0"/>
                </a:lnTo>
                <a:lnTo>
                  <a:pt x="32" y="0"/>
                </a:lnTo>
                <a:lnTo>
                  <a:pt x="24" y="2"/>
                </a:lnTo>
                <a:lnTo>
                  <a:pt x="18" y="6"/>
                </a:lnTo>
                <a:lnTo>
                  <a:pt x="12" y="10"/>
                </a:lnTo>
                <a:lnTo>
                  <a:pt x="8" y="16"/>
                </a:lnTo>
                <a:lnTo>
                  <a:pt x="4" y="24"/>
                </a:lnTo>
                <a:lnTo>
                  <a:pt x="2" y="30"/>
                </a:lnTo>
                <a:lnTo>
                  <a:pt x="0" y="38"/>
                </a:lnTo>
                <a:lnTo>
                  <a:pt x="0" y="38"/>
                </a:lnTo>
                <a:lnTo>
                  <a:pt x="2" y="46"/>
                </a:lnTo>
                <a:lnTo>
                  <a:pt x="4" y="54"/>
                </a:lnTo>
                <a:lnTo>
                  <a:pt x="8" y="60"/>
                </a:lnTo>
                <a:lnTo>
                  <a:pt x="12" y="66"/>
                </a:lnTo>
                <a:lnTo>
                  <a:pt x="18" y="70"/>
                </a:lnTo>
                <a:lnTo>
                  <a:pt x="24" y="74"/>
                </a:lnTo>
                <a:lnTo>
                  <a:pt x="32" y="76"/>
                </a:lnTo>
                <a:lnTo>
                  <a:pt x="40" y="78"/>
                </a:lnTo>
                <a:lnTo>
                  <a:pt x="40" y="78"/>
                </a:lnTo>
                <a:lnTo>
                  <a:pt x="48" y="76"/>
                </a:lnTo>
                <a:lnTo>
                  <a:pt x="56" y="74"/>
                </a:lnTo>
                <a:lnTo>
                  <a:pt x="62" y="70"/>
                </a:lnTo>
                <a:lnTo>
                  <a:pt x="68" y="66"/>
                </a:lnTo>
                <a:lnTo>
                  <a:pt x="72" y="60"/>
                </a:lnTo>
                <a:lnTo>
                  <a:pt x="76" y="54"/>
                </a:lnTo>
                <a:lnTo>
                  <a:pt x="78" y="46"/>
                </a:lnTo>
                <a:lnTo>
                  <a:pt x="78" y="38"/>
                </a:lnTo>
                <a:lnTo>
                  <a:pt x="78" y="38"/>
                </a:lnTo>
                <a:lnTo>
                  <a:pt x="78" y="30"/>
                </a:lnTo>
                <a:lnTo>
                  <a:pt x="76" y="24"/>
                </a:lnTo>
                <a:lnTo>
                  <a:pt x="72" y="16"/>
                </a:lnTo>
                <a:lnTo>
                  <a:pt x="68" y="10"/>
                </a:lnTo>
                <a:lnTo>
                  <a:pt x="62" y="6"/>
                </a:lnTo>
                <a:lnTo>
                  <a:pt x="56" y="2"/>
                </a:lnTo>
                <a:lnTo>
                  <a:pt x="48" y="0"/>
                </a:lnTo>
                <a:lnTo>
                  <a:pt x="40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49" name="Freeform 88"/>
          <p:cNvSpPr>
            <a:spLocks/>
          </p:cNvSpPr>
          <p:nvPr userDrawn="1"/>
        </p:nvSpPr>
        <p:spPr bwMode="auto">
          <a:xfrm>
            <a:off x="1506854" y="59909"/>
            <a:ext cx="157132" cy="145045"/>
          </a:xfrm>
          <a:custGeom>
            <a:avLst/>
            <a:gdLst/>
            <a:ahLst/>
            <a:cxnLst>
              <a:cxn ang="0">
                <a:pos x="40" y="0"/>
              </a:cxn>
              <a:cxn ang="0">
                <a:pos x="40" y="0"/>
              </a:cxn>
              <a:cxn ang="0">
                <a:pos x="32" y="0"/>
              </a:cxn>
              <a:cxn ang="0">
                <a:pos x="24" y="2"/>
              </a:cxn>
              <a:cxn ang="0">
                <a:pos x="18" y="6"/>
              </a:cxn>
              <a:cxn ang="0">
                <a:pos x="12" y="10"/>
              </a:cxn>
              <a:cxn ang="0">
                <a:pos x="8" y="16"/>
              </a:cxn>
              <a:cxn ang="0">
                <a:pos x="4" y="24"/>
              </a:cxn>
              <a:cxn ang="0">
                <a:pos x="2" y="30"/>
              </a:cxn>
              <a:cxn ang="0">
                <a:pos x="0" y="38"/>
              </a:cxn>
              <a:cxn ang="0">
                <a:pos x="0" y="38"/>
              </a:cxn>
              <a:cxn ang="0">
                <a:pos x="2" y="46"/>
              </a:cxn>
              <a:cxn ang="0">
                <a:pos x="4" y="54"/>
              </a:cxn>
              <a:cxn ang="0">
                <a:pos x="8" y="60"/>
              </a:cxn>
              <a:cxn ang="0">
                <a:pos x="12" y="66"/>
              </a:cxn>
              <a:cxn ang="0">
                <a:pos x="18" y="70"/>
              </a:cxn>
              <a:cxn ang="0">
                <a:pos x="24" y="74"/>
              </a:cxn>
              <a:cxn ang="0">
                <a:pos x="32" y="76"/>
              </a:cxn>
              <a:cxn ang="0">
                <a:pos x="40" y="78"/>
              </a:cxn>
              <a:cxn ang="0">
                <a:pos x="40" y="78"/>
              </a:cxn>
              <a:cxn ang="0">
                <a:pos x="48" y="76"/>
              </a:cxn>
              <a:cxn ang="0">
                <a:pos x="56" y="74"/>
              </a:cxn>
              <a:cxn ang="0">
                <a:pos x="62" y="70"/>
              </a:cxn>
              <a:cxn ang="0">
                <a:pos x="68" y="66"/>
              </a:cxn>
              <a:cxn ang="0">
                <a:pos x="72" y="60"/>
              </a:cxn>
              <a:cxn ang="0">
                <a:pos x="76" y="54"/>
              </a:cxn>
              <a:cxn ang="0">
                <a:pos x="78" y="46"/>
              </a:cxn>
              <a:cxn ang="0">
                <a:pos x="78" y="38"/>
              </a:cxn>
              <a:cxn ang="0">
                <a:pos x="78" y="38"/>
              </a:cxn>
              <a:cxn ang="0">
                <a:pos x="78" y="30"/>
              </a:cxn>
              <a:cxn ang="0">
                <a:pos x="76" y="24"/>
              </a:cxn>
              <a:cxn ang="0">
                <a:pos x="72" y="16"/>
              </a:cxn>
              <a:cxn ang="0">
                <a:pos x="68" y="10"/>
              </a:cxn>
              <a:cxn ang="0">
                <a:pos x="62" y="6"/>
              </a:cxn>
              <a:cxn ang="0">
                <a:pos x="56" y="2"/>
              </a:cxn>
              <a:cxn ang="0">
                <a:pos x="48" y="0"/>
              </a:cxn>
              <a:cxn ang="0">
                <a:pos x="40" y="0"/>
              </a:cxn>
            </a:cxnLst>
            <a:rect l="0" t="0" r="r" b="b"/>
            <a:pathLst>
              <a:path w="78" h="78">
                <a:moveTo>
                  <a:pt x="40" y="0"/>
                </a:moveTo>
                <a:lnTo>
                  <a:pt x="40" y="0"/>
                </a:lnTo>
                <a:lnTo>
                  <a:pt x="32" y="0"/>
                </a:lnTo>
                <a:lnTo>
                  <a:pt x="24" y="2"/>
                </a:lnTo>
                <a:lnTo>
                  <a:pt x="18" y="6"/>
                </a:lnTo>
                <a:lnTo>
                  <a:pt x="12" y="10"/>
                </a:lnTo>
                <a:lnTo>
                  <a:pt x="8" y="16"/>
                </a:lnTo>
                <a:lnTo>
                  <a:pt x="4" y="24"/>
                </a:lnTo>
                <a:lnTo>
                  <a:pt x="2" y="30"/>
                </a:lnTo>
                <a:lnTo>
                  <a:pt x="0" y="38"/>
                </a:lnTo>
                <a:lnTo>
                  <a:pt x="0" y="38"/>
                </a:lnTo>
                <a:lnTo>
                  <a:pt x="2" y="46"/>
                </a:lnTo>
                <a:lnTo>
                  <a:pt x="4" y="54"/>
                </a:lnTo>
                <a:lnTo>
                  <a:pt x="8" y="60"/>
                </a:lnTo>
                <a:lnTo>
                  <a:pt x="12" y="66"/>
                </a:lnTo>
                <a:lnTo>
                  <a:pt x="18" y="70"/>
                </a:lnTo>
                <a:lnTo>
                  <a:pt x="24" y="74"/>
                </a:lnTo>
                <a:lnTo>
                  <a:pt x="32" y="76"/>
                </a:lnTo>
                <a:lnTo>
                  <a:pt x="40" y="78"/>
                </a:lnTo>
                <a:lnTo>
                  <a:pt x="40" y="78"/>
                </a:lnTo>
                <a:lnTo>
                  <a:pt x="48" y="76"/>
                </a:lnTo>
                <a:lnTo>
                  <a:pt x="56" y="74"/>
                </a:lnTo>
                <a:lnTo>
                  <a:pt x="62" y="70"/>
                </a:lnTo>
                <a:lnTo>
                  <a:pt x="68" y="66"/>
                </a:lnTo>
                <a:lnTo>
                  <a:pt x="72" y="60"/>
                </a:lnTo>
                <a:lnTo>
                  <a:pt x="76" y="54"/>
                </a:lnTo>
                <a:lnTo>
                  <a:pt x="78" y="46"/>
                </a:lnTo>
                <a:lnTo>
                  <a:pt x="78" y="38"/>
                </a:lnTo>
                <a:lnTo>
                  <a:pt x="78" y="38"/>
                </a:lnTo>
                <a:lnTo>
                  <a:pt x="78" y="30"/>
                </a:lnTo>
                <a:lnTo>
                  <a:pt x="76" y="24"/>
                </a:lnTo>
                <a:lnTo>
                  <a:pt x="72" y="16"/>
                </a:lnTo>
                <a:lnTo>
                  <a:pt x="68" y="10"/>
                </a:lnTo>
                <a:lnTo>
                  <a:pt x="62" y="6"/>
                </a:lnTo>
                <a:lnTo>
                  <a:pt x="56" y="2"/>
                </a:lnTo>
                <a:lnTo>
                  <a:pt x="48" y="0"/>
                </a:lnTo>
                <a:lnTo>
                  <a:pt x="4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50" name="Freeform 89"/>
          <p:cNvSpPr>
            <a:spLocks/>
          </p:cNvSpPr>
          <p:nvPr userDrawn="1"/>
        </p:nvSpPr>
        <p:spPr bwMode="auto">
          <a:xfrm>
            <a:off x="2179702" y="175188"/>
            <a:ext cx="459310" cy="427696"/>
          </a:xfrm>
          <a:custGeom>
            <a:avLst/>
            <a:gdLst/>
            <a:ahLst/>
            <a:cxnLst>
              <a:cxn ang="0">
                <a:pos x="114" y="0"/>
              </a:cxn>
              <a:cxn ang="0">
                <a:pos x="114" y="0"/>
              </a:cxn>
              <a:cxn ang="0">
                <a:pos x="90" y="2"/>
              </a:cxn>
              <a:cxn ang="0">
                <a:pos x="70" y="10"/>
              </a:cxn>
              <a:cxn ang="0">
                <a:pos x="50" y="20"/>
              </a:cxn>
              <a:cxn ang="0">
                <a:pos x="32" y="34"/>
              </a:cxn>
              <a:cxn ang="0">
                <a:pos x="18" y="50"/>
              </a:cxn>
              <a:cxn ang="0">
                <a:pos x="8" y="70"/>
              </a:cxn>
              <a:cxn ang="0">
                <a:pos x="2" y="92"/>
              </a:cxn>
              <a:cxn ang="0">
                <a:pos x="0" y="116"/>
              </a:cxn>
              <a:cxn ang="0">
                <a:pos x="0" y="116"/>
              </a:cxn>
              <a:cxn ang="0">
                <a:pos x="2" y="138"/>
              </a:cxn>
              <a:cxn ang="0">
                <a:pos x="8" y="160"/>
              </a:cxn>
              <a:cxn ang="0">
                <a:pos x="18" y="180"/>
              </a:cxn>
              <a:cxn ang="0">
                <a:pos x="32" y="196"/>
              </a:cxn>
              <a:cxn ang="0">
                <a:pos x="50" y="210"/>
              </a:cxn>
              <a:cxn ang="0">
                <a:pos x="70" y="220"/>
              </a:cxn>
              <a:cxn ang="0">
                <a:pos x="90" y="228"/>
              </a:cxn>
              <a:cxn ang="0">
                <a:pos x="114" y="230"/>
              </a:cxn>
              <a:cxn ang="0">
                <a:pos x="114" y="230"/>
              </a:cxn>
              <a:cxn ang="0">
                <a:pos x="136" y="228"/>
              </a:cxn>
              <a:cxn ang="0">
                <a:pos x="158" y="220"/>
              </a:cxn>
              <a:cxn ang="0">
                <a:pos x="178" y="210"/>
              </a:cxn>
              <a:cxn ang="0">
                <a:pos x="194" y="196"/>
              </a:cxn>
              <a:cxn ang="0">
                <a:pos x="208" y="180"/>
              </a:cxn>
              <a:cxn ang="0">
                <a:pos x="220" y="160"/>
              </a:cxn>
              <a:cxn ang="0">
                <a:pos x="226" y="138"/>
              </a:cxn>
              <a:cxn ang="0">
                <a:pos x="228" y="116"/>
              </a:cxn>
              <a:cxn ang="0">
                <a:pos x="228" y="116"/>
              </a:cxn>
              <a:cxn ang="0">
                <a:pos x="226" y="92"/>
              </a:cxn>
              <a:cxn ang="0">
                <a:pos x="220" y="70"/>
              </a:cxn>
              <a:cxn ang="0">
                <a:pos x="208" y="50"/>
              </a:cxn>
              <a:cxn ang="0">
                <a:pos x="194" y="34"/>
              </a:cxn>
              <a:cxn ang="0">
                <a:pos x="178" y="20"/>
              </a:cxn>
              <a:cxn ang="0">
                <a:pos x="158" y="10"/>
              </a:cxn>
              <a:cxn ang="0">
                <a:pos x="136" y="2"/>
              </a:cxn>
              <a:cxn ang="0">
                <a:pos x="114" y="0"/>
              </a:cxn>
            </a:cxnLst>
            <a:rect l="0" t="0" r="r" b="b"/>
            <a:pathLst>
              <a:path w="228" h="230">
                <a:moveTo>
                  <a:pt x="114" y="0"/>
                </a:moveTo>
                <a:lnTo>
                  <a:pt x="114" y="0"/>
                </a:lnTo>
                <a:lnTo>
                  <a:pt x="90" y="2"/>
                </a:lnTo>
                <a:lnTo>
                  <a:pt x="70" y="10"/>
                </a:lnTo>
                <a:lnTo>
                  <a:pt x="50" y="20"/>
                </a:lnTo>
                <a:lnTo>
                  <a:pt x="32" y="34"/>
                </a:lnTo>
                <a:lnTo>
                  <a:pt x="18" y="50"/>
                </a:lnTo>
                <a:lnTo>
                  <a:pt x="8" y="70"/>
                </a:lnTo>
                <a:lnTo>
                  <a:pt x="2" y="92"/>
                </a:lnTo>
                <a:lnTo>
                  <a:pt x="0" y="116"/>
                </a:lnTo>
                <a:lnTo>
                  <a:pt x="0" y="116"/>
                </a:lnTo>
                <a:lnTo>
                  <a:pt x="2" y="138"/>
                </a:lnTo>
                <a:lnTo>
                  <a:pt x="8" y="160"/>
                </a:lnTo>
                <a:lnTo>
                  <a:pt x="18" y="180"/>
                </a:lnTo>
                <a:lnTo>
                  <a:pt x="32" y="196"/>
                </a:lnTo>
                <a:lnTo>
                  <a:pt x="50" y="210"/>
                </a:lnTo>
                <a:lnTo>
                  <a:pt x="70" y="220"/>
                </a:lnTo>
                <a:lnTo>
                  <a:pt x="90" y="228"/>
                </a:lnTo>
                <a:lnTo>
                  <a:pt x="114" y="230"/>
                </a:lnTo>
                <a:lnTo>
                  <a:pt x="114" y="230"/>
                </a:lnTo>
                <a:lnTo>
                  <a:pt x="136" y="228"/>
                </a:lnTo>
                <a:lnTo>
                  <a:pt x="158" y="220"/>
                </a:lnTo>
                <a:lnTo>
                  <a:pt x="178" y="210"/>
                </a:lnTo>
                <a:lnTo>
                  <a:pt x="194" y="196"/>
                </a:lnTo>
                <a:lnTo>
                  <a:pt x="208" y="180"/>
                </a:lnTo>
                <a:lnTo>
                  <a:pt x="220" y="160"/>
                </a:lnTo>
                <a:lnTo>
                  <a:pt x="226" y="138"/>
                </a:lnTo>
                <a:lnTo>
                  <a:pt x="228" y="116"/>
                </a:lnTo>
                <a:lnTo>
                  <a:pt x="228" y="116"/>
                </a:lnTo>
                <a:lnTo>
                  <a:pt x="226" y="92"/>
                </a:lnTo>
                <a:lnTo>
                  <a:pt x="220" y="70"/>
                </a:lnTo>
                <a:lnTo>
                  <a:pt x="208" y="50"/>
                </a:lnTo>
                <a:lnTo>
                  <a:pt x="194" y="34"/>
                </a:lnTo>
                <a:lnTo>
                  <a:pt x="178" y="20"/>
                </a:lnTo>
                <a:lnTo>
                  <a:pt x="158" y="10"/>
                </a:lnTo>
                <a:lnTo>
                  <a:pt x="136" y="2"/>
                </a:lnTo>
                <a:lnTo>
                  <a:pt x="114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51" name="Freeform 90"/>
          <p:cNvSpPr>
            <a:spLocks/>
          </p:cNvSpPr>
          <p:nvPr userDrawn="1"/>
        </p:nvSpPr>
        <p:spPr bwMode="auto">
          <a:xfrm>
            <a:off x="2179702" y="175188"/>
            <a:ext cx="459310" cy="427696"/>
          </a:xfrm>
          <a:custGeom>
            <a:avLst/>
            <a:gdLst/>
            <a:ahLst/>
            <a:cxnLst>
              <a:cxn ang="0">
                <a:pos x="114" y="0"/>
              </a:cxn>
              <a:cxn ang="0">
                <a:pos x="114" y="0"/>
              </a:cxn>
              <a:cxn ang="0">
                <a:pos x="90" y="2"/>
              </a:cxn>
              <a:cxn ang="0">
                <a:pos x="70" y="10"/>
              </a:cxn>
              <a:cxn ang="0">
                <a:pos x="50" y="20"/>
              </a:cxn>
              <a:cxn ang="0">
                <a:pos x="32" y="34"/>
              </a:cxn>
              <a:cxn ang="0">
                <a:pos x="18" y="50"/>
              </a:cxn>
              <a:cxn ang="0">
                <a:pos x="8" y="70"/>
              </a:cxn>
              <a:cxn ang="0">
                <a:pos x="2" y="92"/>
              </a:cxn>
              <a:cxn ang="0">
                <a:pos x="0" y="116"/>
              </a:cxn>
              <a:cxn ang="0">
                <a:pos x="0" y="116"/>
              </a:cxn>
              <a:cxn ang="0">
                <a:pos x="2" y="138"/>
              </a:cxn>
              <a:cxn ang="0">
                <a:pos x="8" y="160"/>
              </a:cxn>
              <a:cxn ang="0">
                <a:pos x="18" y="180"/>
              </a:cxn>
              <a:cxn ang="0">
                <a:pos x="32" y="196"/>
              </a:cxn>
              <a:cxn ang="0">
                <a:pos x="50" y="210"/>
              </a:cxn>
              <a:cxn ang="0">
                <a:pos x="70" y="220"/>
              </a:cxn>
              <a:cxn ang="0">
                <a:pos x="90" y="228"/>
              </a:cxn>
              <a:cxn ang="0">
                <a:pos x="114" y="230"/>
              </a:cxn>
              <a:cxn ang="0">
                <a:pos x="114" y="230"/>
              </a:cxn>
              <a:cxn ang="0">
                <a:pos x="136" y="228"/>
              </a:cxn>
              <a:cxn ang="0">
                <a:pos x="158" y="220"/>
              </a:cxn>
              <a:cxn ang="0">
                <a:pos x="178" y="210"/>
              </a:cxn>
              <a:cxn ang="0">
                <a:pos x="194" y="196"/>
              </a:cxn>
              <a:cxn ang="0">
                <a:pos x="208" y="180"/>
              </a:cxn>
              <a:cxn ang="0">
                <a:pos x="220" y="160"/>
              </a:cxn>
              <a:cxn ang="0">
                <a:pos x="226" y="138"/>
              </a:cxn>
              <a:cxn ang="0">
                <a:pos x="228" y="116"/>
              </a:cxn>
              <a:cxn ang="0">
                <a:pos x="228" y="116"/>
              </a:cxn>
              <a:cxn ang="0">
                <a:pos x="226" y="92"/>
              </a:cxn>
              <a:cxn ang="0">
                <a:pos x="220" y="70"/>
              </a:cxn>
              <a:cxn ang="0">
                <a:pos x="208" y="50"/>
              </a:cxn>
              <a:cxn ang="0">
                <a:pos x="194" y="34"/>
              </a:cxn>
              <a:cxn ang="0">
                <a:pos x="178" y="20"/>
              </a:cxn>
              <a:cxn ang="0">
                <a:pos x="158" y="10"/>
              </a:cxn>
              <a:cxn ang="0">
                <a:pos x="136" y="2"/>
              </a:cxn>
              <a:cxn ang="0">
                <a:pos x="114" y="0"/>
              </a:cxn>
            </a:cxnLst>
            <a:rect l="0" t="0" r="r" b="b"/>
            <a:pathLst>
              <a:path w="228" h="230">
                <a:moveTo>
                  <a:pt x="114" y="0"/>
                </a:moveTo>
                <a:lnTo>
                  <a:pt x="114" y="0"/>
                </a:lnTo>
                <a:lnTo>
                  <a:pt x="90" y="2"/>
                </a:lnTo>
                <a:lnTo>
                  <a:pt x="70" y="10"/>
                </a:lnTo>
                <a:lnTo>
                  <a:pt x="50" y="20"/>
                </a:lnTo>
                <a:lnTo>
                  <a:pt x="32" y="34"/>
                </a:lnTo>
                <a:lnTo>
                  <a:pt x="18" y="50"/>
                </a:lnTo>
                <a:lnTo>
                  <a:pt x="8" y="70"/>
                </a:lnTo>
                <a:lnTo>
                  <a:pt x="2" y="92"/>
                </a:lnTo>
                <a:lnTo>
                  <a:pt x="0" y="116"/>
                </a:lnTo>
                <a:lnTo>
                  <a:pt x="0" y="116"/>
                </a:lnTo>
                <a:lnTo>
                  <a:pt x="2" y="138"/>
                </a:lnTo>
                <a:lnTo>
                  <a:pt x="8" y="160"/>
                </a:lnTo>
                <a:lnTo>
                  <a:pt x="18" y="180"/>
                </a:lnTo>
                <a:lnTo>
                  <a:pt x="32" y="196"/>
                </a:lnTo>
                <a:lnTo>
                  <a:pt x="50" y="210"/>
                </a:lnTo>
                <a:lnTo>
                  <a:pt x="70" y="220"/>
                </a:lnTo>
                <a:lnTo>
                  <a:pt x="90" y="228"/>
                </a:lnTo>
                <a:lnTo>
                  <a:pt x="114" y="230"/>
                </a:lnTo>
                <a:lnTo>
                  <a:pt x="114" y="230"/>
                </a:lnTo>
                <a:lnTo>
                  <a:pt x="136" y="228"/>
                </a:lnTo>
                <a:lnTo>
                  <a:pt x="158" y="220"/>
                </a:lnTo>
                <a:lnTo>
                  <a:pt x="178" y="210"/>
                </a:lnTo>
                <a:lnTo>
                  <a:pt x="194" y="196"/>
                </a:lnTo>
                <a:lnTo>
                  <a:pt x="208" y="180"/>
                </a:lnTo>
                <a:lnTo>
                  <a:pt x="220" y="160"/>
                </a:lnTo>
                <a:lnTo>
                  <a:pt x="226" y="138"/>
                </a:lnTo>
                <a:lnTo>
                  <a:pt x="228" y="116"/>
                </a:lnTo>
                <a:lnTo>
                  <a:pt x="228" y="116"/>
                </a:lnTo>
                <a:lnTo>
                  <a:pt x="226" y="92"/>
                </a:lnTo>
                <a:lnTo>
                  <a:pt x="220" y="70"/>
                </a:lnTo>
                <a:lnTo>
                  <a:pt x="208" y="50"/>
                </a:lnTo>
                <a:lnTo>
                  <a:pt x="194" y="34"/>
                </a:lnTo>
                <a:lnTo>
                  <a:pt x="178" y="20"/>
                </a:lnTo>
                <a:lnTo>
                  <a:pt x="158" y="10"/>
                </a:lnTo>
                <a:lnTo>
                  <a:pt x="136" y="2"/>
                </a:lnTo>
                <a:lnTo>
                  <a:pt x="114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52" name="Freeform 91"/>
          <p:cNvSpPr>
            <a:spLocks/>
          </p:cNvSpPr>
          <p:nvPr userDrawn="1"/>
        </p:nvSpPr>
        <p:spPr bwMode="auto">
          <a:xfrm>
            <a:off x="3283652" y="305367"/>
            <a:ext cx="145044" cy="133887"/>
          </a:xfrm>
          <a:custGeom>
            <a:avLst/>
            <a:gdLst/>
            <a:ahLst/>
            <a:cxnLst>
              <a:cxn ang="0">
                <a:pos x="36" y="0"/>
              </a:cxn>
              <a:cxn ang="0">
                <a:pos x="36" y="0"/>
              </a:cxn>
              <a:cxn ang="0">
                <a:pos x="28" y="0"/>
              </a:cxn>
              <a:cxn ang="0">
                <a:pos x="22" y="4"/>
              </a:cxn>
              <a:cxn ang="0">
                <a:pos x="16" y="6"/>
              </a:cxn>
              <a:cxn ang="0">
                <a:pos x="10" y="10"/>
              </a:cxn>
              <a:cxn ang="0">
                <a:pos x="6" y="16"/>
              </a:cxn>
              <a:cxn ang="0">
                <a:pos x="2" y="22"/>
              </a:cxn>
              <a:cxn ang="0">
                <a:pos x="0" y="30"/>
              </a:cxn>
              <a:cxn ang="0">
                <a:pos x="0" y="36"/>
              </a:cxn>
              <a:cxn ang="0">
                <a:pos x="0" y="36"/>
              </a:cxn>
              <a:cxn ang="0">
                <a:pos x="0" y="44"/>
              </a:cxn>
              <a:cxn ang="0">
                <a:pos x="2" y="50"/>
              </a:cxn>
              <a:cxn ang="0">
                <a:pos x="6" y="56"/>
              </a:cxn>
              <a:cxn ang="0">
                <a:pos x="10" y="62"/>
              </a:cxn>
              <a:cxn ang="0">
                <a:pos x="16" y="66"/>
              </a:cxn>
              <a:cxn ang="0">
                <a:pos x="22" y="70"/>
              </a:cxn>
              <a:cxn ang="0">
                <a:pos x="28" y="72"/>
              </a:cxn>
              <a:cxn ang="0">
                <a:pos x="36" y="72"/>
              </a:cxn>
              <a:cxn ang="0">
                <a:pos x="36" y="72"/>
              </a:cxn>
              <a:cxn ang="0">
                <a:pos x="44" y="72"/>
              </a:cxn>
              <a:cxn ang="0">
                <a:pos x="50" y="70"/>
              </a:cxn>
              <a:cxn ang="0">
                <a:pos x="56" y="66"/>
              </a:cxn>
              <a:cxn ang="0">
                <a:pos x="62" y="62"/>
              </a:cxn>
              <a:cxn ang="0">
                <a:pos x="66" y="56"/>
              </a:cxn>
              <a:cxn ang="0">
                <a:pos x="70" y="50"/>
              </a:cxn>
              <a:cxn ang="0">
                <a:pos x="72" y="44"/>
              </a:cxn>
              <a:cxn ang="0">
                <a:pos x="72" y="36"/>
              </a:cxn>
              <a:cxn ang="0">
                <a:pos x="72" y="36"/>
              </a:cxn>
              <a:cxn ang="0">
                <a:pos x="72" y="30"/>
              </a:cxn>
              <a:cxn ang="0">
                <a:pos x="70" y="22"/>
              </a:cxn>
              <a:cxn ang="0">
                <a:pos x="66" y="16"/>
              </a:cxn>
              <a:cxn ang="0">
                <a:pos x="62" y="10"/>
              </a:cxn>
              <a:cxn ang="0">
                <a:pos x="56" y="6"/>
              </a:cxn>
              <a:cxn ang="0">
                <a:pos x="50" y="4"/>
              </a:cxn>
              <a:cxn ang="0">
                <a:pos x="44" y="0"/>
              </a:cxn>
              <a:cxn ang="0">
                <a:pos x="36" y="0"/>
              </a:cxn>
            </a:cxnLst>
            <a:rect l="0" t="0" r="r" b="b"/>
            <a:pathLst>
              <a:path w="72" h="72">
                <a:moveTo>
                  <a:pt x="36" y="0"/>
                </a:moveTo>
                <a:lnTo>
                  <a:pt x="36" y="0"/>
                </a:lnTo>
                <a:lnTo>
                  <a:pt x="28" y="0"/>
                </a:lnTo>
                <a:lnTo>
                  <a:pt x="22" y="4"/>
                </a:lnTo>
                <a:lnTo>
                  <a:pt x="16" y="6"/>
                </a:lnTo>
                <a:lnTo>
                  <a:pt x="10" y="10"/>
                </a:lnTo>
                <a:lnTo>
                  <a:pt x="6" y="16"/>
                </a:lnTo>
                <a:lnTo>
                  <a:pt x="2" y="22"/>
                </a:lnTo>
                <a:lnTo>
                  <a:pt x="0" y="30"/>
                </a:lnTo>
                <a:lnTo>
                  <a:pt x="0" y="36"/>
                </a:lnTo>
                <a:lnTo>
                  <a:pt x="0" y="36"/>
                </a:lnTo>
                <a:lnTo>
                  <a:pt x="0" y="44"/>
                </a:lnTo>
                <a:lnTo>
                  <a:pt x="2" y="50"/>
                </a:lnTo>
                <a:lnTo>
                  <a:pt x="6" y="56"/>
                </a:lnTo>
                <a:lnTo>
                  <a:pt x="10" y="62"/>
                </a:lnTo>
                <a:lnTo>
                  <a:pt x="16" y="66"/>
                </a:lnTo>
                <a:lnTo>
                  <a:pt x="22" y="70"/>
                </a:lnTo>
                <a:lnTo>
                  <a:pt x="28" y="72"/>
                </a:lnTo>
                <a:lnTo>
                  <a:pt x="36" y="72"/>
                </a:lnTo>
                <a:lnTo>
                  <a:pt x="36" y="72"/>
                </a:lnTo>
                <a:lnTo>
                  <a:pt x="44" y="72"/>
                </a:lnTo>
                <a:lnTo>
                  <a:pt x="50" y="70"/>
                </a:lnTo>
                <a:lnTo>
                  <a:pt x="56" y="66"/>
                </a:lnTo>
                <a:lnTo>
                  <a:pt x="62" y="62"/>
                </a:lnTo>
                <a:lnTo>
                  <a:pt x="66" y="56"/>
                </a:lnTo>
                <a:lnTo>
                  <a:pt x="70" y="50"/>
                </a:lnTo>
                <a:lnTo>
                  <a:pt x="72" y="44"/>
                </a:lnTo>
                <a:lnTo>
                  <a:pt x="72" y="36"/>
                </a:lnTo>
                <a:lnTo>
                  <a:pt x="72" y="36"/>
                </a:lnTo>
                <a:lnTo>
                  <a:pt x="72" y="30"/>
                </a:lnTo>
                <a:lnTo>
                  <a:pt x="70" y="22"/>
                </a:lnTo>
                <a:lnTo>
                  <a:pt x="66" y="16"/>
                </a:lnTo>
                <a:lnTo>
                  <a:pt x="62" y="10"/>
                </a:lnTo>
                <a:lnTo>
                  <a:pt x="56" y="6"/>
                </a:lnTo>
                <a:lnTo>
                  <a:pt x="50" y="4"/>
                </a:lnTo>
                <a:lnTo>
                  <a:pt x="44" y="0"/>
                </a:lnTo>
                <a:lnTo>
                  <a:pt x="36" y="0"/>
                </a:lnTo>
                <a:close/>
              </a:path>
            </a:pathLst>
          </a:custGeom>
          <a:solidFill>
            <a:srgbClr val="6ED6DA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53" name="Freeform 92"/>
          <p:cNvSpPr>
            <a:spLocks/>
          </p:cNvSpPr>
          <p:nvPr userDrawn="1"/>
        </p:nvSpPr>
        <p:spPr bwMode="auto">
          <a:xfrm>
            <a:off x="3283652" y="305367"/>
            <a:ext cx="145044" cy="133887"/>
          </a:xfrm>
          <a:custGeom>
            <a:avLst/>
            <a:gdLst/>
            <a:ahLst/>
            <a:cxnLst>
              <a:cxn ang="0">
                <a:pos x="36" y="0"/>
              </a:cxn>
              <a:cxn ang="0">
                <a:pos x="36" y="0"/>
              </a:cxn>
              <a:cxn ang="0">
                <a:pos x="28" y="0"/>
              </a:cxn>
              <a:cxn ang="0">
                <a:pos x="22" y="4"/>
              </a:cxn>
              <a:cxn ang="0">
                <a:pos x="16" y="6"/>
              </a:cxn>
              <a:cxn ang="0">
                <a:pos x="10" y="10"/>
              </a:cxn>
              <a:cxn ang="0">
                <a:pos x="6" y="16"/>
              </a:cxn>
              <a:cxn ang="0">
                <a:pos x="2" y="22"/>
              </a:cxn>
              <a:cxn ang="0">
                <a:pos x="0" y="30"/>
              </a:cxn>
              <a:cxn ang="0">
                <a:pos x="0" y="36"/>
              </a:cxn>
              <a:cxn ang="0">
                <a:pos x="0" y="36"/>
              </a:cxn>
              <a:cxn ang="0">
                <a:pos x="0" y="44"/>
              </a:cxn>
              <a:cxn ang="0">
                <a:pos x="2" y="50"/>
              </a:cxn>
              <a:cxn ang="0">
                <a:pos x="6" y="56"/>
              </a:cxn>
              <a:cxn ang="0">
                <a:pos x="10" y="62"/>
              </a:cxn>
              <a:cxn ang="0">
                <a:pos x="16" y="66"/>
              </a:cxn>
              <a:cxn ang="0">
                <a:pos x="22" y="70"/>
              </a:cxn>
              <a:cxn ang="0">
                <a:pos x="28" y="72"/>
              </a:cxn>
              <a:cxn ang="0">
                <a:pos x="36" y="72"/>
              </a:cxn>
              <a:cxn ang="0">
                <a:pos x="36" y="72"/>
              </a:cxn>
              <a:cxn ang="0">
                <a:pos x="44" y="72"/>
              </a:cxn>
              <a:cxn ang="0">
                <a:pos x="50" y="70"/>
              </a:cxn>
              <a:cxn ang="0">
                <a:pos x="56" y="66"/>
              </a:cxn>
              <a:cxn ang="0">
                <a:pos x="62" y="62"/>
              </a:cxn>
              <a:cxn ang="0">
                <a:pos x="66" y="56"/>
              </a:cxn>
              <a:cxn ang="0">
                <a:pos x="70" y="50"/>
              </a:cxn>
              <a:cxn ang="0">
                <a:pos x="72" y="44"/>
              </a:cxn>
              <a:cxn ang="0">
                <a:pos x="72" y="36"/>
              </a:cxn>
              <a:cxn ang="0">
                <a:pos x="72" y="36"/>
              </a:cxn>
              <a:cxn ang="0">
                <a:pos x="72" y="30"/>
              </a:cxn>
              <a:cxn ang="0">
                <a:pos x="70" y="22"/>
              </a:cxn>
              <a:cxn ang="0">
                <a:pos x="66" y="16"/>
              </a:cxn>
              <a:cxn ang="0">
                <a:pos x="62" y="10"/>
              </a:cxn>
              <a:cxn ang="0">
                <a:pos x="56" y="6"/>
              </a:cxn>
              <a:cxn ang="0">
                <a:pos x="50" y="4"/>
              </a:cxn>
              <a:cxn ang="0">
                <a:pos x="44" y="0"/>
              </a:cxn>
              <a:cxn ang="0">
                <a:pos x="36" y="0"/>
              </a:cxn>
            </a:cxnLst>
            <a:rect l="0" t="0" r="r" b="b"/>
            <a:pathLst>
              <a:path w="72" h="72">
                <a:moveTo>
                  <a:pt x="36" y="0"/>
                </a:moveTo>
                <a:lnTo>
                  <a:pt x="36" y="0"/>
                </a:lnTo>
                <a:lnTo>
                  <a:pt x="28" y="0"/>
                </a:lnTo>
                <a:lnTo>
                  <a:pt x="22" y="4"/>
                </a:lnTo>
                <a:lnTo>
                  <a:pt x="16" y="6"/>
                </a:lnTo>
                <a:lnTo>
                  <a:pt x="10" y="10"/>
                </a:lnTo>
                <a:lnTo>
                  <a:pt x="6" y="16"/>
                </a:lnTo>
                <a:lnTo>
                  <a:pt x="2" y="22"/>
                </a:lnTo>
                <a:lnTo>
                  <a:pt x="0" y="30"/>
                </a:lnTo>
                <a:lnTo>
                  <a:pt x="0" y="36"/>
                </a:lnTo>
                <a:lnTo>
                  <a:pt x="0" y="36"/>
                </a:lnTo>
                <a:lnTo>
                  <a:pt x="0" y="44"/>
                </a:lnTo>
                <a:lnTo>
                  <a:pt x="2" y="50"/>
                </a:lnTo>
                <a:lnTo>
                  <a:pt x="6" y="56"/>
                </a:lnTo>
                <a:lnTo>
                  <a:pt x="10" y="62"/>
                </a:lnTo>
                <a:lnTo>
                  <a:pt x="16" y="66"/>
                </a:lnTo>
                <a:lnTo>
                  <a:pt x="22" y="70"/>
                </a:lnTo>
                <a:lnTo>
                  <a:pt x="28" y="72"/>
                </a:lnTo>
                <a:lnTo>
                  <a:pt x="36" y="72"/>
                </a:lnTo>
                <a:lnTo>
                  <a:pt x="36" y="72"/>
                </a:lnTo>
                <a:lnTo>
                  <a:pt x="44" y="72"/>
                </a:lnTo>
                <a:lnTo>
                  <a:pt x="50" y="70"/>
                </a:lnTo>
                <a:lnTo>
                  <a:pt x="56" y="66"/>
                </a:lnTo>
                <a:lnTo>
                  <a:pt x="62" y="62"/>
                </a:lnTo>
                <a:lnTo>
                  <a:pt x="66" y="56"/>
                </a:lnTo>
                <a:lnTo>
                  <a:pt x="70" y="50"/>
                </a:lnTo>
                <a:lnTo>
                  <a:pt x="72" y="44"/>
                </a:lnTo>
                <a:lnTo>
                  <a:pt x="72" y="36"/>
                </a:lnTo>
                <a:lnTo>
                  <a:pt x="72" y="36"/>
                </a:lnTo>
                <a:lnTo>
                  <a:pt x="72" y="30"/>
                </a:lnTo>
                <a:lnTo>
                  <a:pt x="70" y="22"/>
                </a:lnTo>
                <a:lnTo>
                  <a:pt x="66" y="16"/>
                </a:lnTo>
                <a:lnTo>
                  <a:pt x="62" y="10"/>
                </a:lnTo>
                <a:lnTo>
                  <a:pt x="56" y="6"/>
                </a:lnTo>
                <a:lnTo>
                  <a:pt x="50" y="4"/>
                </a:lnTo>
                <a:lnTo>
                  <a:pt x="44" y="0"/>
                </a:lnTo>
                <a:lnTo>
                  <a:pt x="36" y="0"/>
                </a:lnTo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54" name="Freeform 93"/>
          <p:cNvSpPr>
            <a:spLocks/>
          </p:cNvSpPr>
          <p:nvPr userDrawn="1"/>
        </p:nvSpPr>
        <p:spPr bwMode="auto">
          <a:xfrm>
            <a:off x="765521" y="431810"/>
            <a:ext cx="76551" cy="70663"/>
          </a:xfrm>
          <a:custGeom>
            <a:avLst/>
            <a:gdLst/>
            <a:ahLst/>
            <a:cxnLst>
              <a:cxn ang="0">
                <a:pos x="18" y="0"/>
              </a:cxn>
              <a:cxn ang="0">
                <a:pos x="18" y="0"/>
              </a:cxn>
              <a:cxn ang="0">
                <a:pos x="10" y="2"/>
              </a:cxn>
              <a:cxn ang="0">
                <a:pos x="4" y="6"/>
              </a:cxn>
              <a:cxn ang="0">
                <a:pos x="0" y="12"/>
              </a:cxn>
              <a:cxn ang="0">
                <a:pos x="0" y="20"/>
              </a:cxn>
              <a:cxn ang="0">
                <a:pos x="0" y="20"/>
              </a:cxn>
              <a:cxn ang="0">
                <a:pos x="0" y="26"/>
              </a:cxn>
              <a:cxn ang="0">
                <a:pos x="4" y="32"/>
              </a:cxn>
              <a:cxn ang="0">
                <a:pos x="10" y="38"/>
              </a:cxn>
              <a:cxn ang="0">
                <a:pos x="18" y="38"/>
              </a:cxn>
              <a:cxn ang="0">
                <a:pos x="18" y="38"/>
              </a:cxn>
              <a:cxn ang="0">
                <a:pos x="26" y="38"/>
              </a:cxn>
              <a:cxn ang="0">
                <a:pos x="32" y="32"/>
              </a:cxn>
              <a:cxn ang="0">
                <a:pos x="36" y="26"/>
              </a:cxn>
              <a:cxn ang="0">
                <a:pos x="38" y="20"/>
              </a:cxn>
              <a:cxn ang="0">
                <a:pos x="38" y="20"/>
              </a:cxn>
              <a:cxn ang="0">
                <a:pos x="36" y="12"/>
              </a:cxn>
              <a:cxn ang="0">
                <a:pos x="32" y="6"/>
              </a:cxn>
              <a:cxn ang="0">
                <a:pos x="26" y="2"/>
              </a:cxn>
              <a:cxn ang="0">
                <a:pos x="18" y="0"/>
              </a:cxn>
            </a:cxnLst>
            <a:rect l="0" t="0" r="r" b="b"/>
            <a:pathLst>
              <a:path w="38" h="38">
                <a:moveTo>
                  <a:pt x="18" y="0"/>
                </a:moveTo>
                <a:lnTo>
                  <a:pt x="18" y="0"/>
                </a:lnTo>
                <a:lnTo>
                  <a:pt x="10" y="2"/>
                </a:lnTo>
                <a:lnTo>
                  <a:pt x="4" y="6"/>
                </a:lnTo>
                <a:lnTo>
                  <a:pt x="0" y="12"/>
                </a:lnTo>
                <a:lnTo>
                  <a:pt x="0" y="20"/>
                </a:lnTo>
                <a:lnTo>
                  <a:pt x="0" y="20"/>
                </a:lnTo>
                <a:lnTo>
                  <a:pt x="0" y="26"/>
                </a:lnTo>
                <a:lnTo>
                  <a:pt x="4" y="32"/>
                </a:lnTo>
                <a:lnTo>
                  <a:pt x="10" y="38"/>
                </a:lnTo>
                <a:lnTo>
                  <a:pt x="18" y="38"/>
                </a:lnTo>
                <a:lnTo>
                  <a:pt x="18" y="38"/>
                </a:lnTo>
                <a:lnTo>
                  <a:pt x="26" y="38"/>
                </a:lnTo>
                <a:lnTo>
                  <a:pt x="32" y="32"/>
                </a:lnTo>
                <a:lnTo>
                  <a:pt x="36" y="26"/>
                </a:lnTo>
                <a:lnTo>
                  <a:pt x="38" y="20"/>
                </a:lnTo>
                <a:lnTo>
                  <a:pt x="38" y="20"/>
                </a:lnTo>
                <a:lnTo>
                  <a:pt x="36" y="12"/>
                </a:lnTo>
                <a:lnTo>
                  <a:pt x="32" y="6"/>
                </a:lnTo>
                <a:lnTo>
                  <a:pt x="26" y="2"/>
                </a:lnTo>
                <a:lnTo>
                  <a:pt x="18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55" name="Freeform 94"/>
          <p:cNvSpPr>
            <a:spLocks/>
          </p:cNvSpPr>
          <p:nvPr userDrawn="1"/>
        </p:nvSpPr>
        <p:spPr bwMode="auto">
          <a:xfrm>
            <a:off x="765521" y="431810"/>
            <a:ext cx="76551" cy="70663"/>
          </a:xfrm>
          <a:custGeom>
            <a:avLst/>
            <a:gdLst/>
            <a:ahLst/>
            <a:cxnLst>
              <a:cxn ang="0">
                <a:pos x="18" y="0"/>
              </a:cxn>
              <a:cxn ang="0">
                <a:pos x="18" y="0"/>
              </a:cxn>
              <a:cxn ang="0">
                <a:pos x="10" y="2"/>
              </a:cxn>
              <a:cxn ang="0">
                <a:pos x="4" y="6"/>
              </a:cxn>
              <a:cxn ang="0">
                <a:pos x="0" y="12"/>
              </a:cxn>
              <a:cxn ang="0">
                <a:pos x="0" y="20"/>
              </a:cxn>
              <a:cxn ang="0">
                <a:pos x="0" y="20"/>
              </a:cxn>
              <a:cxn ang="0">
                <a:pos x="0" y="26"/>
              </a:cxn>
              <a:cxn ang="0">
                <a:pos x="4" y="32"/>
              </a:cxn>
              <a:cxn ang="0">
                <a:pos x="10" y="38"/>
              </a:cxn>
              <a:cxn ang="0">
                <a:pos x="18" y="38"/>
              </a:cxn>
              <a:cxn ang="0">
                <a:pos x="18" y="38"/>
              </a:cxn>
              <a:cxn ang="0">
                <a:pos x="26" y="38"/>
              </a:cxn>
              <a:cxn ang="0">
                <a:pos x="32" y="32"/>
              </a:cxn>
              <a:cxn ang="0">
                <a:pos x="36" y="26"/>
              </a:cxn>
              <a:cxn ang="0">
                <a:pos x="38" y="20"/>
              </a:cxn>
              <a:cxn ang="0">
                <a:pos x="38" y="20"/>
              </a:cxn>
              <a:cxn ang="0">
                <a:pos x="36" y="12"/>
              </a:cxn>
              <a:cxn ang="0">
                <a:pos x="32" y="6"/>
              </a:cxn>
              <a:cxn ang="0">
                <a:pos x="26" y="2"/>
              </a:cxn>
              <a:cxn ang="0">
                <a:pos x="18" y="0"/>
              </a:cxn>
            </a:cxnLst>
            <a:rect l="0" t="0" r="r" b="b"/>
            <a:pathLst>
              <a:path w="38" h="38">
                <a:moveTo>
                  <a:pt x="18" y="0"/>
                </a:moveTo>
                <a:lnTo>
                  <a:pt x="18" y="0"/>
                </a:lnTo>
                <a:lnTo>
                  <a:pt x="10" y="2"/>
                </a:lnTo>
                <a:lnTo>
                  <a:pt x="4" y="6"/>
                </a:lnTo>
                <a:lnTo>
                  <a:pt x="0" y="12"/>
                </a:lnTo>
                <a:lnTo>
                  <a:pt x="0" y="20"/>
                </a:lnTo>
                <a:lnTo>
                  <a:pt x="0" y="20"/>
                </a:lnTo>
                <a:lnTo>
                  <a:pt x="0" y="26"/>
                </a:lnTo>
                <a:lnTo>
                  <a:pt x="4" y="32"/>
                </a:lnTo>
                <a:lnTo>
                  <a:pt x="10" y="38"/>
                </a:lnTo>
                <a:lnTo>
                  <a:pt x="18" y="38"/>
                </a:lnTo>
                <a:lnTo>
                  <a:pt x="18" y="38"/>
                </a:lnTo>
                <a:lnTo>
                  <a:pt x="26" y="38"/>
                </a:lnTo>
                <a:lnTo>
                  <a:pt x="32" y="32"/>
                </a:lnTo>
                <a:lnTo>
                  <a:pt x="36" y="26"/>
                </a:lnTo>
                <a:lnTo>
                  <a:pt x="38" y="20"/>
                </a:lnTo>
                <a:lnTo>
                  <a:pt x="38" y="20"/>
                </a:lnTo>
                <a:lnTo>
                  <a:pt x="36" y="12"/>
                </a:lnTo>
                <a:lnTo>
                  <a:pt x="32" y="6"/>
                </a:lnTo>
                <a:lnTo>
                  <a:pt x="26" y="2"/>
                </a:lnTo>
                <a:lnTo>
                  <a:pt x="18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56" name="Freeform 95"/>
          <p:cNvSpPr>
            <a:spLocks/>
          </p:cNvSpPr>
          <p:nvPr userDrawn="1"/>
        </p:nvSpPr>
        <p:spPr bwMode="auto">
          <a:xfrm>
            <a:off x="2288486" y="1138444"/>
            <a:ext cx="76551" cy="70663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20" y="0"/>
              </a:cxn>
              <a:cxn ang="0">
                <a:pos x="12" y="2"/>
              </a:cxn>
              <a:cxn ang="0">
                <a:pos x="6" y="6"/>
              </a:cxn>
              <a:cxn ang="0">
                <a:pos x="2" y="12"/>
              </a:cxn>
              <a:cxn ang="0">
                <a:pos x="0" y="20"/>
              </a:cxn>
              <a:cxn ang="0">
                <a:pos x="0" y="20"/>
              </a:cxn>
              <a:cxn ang="0">
                <a:pos x="2" y="26"/>
              </a:cxn>
              <a:cxn ang="0">
                <a:pos x="6" y="32"/>
              </a:cxn>
              <a:cxn ang="0">
                <a:pos x="12" y="38"/>
              </a:cxn>
              <a:cxn ang="0">
                <a:pos x="20" y="38"/>
              </a:cxn>
              <a:cxn ang="0">
                <a:pos x="20" y="38"/>
              </a:cxn>
              <a:cxn ang="0">
                <a:pos x="26" y="38"/>
              </a:cxn>
              <a:cxn ang="0">
                <a:pos x="32" y="32"/>
              </a:cxn>
              <a:cxn ang="0">
                <a:pos x="36" y="26"/>
              </a:cxn>
              <a:cxn ang="0">
                <a:pos x="38" y="20"/>
              </a:cxn>
              <a:cxn ang="0">
                <a:pos x="38" y="20"/>
              </a:cxn>
              <a:cxn ang="0">
                <a:pos x="36" y="12"/>
              </a:cxn>
              <a:cxn ang="0">
                <a:pos x="32" y="6"/>
              </a:cxn>
              <a:cxn ang="0">
                <a:pos x="26" y="2"/>
              </a:cxn>
              <a:cxn ang="0">
                <a:pos x="20" y="0"/>
              </a:cxn>
            </a:cxnLst>
            <a:rect l="0" t="0" r="r" b="b"/>
            <a:pathLst>
              <a:path w="38" h="38">
                <a:moveTo>
                  <a:pt x="20" y="0"/>
                </a:moveTo>
                <a:lnTo>
                  <a:pt x="20" y="0"/>
                </a:lnTo>
                <a:lnTo>
                  <a:pt x="12" y="2"/>
                </a:lnTo>
                <a:lnTo>
                  <a:pt x="6" y="6"/>
                </a:lnTo>
                <a:lnTo>
                  <a:pt x="2" y="12"/>
                </a:lnTo>
                <a:lnTo>
                  <a:pt x="0" y="20"/>
                </a:lnTo>
                <a:lnTo>
                  <a:pt x="0" y="20"/>
                </a:lnTo>
                <a:lnTo>
                  <a:pt x="2" y="26"/>
                </a:lnTo>
                <a:lnTo>
                  <a:pt x="6" y="32"/>
                </a:lnTo>
                <a:lnTo>
                  <a:pt x="12" y="38"/>
                </a:lnTo>
                <a:lnTo>
                  <a:pt x="20" y="38"/>
                </a:lnTo>
                <a:lnTo>
                  <a:pt x="20" y="38"/>
                </a:lnTo>
                <a:lnTo>
                  <a:pt x="26" y="38"/>
                </a:lnTo>
                <a:lnTo>
                  <a:pt x="32" y="32"/>
                </a:lnTo>
                <a:lnTo>
                  <a:pt x="36" y="26"/>
                </a:lnTo>
                <a:lnTo>
                  <a:pt x="38" y="20"/>
                </a:lnTo>
                <a:lnTo>
                  <a:pt x="38" y="20"/>
                </a:lnTo>
                <a:lnTo>
                  <a:pt x="36" y="12"/>
                </a:lnTo>
                <a:lnTo>
                  <a:pt x="32" y="6"/>
                </a:lnTo>
                <a:lnTo>
                  <a:pt x="26" y="2"/>
                </a:lnTo>
                <a:lnTo>
                  <a:pt x="20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57" name="Freeform 96"/>
          <p:cNvSpPr>
            <a:spLocks/>
          </p:cNvSpPr>
          <p:nvPr userDrawn="1"/>
        </p:nvSpPr>
        <p:spPr bwMode="auto">
          <a:xfrm>
            <a:off x="2288486" y="1138444"/>
            <a:ext cx="76551" cy="70663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20" y="0"/>
              </a:cxn>
              <a:cxn ang="0">
                <a:pos x="12" y="2"/>
              </a:cxn>
              <a:cxn ang="0">
                <a:pos x="6" y="6"/>
              </a:cxn>
              <a:cxn ang="0">
                <a:pos x="2" y="12"/>
              </a:cxn>
              <a:cxn ang="0">
                <a:pos x="0" y="20"/>
              </a:cxn>
              <a:cxn ang="0">
                <a:pos x="0" y="20"/>
              </a:cxn>
              <a:cxn ang="0">
                <a:pos x="2" y="26"/>
              </a:cxn>
              <a:cxn ang="0">
                <a:pos x="6" y="32"/>
              </a:cxn>
              <a:cxn ang="0">
                <a:pos x="12" y="38"/>
              </a:cxn>
              <a:cxn ang="0">
                <a:pos x="20" y="38"/>
              </a:cxn>
              <a:cxn ang="0">
                <a:pos x="20" y="38"/>
              </a:cxn>
              <a:cxn ang="0">
                <a:pos x="26" y="38"/>
              </a:cxn>
              <a:cxn ang="0">
                <a:pos x="32" y="32"/>
              </a:cxn>
              <a:cxn ang="0">
                <a:pos x="36" y="26"/>
              </a:cxn>
              <a:cxn ang="0">
                <a:pos x="38" y="20"/>
              </a:cxn>
              <a:cxn ang="0">
                <a:pos x="38" y="20"/>
              </a:cxn>
              <a:cxn ang="0">
                <a:pos x="36" y="12"/>
              </a:cxn>
              <a:cxn ang="0">
                <a:pos x="32" y="6"/>
              </a:cxn>
              <a:cxn ang="0">
                <a:pos x="26" y="2"/>
              </a:cxn>
              <a:cxn ang="0">
                <a:pos x="20" y="0"/>
              </a:cxn>
            </a:cxnLst>
            <a:rect l="0" t="0" r="r" b="b"/>
            <a:pathLst>
              <a:path w="38" h="38">
                <a:moveTo>
                  <a:pt x="20" y="0"/>
                </a:moveTo>
                <a:lnTo>
                  <a:pt x="20" y="0"/>
                </a:lnTo>
                <a:lnTo>
                  <a:pt x="12" y="2"/>
                </a:lnTo>
                <a:lnTo>
                  <a:pt x="6" y="6"/>
                </a:lnTo>
                <a:lnTo>
                  <a:pt x="2" y="12"/>
                </a:lnTo>
                <a:lnTo>
                  <a:pt x="0" y="20"/>
                </a:lnTo>
                <a:lnTo>
                  <a:pt x="0" y="20"/>
                </a:lnTo>
                <a:lnTo>
                  <a:pt x="2" y="26"/>
                </a:lnTo>
                <a:lnTo>
                  <a:pt x="6" y="32"/>
                </a:lnTo>
                <a:lnTo>
                  <a:pt x="12" y="38"/>
                </a:lnTo>
                <a:lnTo>
                  <a:pt x="20" y="38"/>
                </a:lnTo>
                <a:lnTo>
                  <a:pt x="20" y="38"/>
                </a:lnTo>
                <a:lnTo>
                  <a:pt x="26" y="38"/>
                </a:lnTo>
                <a:lnTo>
                  <a:pt x="32" y="32"/>
                </a:lnTo>
                <a:lnTo>
                  <a:pt x="36" y="26"/>
                </a:lnTo>
                <a:lnTo>
                  <a:pt x="38" y="20"/>
                </a:lnTo>
                <a:lnTo>
                  <a:pt x="38" y="20"/>
                </a:lnTo>
                <a:lnTo>
                  <a:pt x="36" y="12"/>
                </a:lnTo>
                <a:lnTo>
                  <a:pt x="32" y="6"/>
                </a:lnTo>
                <a:lnTo>
                  <a:pt x="26" y="2"/>
                </a:lnTo>
                <a:lnTo>
                  <a:pt x="2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58" name="Freeform 97"/>
          <p:cNvSpPr>
            <a:spLocks/>
          </p:cNvSpPr>
          <p:nvPr userDrawn="1"/>
        </p:nvSpPr>
        <p:spPr bwMode="auto">
          <a:xfrm>
            <a:off x="1313463" y="1644241"/>
            <a:ext cx="76551" cy="70663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20" y="0"/>
              </a:cxn>
              <a:cxn ang="0">
                <a:pos x="12" y="2"/>
              </a:cxn>
              <a:cxn ang="0">
                <a:pos x="6" y="6"/>
              </a:cxn>
              <a:cxn ang="0">
                <a:pos x="2" y="12"/>
              </a:cxn>
              <a:cxn ang="0">
                <a:pos x="0" y="18"/>
              </a:cxn>
              <a:cxn ang="0">
                <a:pos x="0" y="18"/>
              </a:cxn>
              <a:cxn ang="0">
                <a:pos x="2" y="26"/>
              </a:cxn>
              <a:cxn ang="0">
                <a:pos x="6" y="32"/>
              </a:cxn>
              <a:cxn ang="0">
                <a:pos x="12" y="36"/>
              </a:cxn>
              <a:cxn ang="0">
                <a:pos x="20" y="38"/>
              </a:cxn>
              <a:cxn ang="0">
                <a:pos x="20" y="38"/>
              </a:cxn>
              <a:cxn ang="0">
                <a:pos x="26" y="36"/>
              </a:cxn>
              <a:cxn ang="0">
                <a:pos x="32" y="32"/>
              </a:cxn>
              <a:cxn ang="0">
                <a:pos x="36" y="26"/>
              </a:cxn>
              <a:cxn ang="0">
                <a:pos x="38" y="18"/>
              </a:cxn>
              <a:cxn ang="0">
                <a:pos x="38" y="18"/>
              </a:cxn>
              <a:cxn ang="0">
                <a:pos x="36" y="12"/>
              </a:cxn>
              <a:cxn ang="0">
                <a:pos x="32" y="6"/>
              </a:cxn>
              <a:cxn ang="0">
                <a:pos x="26" y="2"/>
              </a:cxn>
              <a:cxn ang="0">
                <a:pos x="20" y="0"/>
              </a:cxn>
            </a:cxnLst>
            <a:rect l="0" t="0" r="r" b="b"/>
            <a:pathLst>
              <a:path w="38" h="38">
                <a:moveTo>
                  <a:pt x="20" y="0"/>
                </a:moveTo>
                <a:lnTo>
                  <a:pt x="20" y="0"/>
                </a:lnTo>
                <a:lnTo>
                  <a:pt x="12" y="2"/>
                </a:lnTo>
                <a:lnTo>
                  <a:pt x="6" y="6"/>
                </a:lnTo>
                <a:lnTo>
                  <a:pt x="2" y="12"/>
                </a:lnTo>
                <a:lnTo>
                  <a:pt x="0" y="18"/>
                </a:lnTo>
                <a:lnTo>
                  <a:pt x="0" y="18"/>
                </a:lnTo>
                <a:lnTo>
                  <a:pt x="2" y="26"/>
                </a:lnTo>
                <a:lnTo>
                  <a:pt x="6" y="32"/>
                </a:lnTo>
                <a:lnTo>
                  <a:pt x="12" y="36"/>
                </a:lnTo>
                <a:lnTo>
                  <a:pt x="20" y="38"/>
                </a:lnTo>
                <a:lnTo>
                  <a:pt x="20" y="38"/>
                </a:lnTo>
                <a:lnTo>
                  <a:pt x="26" y="36"/>
                </a:lnTo>
                <a:lnTo>
                  <a:pt x="32" y="32"/>
                </a:lnTo>
                <a:lnTo>
                  <a:pt x="36" y="26"/>
                </a:lnTo>
                <a:lnTo>
                  <a:pt x="38" y="18"/>
                </a:lnTo>
                <a:lnTo>
                  <a:pt x="38" y="18"/>
                </a:lnTo>
                <a:lnTo>
                  <a:pt x="36" y="12"/>
                </a:lnTo>
                <a:lnTo>
                  <a:pt x="32" y="6"/>
                </a:lnTo>
                <a:lnTo>
                  <a:pt x="26" y="2"/>
                </a:lnTo>
                <a:lnTo>
                  <a:pt x="20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59" name="Freeform 98"/>
          <p:cNvSpPr>
            <a:spLocks/>
          </p:cNvSpPr>
          <p:nvPr userDrawn="1"/>
        </p:nvSpPr>
        <p:spPr bwMode="auto">
          <a:xfrm>
            <a:off x="1313463" y="1644241"/>
            <a:ext cx="76551" cy="70663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20" y="0"/>
              </a:cxn>
              <a:cxn ang="0">
                <a:pos x="12" y="2"/>
              </a:cxn>
              <a:cxn ang="0">
                <a:pos x="6" y="6"/>
              </a:cxn>
              <a:cxn ang="0">
                <a:pos x="2" y="12"/>
              </a:cxn>
              <a:cxn ang="0">
                <a:pos x="0" y="18"/>
              </a:cxn>
              <a:cxn ang="0">
                <a:pos x="0" y="18"/>
              </a:cxn>
              <a:cxn ang="0">
                <a:pos x="2" y="26"/>
              </a:cxn>
              <a:cxn ang="0">
                <a:pos x="6" y="32"/>
              </a:cxn>
              <a:cxn ang="0">
                <a:pos x="12" y="36"/>
              </a:cxn>
              <a:cxn ang="0">
                <a:pos x="20" y="38"/>
              </a:cxn>
              <a:cxn ang="0">
                <a:pos x="20" y="38"/>
              </a:cxn>
              <a:cxn ang="0">
                <a:pos x="26" y="36"/>
              </a:cxn>
              <a:cxn ang="0">
                <a:pos x="32" y="32"/>
              </a:cxn>
              <a:cxn ang="0">
                <a:pos x="36" y="26"/>
              </a:cxn>
              <a:cxn ang="0">
                <a:pos x="38" y="18"/>
              </a:cxn>
              <a:cxn ang="0">
                <a:pos x="38" y="18"/>
              </a:cxn>
              <a:cxn ang="0">
                <a:pos x="36" y="12"/>
              </a:cxn>
              <a:cxn ang="0">
                <a:pos x="32" y="6"/>
              </a:cxn>
              <a:cxn ang="0">
                <a:pos x="26" y="2"/>
              </a:cxn>
              <a:cxn ang="0">
                <a:pos x="20" y="0"/>
              </a:cxn>
            </a:cxnLst>
            <a:rect l="0" t="0" r="r" b="b"/>
            <a:pathLst>
              <a:path w="38" h="38">
                <a:moveTo>
                  <a:pt x="20" y="0"/>
                </a:moveTo>
                <a:lnTo>
                  <a:pt x="20" y="0"/>
                </a:lnTo>
                <a:lnTo>
                  <a:pt x="12" y="2"/>
                </a:lnTo>
                <a:lnTo>
                  <a:pt x="6" y="6"/>
                </a:lnTo>
                <a:lnTo>
                  <a:pt x="2" y="12"/>
                </a:lnTo>
                <a:lnTo>
                  <a:pt x="0" y="18"/>
                </a:lnTo>
                <a:lnTo>
                  <a:pt x="0" y="18"/>
                </a:lnTo>
                <a:lnTo>
                  <a:pt x="2" y="26"/>
                </a:lnTo>
                <a:lnTo>
                  <a:pt x="6" y="32"/>
                </a:lnTo>
                <a:lnTo>
                  <a:pt x="12" y="36"/>
                </a:lnTo>
                <a:lnTo>
                  <a:pt x="20" y="38"/>
                </a:lnTo>
                <a:lnTo>
                  <a:pt x="20" y="38"/>
                </a:lnTo>
                <a:lnTo>
                  <a:pt x="26" y="36"/>
                </a:lnTo>
                <a:lnTo>
                  <a:pt x="32" y="32"/>
                </a:lnTo>
                <a:lnTo>
                  <a:pt x="36" y="26"/>
                </a:lnTo>
                <a:lnTo>
                  <a:pt x="38" y="18"/>
                </a:lnTo>
                <a:lnTo>
                  <a:pt x="38" y="18"/>
                </a:lnTo>
                <a:lnTo>
                  <a:pt x="36" y="12"/>
                </a:lnTo>
                <a:lnTo>
                  <a:pt x="32" y="6"/>
                </a:lnTo>
                <a:lnTo>
                  <a:pt x="26" y="2"/>
                </a:lnTo>
                <a:lnTo>
                  <a:pt x="2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60" name="Freeform 99"/>
          <p:cNvSpPr>
            <a:spLocks/>
          </p:cNvSpPr>
          <p:nvPr userDrawn="1"/>
        </p:nvSpPr>
        <p:spPr bwMode="auto">
          <a:xfrm>
            <a:off x="523775" y="1309524"/>
            <a:ext cx="76551" cy="70663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20" y="0"/>
              </a:cxn>
              <a:cxn ang="0">
                <a:pos x="12" y="2"/>
              </a:cxn>
              <a:cxn ang="0">
                <a:pos x="6" y="6"/>
              </a:cxn>
              <a:cxn ang="0">
                <a:pos x="2" y="12"/>
              </a:cxn>
              <a:cxn ang="0">
                <a:pos x="0" y="20"/>
              </a:cxn>
              <a:cxn ang="0">
                <a:pos x="0" y="20"/>
              </a:cxn>
              <a:cxn ang="0">
                <a:pos x="2" y="28"/>
              </a:cxn>
              <a:cxn ang="0">
                <a:pos x="6" y="34"/>
              </a:cxn>
              <a:cxn ang="0">
                <a:pos x="12" y="38"/>
              </a:cxn>
              <a:cxn ang="0">
                <a:pos x="20" y="38"/>
              </a:cxn>
              <a:cxn ang="0">
                <a:pos x="20" y="38"/>
              </a:cxn>
              <a:cxn ang="0">
                <a:pos x="26" y="38"/>
              </a:cxn>
              <a:cxn ang="0">
                <a:pos x="32" y="34"/>
              </a:cxn>
              <a:cxn ang="0">
                <a:pos x="36" y="28"/>
              </a:cxn>
              <a:cxn ang="0">
                <a:pos x="38" y="20"/>
              </a:cxn>
              <a:cxn ang="0">
                <a:pos x="38" y="20"/>
              </a:cxn>
              <a:cxn ang="0">
                <a:pos x="36" y="12"/>
              </a:cxn>
              <a:cxn ang="0">
                <a:pos x="32" y="6"/>
              </a:cxn>
              <a:cxn ang="0">
                <a:pos x="26" y="2"/>
              </a:cxn>
              <a:cxn ang="0">
                <a:pos x="20" y="0"/>
              </a:cxn>
            </a:cxnLst>
            <a:rect l="0" t="0" r="r" b="b"/>
            <a:pathLst>
              <a:path w="38" h="38">
                <a:moveTo>
                  <a:pt x="20" y="0"/>
                </a:moveTo>
                <a:lnTo>
                  <a:pt x="20" y="0"/>
                </a:lnTo>
                <a:lnTo>
                  <a:pt x="12" y="2"/>
                </a:lnTo>
                <a:lnTo>
                  <a:pt x="6" y="6"/>
                </a:lnTo>
                <a:lnTo>
                  <a:pt x="2" y="12"/>
                </a:lnTo>
                <a:lnTo>
                  <a:pt x="0" y="20"/>
                </a:lnTo>
                <a:lnTo>
                  <a:pt x="0" y="20"/>
                </a:lnTo>
                <a:lnTo>
                  <a:pt x="2" y="28"/>
                </a:lnTo>
                <a:lnTo>
                  <a:pt x="6" y="34"/>
                </a:lnTo>
                <a:lnTo>
                  <a:pt x="12" y="38"/>
                </a:lnTo>
                <a:lnTo>
                  <a:pt x="20" y="38"/>
                </a:lnTo>
                <a:lnTo>
                  <a:pt x="20" y="38"/>
                </a:lnTo>
                <a:lnTo>
                  <a:pt x="26" y="38"/>
                </a:lnTo>
                <a:lnTo>
                  <a:pt x="32" y="34"/>
                </a:lnTo>
                <a:lnTo>
                  <a:pt x="36" y="28"/>
                </a:lnTo>
                <a:lnTo>
                  <a:pt x="38" y="20"/>
                </a:lnTo>
                <a:lnTo>
                  <a:pt x="38" y="20"/>
                </a:lnTo>
                <a:lnTo>
                  <a:pt x="36" y="12"/>
                </a:lnTo>
                <a:lnTo>
                  <a:pt x="32" y="6"/>
                </a:lnTo>
                <a:lnTo>
                  <a:pt x="26" y="2"/>
                </a:lnTo>
                <a:lnTo>
                  <a:pt x="20" y="0"/>
                </a:lnTo>
                <a:close/>
              </a:path>
            </a:pathLst>
          </a:custGeom>
          <a:solidFill>
            <a:srgbClr val="E10078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61" name="Freeform 100"/>
          <p:cNvSpPr>
            <a:spLocks/>
          </p:cNvSpPr>
          <p:nvPr userDrawn="1"/>
        </p:nvSpPr>
        <p:spPr bwMode="auto">
          <a:xfrm>
            <a:off x="523775" y="1309524"/>
            <a:ext cx="76551" cy="70663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20" y="0"/>
              </a:cxn>
              <a:cxn ang="0">
                <a:pos x="12" y="2"/>
              </a:cxn>
              <a:cxn ang="0">
                <a:pos x="6" y="6"/>
              </a:cxn>
              <a:cxn ang="0">
                <a:pos x="2" y="12"/>
              </a:cxn>
              <a:cxn ang="0">
                <a:pos x="0" y="20"/>
              </a:cxn>
              <a:cxn ang="0">
                <a:pos x="0" y="20"/>
              </a:cxn>
              <a:cxn ang="0">
                <a:pos x="2" y="28"/>
              </a:cxn>
              <a:cxn ang="0">
                <a:pos x="6" y="34"/>
              </a:cxn>
              <a:cxn ang="0">
                <a:pos x="12" y="38"/>
              </a:cxn>
              <a:cxn ang="0">
                <a:pos x="20" y="38"/>
              </a:cxn>
              <a:cxn ang="0">
                <a:pos x="20" y="38"/>
              </a:cxn>
              <a:cxn ang="0">
                <a:pos x="26" y="38"/>
              </a:cxn>
              <a:cxn ang="0">
                <a:pos x="32" y="34"/>
              </a:cxn>
              <a:cxn ang="0">
                <a:pos x="36" y="28"/>
              </a:cxn>
              <a:cxn ang="0">
                <a:pos x="38" y="20"/>
              </a:cxn>
              <a:cxn ang="0">
                <a:pos x="38" y="20"/>
              </a:cxn>
              <a:cxn ang="0">
                <a:pos x="36" y="12"/>
              </a:cxn>
              <a:cxn ang="0">
                <a:pos x="32" y="6"/>
              </a:cxn>
              <a:cxn ang="0">
                <a:pos x="26" y="2"/>
              </a:cxn>
              <a:cxn ang="0">
                <a:pos x="20" y="0"/>
              </a:cxn>
            </a:cxnLst>
            <a:rect l="0" t="0" r="r" b="b"/>
            <a:pathLst>
              <a:path w="38" h="38">
                <a:moveTo>
                  <a:pt x="20" y="0"/>
                </a:moveTo>
                <a:lnTo>
                  <a:pt x="20" y="0"/>
                </a:lnTo>
                <a:lnTo>
                  <a:pt x="12" y="2"/>
                </a:lnTo>
                <a:lnTo>
                  <a:pt x="6" y="6"/>
                </a:lnTo>
                <a:lnTo>
                  <a:pt x="2" y="12"/>
                </a:lnTo>
                <a:lnTo>
                  <a:pt x="0" y="20"/>
                </a:lnTo>
                <a:lnTo>
                  <a:pt x="0" y="20"/>
                </a:lnTo>
                <a:lnTo>
                  <a:pt x="2" y="28"/>
                </a:lnTo>
                <a:lnTo>
                  <a:pt x="6" y="34"/>
                </a:lnTo>
                <a:lnTo>
                  <a:pt x="12" y="38"/>
                </a:lnTo>
                <a:lnTo>
                  <a:pt x="20" y="38"/>
                </a:lnTo>
                <a:lnTo>
                  <a:pt x="20" y="38"/>
                </a:lnTo>
                <a:lnTo>
                  <a:pt x="26" y="38"/>
                </a:lnTo>
                <a:lnTo>
                  <a:pt x="32" y="34"/>
                </a:lnTo>
                <a:lnTo>
                  <a:pt x="36" y="28"/>
                </a:lnTo>
                <a:lnTo>
                  <a:pt x="38" y="20"/>
                </a:lnTo>
                <a:lnTo>
                  <a:pt x="38" y="20"/>
                </a:lnTo>
                <a:lnTo>
                  <a:pt x="36" y="12"/>
                </a:lnTo>
                <a:lnTo>
                  <a:pt x="32" y="6"/>
                </a:lnTo>
                <a:lnTo>
                  <a:pt x="26" y="2"/>
                </a:lnTo>
                <a:lnTo>
                  <a:pt x="20" y="0"/>
                </a:lnTo>
              </a:path>
            </a:pathLst>
          </a:custGeom>
          <a:solidFill>
            <a:srgbClr val="CC0066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62" name="Freeform 101"/>
          <p:cNvSpPr>
            <a:spLocks/>
          </p:cNvSpPr>
          <p:nvPr userDrawn="1"/>
        </p:nvSpPr>
        <p:spPr bwMode="auto">
          <a:xfrm>
            <a:off x="1281231" y="2332263"/>
            <a:ext cx="612411" cy="565302"/>
          </a:xfrm>
          <a:custGeom>
            <a:avLst/>
            <a:gdLst/>
            <a:ahLst/>
            <a:cxnLst>
              <a:cxn ang="0">
                <a:pos x="152" y="0"/>
              </a:cxn>
              <a:cxn ang="0">
                <a:pos x="120" y="4"/>
              </a:cxn>
              <a:cxn ang="0">
                <a:pos x="92" y="12"/>
              </a:cxn>
              <a:cxn ang="0">
                <a:pos x="66" y="26"/>
              </a:cxn>
              <a:cxn ang="0">
                <a:pos x="44" y="46"/>
              </a:cxn>
              <a:cxn ang="0">
                <a:pos x="26" y="68"/>
              </a:cxn>
              <a:cxn ang="0">
                <a:pos x="12" y="94"/>
              </a:cxn>
              <a:cxn ang="0">
                <a:pos x="2" y="122"/>
              </a:cxn>
              <a:cxn ang="0">
                <a:pos x="0" y="152"/>
              </a:cxn>
              <a:cxn ang="0">
                <a:pos x="0" y="168"/>
              </a:cxn>
              <a:cxn ang="0">
                <a:pos x="6" y="198"/>
              </a:cxn>
              <a:cxn ang="0">
                <a:pos x="18" y="226"/>
              </a:cxn>
              <a:cxn ang="0">
                <a:pos x="34" y="250"/>
              </a:cxn>
              <a:cxn ang="0">
                <a:pos x="54" y="270"/>
              </a:cxn>
              <a:cxn ang="0">
                <a:pos x="80" y="286"/>
              </a:cxn>
              <a:cxn ang="0">
                <a:pos x="106" y="298"/>
              </a:cxn>
              <a:cxn ang="0">
                <a:pos x="136" y="304"/>
              </a:cxn>
              <a:cxn ang="0">
                <a:pos x="152" y="304"/>
              </a:cxn>
              <a:cxn ang="0">
                <a:pos x="182" y="302"/>
              </a:cxn>
              <a:cxn ang="0">
                <a:pos x="210" y="292"/>
              </a:cxn>
              <a:cxn ang="0">
                <a:pos x="236" y="278"/>
              </a:cxn>
              <a:cxn ang="0">
                <a:pos x="258" y="260"/>
              </a:cxn>
              <a:cxn ang="0">
                <a:pos x="278" y="238"/>
              </a:cxn>
              <a:cxn ang="0">
                <a:pos x="292" y="212"/>
              </a:cxn>
              <a:cxn ang="0">
                <a:pos x="300" y="184"/>
              </a:cxn>
              <a:cxn ang="0">
                <a:pos x="304" y="152"/>
              </a:cxn>
              <a:cxn ang="0">
                <a:pos x="302" y="138"/>
              </a:cxn>
              <a:cxn ang="0">
                <a:pos x="296" y="108"/>
              </a:cxn>
              <a:cxn ang="0">
                <a:pos x="284" y="80"/>
              </a:cxn>
              <a:cxn ang="0">
                <a:pos x="268" y="56"/>
              </a:cxn>
              <a:cxn ang="0">
                <a:pos x="248" y="36"/>
              </a:cxn>
              <a:cxn ang="0">
                <a:pos x="224" y="20"/>
              </a:cxn>
              <a:cxn ang="0">
                <a:pos x="196" y="8"/>
              </a:cxn>
              <a:cxn ang="0">
                <a:pos x="166" y="2"/>
              </a:cxn>
            </a:cxnLst>
            <a:rect l="0" t="0" r="r" b="b"/>
            <a:pathLst>
              <a:path w="304" h="304">
                <a:moveTo>
                  <a:pt x="152" y="0"/>
                </a:moveTo>
                <a:lnTo>
                  <a:pt x="152" y="0"/>
                </a:lnTo>
                <a:lnTo>
                  <a:pt x="136" y="2"/>
                </a:lnTo>
                <a:lnTo>
                  <a:pt x="120" y="4"/>
                </a:lnTo>
                <a:lnTo>
                  <a:pt x="106" y="8"/>
                </a:lnTo>
                <a:lnTo>
                  <a:pt x="92" y="12"/>
                </a:lnTo>
                <a:lnTo>
                  <a:pt x="80" y="20"/>
                </a:lnTo>
                <a:lnTo>
                  <a:pt x="66" y="26"/>
                </a:lnTo>
                <a:lnTo>
                  <a:pt x="54" y="36"/>
                </a:lnTo>
                <a:lnTo>
                  <a:pt x="44" y="46"/>
                </a:lnTo>
                <a:lnTo>
                  <a:pt x="34" y="56"/>
                </a:lnTo>
                <a:lnTo>
                  <a:pt x="26" y="68"/>
                </a:lnTo>
                <a:lnTo>
                  <a:pt x="18" y="80"/>
                </a:lnTo>
                <a:lnTo>
                  <a:pt x="12" y="94"/>
                </a:lnTo>
                <a:lnTo>
                  <a:pt x="6" y="108"/>
                </a:lnTo>
                <a:lnTo>
                  <a:pt x="2" y="122"/>
                </a:lnTo>
                <a:lnTo>
                  <a:pt x="0" y="138"/>
                </a:lnTo>
                <a:lnTo>
                  <a:pt x="0" y="152"/>
                </a:lnTo>
                <a:lnTo>
                  <a:pt x="0" y="152"/>
                </a:lnTo>
                <a:lnTo>
                  <a:pt x="0" y="168"/>
                </a:lnTo>
                <a:lnTo>
                  <a:pt x="2" y="184"/>
                </a:lnTo>
                <a:lnTo>
                  <a:pt x="6" y="198"/>
                </a:lnTo>
                <a:lnTo>
                  <a:pt x="12" y="212"/>
                </a:lnTo>
                <a:lnTo>
                  <a:pt x="18" y="226"/>
                </a:lnTo>
                <a:lnTo>
                  <a:pt x="26" y="238"/>
                </a:lnTo>
                <a:lnTo>
                  <a:pt x="34" y="250"/>
                </a:lnTo>
                <a:lnTo>
                  <a:pt x="44" y="260"/>
                </a:lnTo>
                <a:lnTo>
                  <a:pt x="54" y="270"/>
                </a:lnTo>
                <a:lnTo>
                  <a:pt x="66" y="278"/>
                </a:lnTo>
                <a:lnTo>
                  <a:pt x="80" y="286"/>
                </a:lnTo>
                <a:lnTo>
                  <a:pt x="92" y="292"/>
                </a:lnTo>
                <a:lnTo>
                  <a:pt x="106" y="298"/>
                </a:lnTo>
                <a:lnTo>
                  <a:pt x="120" y="302"/>
                </a:lnTo>
                <a:lnTo>
                  <a:pt x="136" y="304"/>
                </a:lnTo>
                <a:lnTo>
                  <a:pt x="152" y="304"/>
                </a:lnTo>
                <a:lnTo>
                  <a:pt x="152" y="304"/>
                </a:lnTo>
                <a:lnTo>
                  <a:pt x="166" y="304"/>
                </a:lnTo>
                <a:lnTo>
                  <a:pt x="182" y="302"/>
                </a:lnTo>
                <a:lnTo>
                  <a:pt x="196" y="298"/>
                </a:lnTo>
                <a:lnTo>
                  <a:pt x="210" y="292"/>
                </a:lnTo>
                <a:lnTo>
                  <a:pt x="224" y="286"/>
                </a:lnTo>
                <a:lnTo>
                  <a:pt x="236" y="278"/>
                </a:lnTo>
                <a:lnTo>
                  <a:pt x="248" y="270"/>
                </a:lnTo>
                <a:lnTo>
                  <a:pt x="258" y="260"/>
                </a:lnTo>
                <a:lnTo>
                  <a:pt x="268" y="250"/>
                </a:lnTo>
                <a:lnTo>
                  <a:pt x="278" y="238"/>
                </a:lnTo>
                <a:lnTo>
                  <a:pt x="284" y="226"/>
                </a:lnTo>
                <a:lnTo>
                  <a:pt x="292" y="212"/>
                </a:lnTo>
                <a:lnTo>
                  <a:pt x="296" y="198"/>
                </a:lnTo>
                <a:lnTo>
                  <a:pt x="300" y="184"/>
                </a:lnTo>
                <a:lnTo>
                  <a:pt x="302" y="168"/>
                </a:lnTo>
                <a:lnTo>
                  <a:pt x="304" y="152"/>
                </a:lnTo>
                <a:lnTo>
                  <a:pt x="304" y="152"/>
                </a:lnTo>
                <a:lnTo>
                  <a:pt x="302" y="138"/>
                </a:lnTo>
                <a:lnTo>
                  <a:pt x="300" y="122"/>
                </a:lnTo>
                <a:lnTo>
                  <a:pt x="296" y="108"/>
                </a:lnTo>
                <a:lnTo>
                  <a:pt x="292" y="94"/>
                </a:lnTo>
                <a:lnTo>
                  <a:pt x="284" y="80"/>
                </a:lnTo>
                <a:lnTo>
                  <a:pt x="278" y="68"/>
                </a:lnTo>
                <a:lnTo>
                  <a:pt x="268" y="56"/>
                </a:lnTo>
                <a:lnTo>
                  <a:pt x="258" y="46"/>
                </a:lnTo>
                <a:lnTo>
                  <a:pt x="248" y="36"/>
                </a:lnTo>
                <a:lnTo>
                  <a:pt x="236" y="26"/>
                </a:lnTo>
                <a:lnTo>
                  <a:pt x="224" y="20"/>
                </a:lnTo>
                <a:lnTo>
                  <a:pt x="210" y="12"/>
                </a:lnTo>
                <a:lnTo>
                  <a:pt x="196" y="8"/>
                </a:lnTo>
                <a:lnTo>
                  <a:pt x="182" y="4"/>
                </a:lnTo>
                <a:lnTo>
                  <a:pt x="166" y="2"/>
                </a:lnTo>
                <a:lnTo>
                  <a:pt x="152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63" name="Freeform 102"/>
          <p:cNvSpPr>
            <a:spLocks/>
          </p:cNvSpPr>
          <p:nvPr userDrawn="1"/>
        </p:nvSpPr>
        <p:spPr bwMode="auto">
          <a:xfrm>
            <a:off x="1281231" y="2332263"/>
            <a:ext cx="612411" cy="565302"/>
          </a:xfrm>
          <a:custGeom>
            <a:avLst/>
            <a:gdLst/>
            <a:ahLst/>
            <a:cxnLst>
              <a:cxn ang="0">
                <a:pos x="152" y="0"/>
              </a:cxn>
              <a:cxn ang="0">
                <a:pos x="120" y="4"/>
              </a:cxn>
              <a:cxn ang="0">
                <a:pos x="92" y="12"/>
              </a:cxn>
              <a:cxn ang="0">
                <a:pos x="66" y="26"/>
              </a:cxn>
              <a:cxn ang="0">
                <a:pos x="44" y="46"/>
              </a:cxn>
              <a:cxn ang="0">
                <a:pos x="26" y="68"/>
              </a:cxn>
              <a:cxn ang="0">
                <a:pos x="12" y="94"/>
              </a:cxn>
              <a:cxn ang="0">
                <a:pos x="2" y="122"/>
              </a:cxn>
              <a:cxn ang="0">
                <a:pos x="0" y="152"/>
              </a:cxn>
              <a:cxn ang="0">
                <a:pos x="0" y="168"/>
              </a:cxn>
              <a:cxn ang="0">
                <a:pos x="6" y="198"/>
              </a:cxn>
              <a:cxn ang="0">
                <a:pos x="18" y="226"/>
              </a:cxn>
              <a:cxn ang="0">
                <a:pos x="34" y="250"/>
              </a:cxn>
              <a:cxn ang="0">
                <a:pos x="54" y="270"/>
              </a:cxn>
              <a:cxn ang="0">
                <a:pos x="80" y="286"/>
              </a:cxn>
              <a:cxn ang="0">
                <a:pos x="106" y="298"/>
              </a:cxn>
              <a:cxn ang="0">
                <a:pos x="136" y="304"/>
              </a:cxn>
              <a:cxn ang="0">
                <a:pos x="152" y="304"/>
              </a:cxn>
              <a:cxn ang="0">
                <a:pos x="182" y="302"/>
              </a:cxn>
              <a:cxn ang="0">
                <a:pos x="210" y="292"/>
              </a:cxn>
              <a:cxn ang="0">
                <a:pos x="236" y="278"/>
              </a:cxn>
              <a:cxn ang="0">
                <a:pos x="258" y="260"/>
              </a:cxn>
              <a:cxn ang="0">
                <a:pos x="278" y="238"/>
              </a:cxn>
              <a:cxn ang="0">
                <a:pos x="292" y="212"/>
              </a:cxn>
              <a:cxn ang="0">
                <a:pos x="300" y="184"/>
              </a:cxn>
              <a:cxn ang="0">
                <a:pos x="304" y="152"/>
              </a:cxn>
              <a:cxn ang="0">
                <a:pos x="302" y="138"/>
              </a:cxn>
              <a:cxn ang="0">
                <a:pos x="296" y="108"/>
              </a:cxn>
              <a:cxn ang="0">
                <a:pos x="284" y="80"/>
              </a:cxn>
              <a:cxn ang="0">
                <a:pos x="268" y="56"/>
              </a:cxn>
              <a:cxn ang="0">
                <a:pos x="248" y="36"/>
              </a:cxn>
              <a:cxn ang="0">
                <a:pos x="224" y="20"/>
              </a:cxn>
              <a:cxn ang="0">
                <a:pos x="196" y="8"/>
              </a:cxn>
              <a:cxn ang="0">
                <a:pos x="166" y="2"/>
              </a:cxn>
            </a:cxnLst>
            <a:rect l="0" t="0" r="r" b="b"/>
            <a:pathLst>
              <a:path w="304" h="304">
                <a:moveTo>
                  <a:pt x="152" y="0"/>
                </a:moveTo>
                <a:lnTo>
                  <a:pt x="152" y="0"/>
                </a:lnTo>
                <a:lnTo>
                  <a:pt x="136" y="2"/>
                </a:lnTo>
                <a:lnTo>
                  <a:pt x="120" y="4"/>
                </a:lnTo>
                <a:lnTo>
                  <a:pt x="106" y="8"/>
                </a:lnTo>
                <a:lnTo>
                  <a:pt x="92" y="12"/>
                </a:lnTo>
                <a:lnTo>
                  <a:pt x="80" y="20"/>
                </a:lnTo>
                <a:lnTo>
                  <a:pt x="66" y="26"/>
                </a:lnTo>
                <a:lnTo>
                  <a:pt x="54" y="36"/>
                </a:lnTo>
                <a:lnTo>
                  <a:pt x="44" y="46"/>
                </a:lnTo>
                <a:lnTo>
                  <a:pt x="34" y="56"/>
                </a:lnTo>
                <a:lnTo>
                  <a:pt x="26" y="68"/>
                </a:lnTo>
                <a:lnTo>
                  <a:pt x="18" y="80"/>
                </a:lnTo>
                <a:lnTo>
                  <a:pt x="12" y="94"/>
                </a:lnTo>
                <a:lnTo>
                  <a:pt x="6" y="108"/>
                </a:lnTo>
                <a:lnTo>
                  <a:pt x="2" y="122"/>
                </a:lnTo>
                <a:lnTo>
                  <a:pt x="0" y="138"/>
                </a:lnTo>
                <a:lnTo>
                  <a:pt x="0" y="152"/>
                </a:lnTo>
                <a:lnTo>
                  <a:pt x="0" y="152"/>
                </a:lnTo>
                <a:lnTo>
                  <a:pt x="0" y="168"/>
                </a:lnTo>
                <a:lnTo>
                  <a:pt x="2" y="184"/>
                </a:lnTo>
                <a:lnTo>
                  <a:pt x="6" y="198"/>
                </a:lnTo>
                <a:lnTo>
                  <a:pt x="12" y="212"/>
                </a:lnTo>
                <a:lnTo>
                  <a:pt x="18" y="226"/>
                </a:lnTo>
                <a:lnTo>
                  <a:pt x="26" y="238"/>
                </a:lnTo>
                <a:lnTo>
                  <a:pt x="34" y="250"/>
                </a:lnTo>
                <a:lnTo>
                  <a:pt x="44" y="260"/>
                </a:lnTo>
                <a:lnTo>
                  <a:pt x="54" y="270"/>
                </a:lnTo>
                <a:lnTo>
                  <a:pt x="66" y="278"/>
                </a:lnTo>
                <a:lnTo>
                  <a:pt x="80" y="286"/>
                </a:lnTo>
                <a:lnTo>
                  <a:pt x="92" y="292"/>
                </a:lnTo>
                <a:lnTo>
                  <a:pt x="106" y="298"/>
                </a:lnTo>
                <a:lnTo>
                  <a:pt x="120" y="302"/>
                </a:lnTo>
                <a:lnTo>
                  <a:pt x="136" y="304"/>
                </a:lnTo>
                <a:lnTo>
                  <a:pt x="152" y="304"/>
                </a:lnTo>
                <a:lnTo>
                  <a:pt x="152" y="304"/>
                </a:lnTo>
                <a:lnTo>
                  <a:pt x="166" y="304"/>
                </a:lnTo>
                <a:lnTo>
                  <a:pt x="182" y="302"/>
                </a:lnTo>
                <a:lnTo>
                  <a:pt x="196" y="298"/>
                </a:lnTo>
                <a:lnTo>
                  <a:pt x="210" y="292"/>
                </a:lnTo>
                <a:lnTo>
                  <a:pt x="224" y="286"/>
                </a:lnTo>
                <a:lnTo>
                  <a:pt x="236" y="278"/>
                </a:lnTo>
                <a:lnTo>
                  <a:pt x="248" y="270"/>
                </a:lnTo>
                <a:lnTo>
                  <a:pt x="258" y="260"/>
                </a:lnTo>
                <a:lnTo>
                  <a:pt x="268" y="250"/>
                </a:lnTo>
                <a:lnTo>
                  <a:pt x="278" y="238"/>
                </a:lnTo>
                <a:lnTo>
                  <a:pt x="284" y="226"/>
                </a:lnTo>
                <a:lnTo>
                  <a:pt x="292" y="212"/>
                </a:lnTo>
                <a:lnTo>
                  <a:pt x="296" y="198"/>
                </a:lnTo>
                <a:lnTo>
                  <a:pt x="300" y="184"/>
                </a:lnTo>
                <a:lnTo>
                  <a:pt x="302" y="168"/>
                </a:lnTo>
                <a:lnTo>
                  <a:pt x="304" y="152"/>
                </a:lnTo>
                <a:lnTo>
                  <a:pt x="304" y="152"/>
                </a:lnTo>
                <a:lnTo>
                  <a:pt x="302" y="138"/>
                </a:lnTo>
                <a:lnTo>
                  <a:pt x="300" y="122"/>
                </a:lnTo>
                <a:lnTo>
                  <a:pt x="296" y="108"/>
                </a:lnTo>
                <a:lnTo>
                  <a:pt x="292" y="94"/>
                </a:lnTo>
                <a:lnTo>
                  <a:pt x="284" y="80"/>
                </a:lnTo>
                <a:lnTo>
                  <a:pt x="278" y="68"/>
                </a:lnTo>
                <a:lnTo>
                  <a:pt x="268" y="56"/>
                </a:lnTo>
                <a:lnTo>
                  <a:pt x="258" y="46"/>
                </a:lnTo>
                <a:lnTo>
                  <a:pt x="248" y="36"/>
                </a:lnTo>
                <a:lnTo>
                  <a:pt x="236" y="26"/>
                </a:lnTo>
                <a:lnTo>
                  <a:pt x="224" y="20"/>
                </a:lnTo>
                <a:lnTo>
                  <a:pt x="210" y="12"/>
                </a:lnTo>
                <a:lnTo>
                  <a:pt x="196" y="8"/>
                </a:lnTo>
                <a:lnTo>
                  <a:pt x="182" y="4"/>
                </a:lnTo>
                <a:lnTo>
                  <a:pt x="166" y="2"/>
                </a:lnTo>
                <a:lnTo>
                  <a:pt x="15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64" name="Freeform 103"/>
          <p:cNvSpPr>
            <a:spLocks/>
          </p:cNvSpPr>
          <p:nvPr userDrawn="1"/>
        </p:nvSpPr>
        <p:spPr bwMode="auto">
          <a:xfrm>
            <a:off x="1518944" y="-531440"/>
            <a:ext cx="676875" cy="624808"/>
          </a:xfrm>
          <a:custGeom>
            <a:avLst/>
            <a:gdLst/>
            <a:ahLst/>
            <a:cxnLst>
              <a:cxn ang="0">
                <a:pos x="168" y="0"/>
              </a:cxn>
              <a:cxn ang="0">
                <a:pos x="134" y="4"/>
              </a:cxn>
              <a:cxn ang="0">
                <a:pos x="102" y="12"/>
              </a:cxn>
              <a:cxn ang="0">
                <a:pos x="74" y="28"/>
              </a:cxn>
              <a:cxn ang="0">
                <a:pos x="50" y="48"/>
              </a:cxn>
              <a:cxn ang="0">
                <a:pos x="28" y="74"/>
              </a:cxn>
              <a:cxn ang="0">
                <a:pos x="14" y="102"/>
              </a:cxn>
              <a:cxn ang="0">
                <a:pos x="4" y="134"/>
              </a:cxn>
              <a:cxn ang="0">
                <a:pos x="0" y="168"/>
              </a:cxn>
              <a:cxn ang="0">
                <a:pos x="0" y="184"/>
              </a:cxn>
              <a:cxn ang="0">
                <a:pos x="8" y="218"/>
              </a:cxn>
              <a:cxn ang="0">
                <a:pos x="20" y="248"/>
              </a:cxn>
              <a:cxn ang="0">
                <a:pos x="38" y="274"/>
              </a:cxn>
              <a:cxn ang="0">
                <a:pos x="60" y="296"/>
              </a:cxn>
              <a:cxn ang="0">
                <a:pos x="88" y="314"/>
              </a:cxn>
              <a:cxn ang="0">
                <a:pos x="118" y="328"/>
              </a:cxn>
              <a:cxn ang="0">
                <a:pos x="150" y="334"/>
              </a:cxn>
              <a:cxn ang="0">
                <a:pos x="168" y="336"/>
              </a:cxn>
              <a:cxn ang="0">
                <a:pos x="202" y="332"/>
              </a:cxn>
              <a:cxn ang="0">
                <a:pos x="232" y="322"/>
              </a:cxn>
              <a:cxn ang="0">
                <a:pos x="262" y="306"/>
              </a:cxn>
              <a:cxn ang="0">
                <a:pos x="286" y="286"/>
              </a:cxn>
              <a:cxn ang="0">
                <a:pos x="306" y="262"/>
              </a:cxn>
              <a:cxn ang="0">
                <a:pos x="322" y="232"/>
              </a:cxn>
              <a:cxn ang="0">
                <a:pos x="332" y="202"/>
              </a:cxn>
              <a:cxn ang="0">
                <a:pos x="336" y="168"/>
              </a:cxn>
              <a:cxn ang="0">
                <a:pos x="334" y="150"/>
              </a:cxn>
              <a:cxn ang="0">
                <a:pos x="328" y="118"/>
              </a:cxn>
              <a:cxn ang="0">
                <a:pos x="316" y="88"/>
              </a:cxn>
              <a:cxn ang="0">
                <a:pos x="296" y="60"/>
              </a:cxn>
              <a:cxn ang="0">
                <a:pos x="274" y="38"/>
              </a:cxn>
              <a:cxn ang="0">
                <a:pos x="248" y="20"/>
              </a:cxn>
              <a:cxn ang="0">
                <a:pos x="218" y="8"/>
              </a:cxn>
              <a:cxn ang="0">
                <a:pos x="184" y="0"/>
              </a:cxn>
            </a:cxnLst>
            <a:rect l="0" t="0" r="r" b="b"/>
            <a:pathLst>
              <a:path w="336" h="336">
                <a:moveTo>
                  <a:pt x="168" y="0"/>
                </a:moveTo>
                <a:lnTo>
                  <a:pt x="168" y="0"/>
                </a:lnTo>
                <a:lnTo>
                  <a:pt x="150" y="0"/>
                </a:lnTo>
                <a:lnTo>
                  <a:pt x="134" y="4"/>
                </a:lnTo>
                <a:lnTo>
                  <a:pt x="118" y="8"/>
                </a:lnTo>
                <a:lnTo>
                  <a:pt x="102" y="12"/>
                </a:lnTo>
                <a:lnTo>
                  <a:pt x="88" y="20"/>
                </a:lnTo>
                <a:lnTo>
                  <a:pt x="74" y="28"/>
                </a:lnTo>
                <a:lnTo>
                  <a:pt x="60" y="38"/>
                </a:lnTo>
                <a:lnTo>
                  <a:pt x="50" y="48"/>
                </a:lnTo>
                <a:lnTo>
                  <a:pt x="38" y="60"/>
                </a:lnTo>
                <a:lnTo>
                  <a:pt x="28" y="74"/>
                </a:lnTo>
                <a:lnTo>
                  <a:pt x="20" y="88"/>
                </a:lnTo>
                <a:lnTo>
                  <a:pt x="14" y="102"/>
                </a:lnTo>
                <a:lnTo>
                  <a:pt x="8" y="118"/>
                </a:lnTo>
                <a:lnTo>
                  <a:pt x="4" y="134"/>
                </a:lnTo>
                <a:lnTo>
                  <a:pt x="0" y="150"/>
                </a:lnTo>
                <a:lnTo>
                  <a:pt x="0" y="168"/>
                </a:lnTo>
                <a:lnTo>
                  <a:pt x="0" y="168"/>
                </a:lnTo>
                <a:lnTo>
                  <a:pt x="0" y="184"/>
                </a:lnTo>
                <a:lnTo>
                  <a:pt x="4" y="202"/>
                </a:lnTo>
                <a:lnTo>
                  <a:pt x="8" y="218"/>
                </a:lnTo>
                <a:lnTo>
                  <a:pt x="14" y="232"/>
                </a:lnTo>
                <a:lnTo>
                  <a:pt x="20" y="248"/>
                </a:lnTo>
                <a:lnTo>
                  <a:pt x="28" y="262"/>
                </a:lnTo>
                <a:lnTo>
                  <a:pt x="38" y="274"/>
                </a:lnTo>
                <a:lnTo>
                  <a:pt x="50" y="286"/>
                </a:lnTo>
                <a:lnTo>
                  <a:pt x="60" y="296"/>
                </a:lnTo>
                <a:lnTo>
                  <a:pt x="74" y="306"/>
                </a:lnTo>
                <a:lnTo>
                  <a:pt x="88" y="314"/>
                </a:lnTo>
                <a:lnTo>
                  <a:pt x="102" y="322"/>
                </a:lnTo>
                <a:lnTo>
                  <a:pt x="118" y="328"/>
                </a:lnTo>
                <a:lnTo>
                  <a:pt x="134" y="332"/>
                </a:lnTo>
                <a:lnTo>
                  <a:pt x="150" y="334"/>
                </a:lnTo>
                <a:lnTo>
                  <a:pt x="168" y="336"/>
                </a:lnTo>
                <a:lnTo>
                  <a:pt x="168" y="336"/>
                </a:lnTo>
                <a:lnTo>
                  <a:pt x="184" y="334"/>
                </a:lnTo>
                <a:lnTo>
                  <a:pt x="202" y="332"/>
                </a:lnTo>
                <a:lnTo>
                  <a:pt x="218" y="328"/>
                </a:lnTo>
                <a:lnTo>
                  <a:pt x="232" y="322"/>
                </a:lnTo>
                <a:lnTo>
                  <a:pt x="248" y="314"/>
                </a:lnTo>
                <a:lnTo>
                  <a:pt x="262" y="306"/>
                </a:lnTo>
                <a:lnTo>
                  <a:pt x="274" y="296"/>
                </a:lnTo>
                <a:lnTo>
                  <a:pt x="286" y="286"/>
                </a:lnTo>
                <a:lnTo>
                  <a:pt x="296" y="274"/>
                </a:lnTo>
                <a:lnTo>
                  <a:pt x="306" y="262"/>
                </a:lnTo>
                <a:lnTo>
                  <a:pt x="316" y="248"/>
                </a:lnTo>
                <a:lnTo>
                  <a:pt x="322" y="232"/>
                </a:lnTo>
                <a:lnTo>
                  <a:pt x="328" y="218"/>
                </a:lnTo>
                <a:lnTo>
                  <a:pt x="332" y="202"/>
                </a:lnTo>
                <a:lnTo>
                  <a:pt x="334" y="184"/>
                </a:lnTo>
                <a:lnTo>
                  <a:pt x="336" y="168"/>
                </a:lnTo>
                <a:lnTo>
                  <a:pt x="336" y="168"/>
                </a:lnTo>
                <a:lnTo>
                  <a:pt x="334" y="150"/>
                </a:lnTo>
                <a:lnTo>
                  <a:pt x="332" y="134"/>
                </a:lnTo>
                <a:lnTo>
                  <a:pt x="328" y="118"/>
                </a:lnTo>
                <a:lnTo>
                  <a:pt x="322" y="102"/>
                </a:lnTo>
                <a:lnTo>
                  <a:pt x="316" y="88"/>
                </a:lnTo>
                <a:lnTo>
                  <a:pt x="306" y="74"/>
                </a:lnTo>
                <a:lnTo>
                  <a:pt x="296" y="60"/>
                </a:lnTo>
                <a:lnTo>
                  <a:pt x="286" y="48"/>
                </a:lnTo>
                <a:lnTo>
                  <a:pt x="274" y="38"/>
                </a:lnTo>
                <a:lnTo>
                  <a:pt x="262" y="28"/>
                </a:lnTo>
                <a:lnTo>
                  <a:pt x="248" y="20"/>
                </a:lnTo>
                <a:lnTo>
                  <a:pt x="232" y="12"/>
                </a:lnTo>
                <a:lnTo>
                  <a:pt x="218" y="8"/>
                </a:lnTo>
                <a:lnTo>
                  <a:pt x="202" y="4"/>
                </a:lnTo>
                <a:lnTo>
                  <a:pt x="184" y="0"/>
                </a:lnTo>
                <a:lnTo>
                  <a:pt x="168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65" name="Freeform 104"/>
          <p:cNvSpPr>
            <a:spLocks/>
          </p:cNvSpPr>
          <p:nvPr userDrawn="1"/>
        </p:nvSpPr>
        <p:spPr bwMode="auto">
          <a:xfrm>
            <a:off x="1518944" y="-531440"/>
            <a:ext cx="676875" cy="624808"/>
          </a:xfrm>
          <a:custGeom>
            <a:avLst/>
            <a:gdLst/>
            <a:ahLst/>
            <a:cxnLst>
              <a:cxn ang="0">
                <a:pos x="168" y="0"/>
              </a:cxn>
              <a:cxn ang="0">
                <a:pos x="134" y="4"/>
              </a:cxn>
              <a:cxn ang="0">
                <a:pos x="102" y="12"/>
              </a:cxn>
              <a:cxn ang="0">
                <a:pos x="74" y="28"/>
              </a:cxn>
              <a:cxn ang="0">
                <a:pos x="50" y="48"/>
              </a:cxn>
              <a:cxn ang="0">
                <a:pos x="28" y="74"/>
              </a:cxn>
              <a:cxn ang="0">
                <a:pos x="14" y="102"/>
              </a:cxn>
              <a:cxn ang="0">
                <a:pos x="4" y="134"/>
              </a:cxn>
              <a:cxn ang="0">
                <a:pos x="0" y="168"/>
              </a:cxn>
              <a:cxn ang="0">
                <a:pos x="0" y="184"/>
              </a:cxn>
              <a:cxn ang="0">
                <a:pos x="8" y="218"/>
              </a:cxn>
              <a:cxn ang="0">
                <a:pos x="20" y="248"/>
              </a:cxn>
              <a:cxn ang="0">
                <a:pos x="38" y="274"/>
              </a:cxn>
              <a:cxn ang="0">
                <a:pos x="60" y="296"/>
              </a:cxn>
              <a:cxn ang="0">
                <a:pos x="88" y="314"/>
              </a:cxn>
              <a:cxn ang="0">
                <a:pos x="118" y="328"/>
              </a:cxn>
              <a:cxn ang="0">
                <a:pos x="150" y="334"/>
              </a:cxn>
              <a:cxn ang="0">
                <a:pos x="168" y="336"/>
              </a:cxn>
              <a:cxn ang="0">
                <a:pos x="202" y="332"/>
              </a:cxn>
              <a:cxn ang="0">
                <a:pos x="232" y="322"/>
              </a:cxn>
              <a:cxn ang="0">
                <a:pos x="262" y="306"/>
              </a:cxn>
              <a:cxn ang="0">
                <a:pos x="286" y="286"/>
              </a:cxn>
              <a:cxn ang="0">
                <a:pos x="306" y="262"/>
              </a:cxn>
              <a:cxn ang="0">
                <a:pos x="322" y="232"/>
              </a:cxn>
              <a:cxn ang="0">
                <a:pos x="332" y="202"/>
              </a:cxn>
              <a:cxn ang="0">
                <a:pos x="336" y="168"/>
              </a:cxn>
              <a:cxn ang="0">
                <a:pos x="334" y="150"/>
              </a:cxn>
              <a:cxn ang="0">
                <a:pos x="328" y="118"/>
              </a:cxn>
              <a:cxn ang="0">
                <a:pos x="316" y="88"/>
              </a:cxn>
              <a:cxn ang="0">
                <a:pos x="296" y="60"/>
              </a:cxn>
              <a:cxn ang="0">
                <a:pos x="274" y="38"/>
              </a:cxn>
              <a:cxn ang="0">
                <a:pos x="248" y="20"/>
              </a:cxn>
              <a:cxn ang="0">
                <a:pos x="218" y="8"/>
              </a:cxn>
              <a:cxn ang="0">
                <a:pos x="184" y="0"/>
              </a:cxn>
            </a:cxnLst>
            <a:rect l="0" t="0" r="r" b="b"/>
            <a:pathLst>
              <a:path w="336" h="336">
                <a:moveTo>
                  <a:pt x="168" y="0"/>
                </a:moveTo>
                <a:lnTo>
                  <a:pt x="168" y="0"/>
                </a:lnTo>
                <a:lnTo>
                  <a:pt x="150" y="0"/>
                </a:lnTo>
                <a:lnTo>
                  <a:pt x="134" y="4"/>
                </a:lnTo>
                <a:lnTo>
                  <a:pt x="118" y="8"/>
                </a:lnTo>
                <a:lnTo>
                  <a:pt x="102" y="12"/>
                </a:lnTo>
                <a:lnTo>
                  <a:pt x="88" y="20"/>
                </a:lnTo>
                <a:lnTo>
                  <a:pt x="74" y="28"/>
                </a:lnTo>
                <a:lnTo>
                  <a:pt x="60" y="38"/>
                </a:lnTo>
                <a:lnTo>
                  <a:pt x="50" y="48"/>
                </a:lnTo>
                <a:lnTo>
                  <a:pt x="38" y="60"/>
                </a:lnTo>
                <a:lnTo>
                  <a:pt x="28" y="74"/>
                </a:lnTo>
                <a:lnTo>
                  <a:pt x="20" y="88"/>
                </a:lnTo>
                <a:lnTo>
                  <a:pt x="14" y="102"/>
                </a:lnTo>
                <a:lnTo>
                  <a:pt x="8" y="118"/>
                </a:lnTo>
                <a:lnTo>
                  <a:pt x="4" y="134"/>
                </a:lnTo>
                <a:lnTo>
                  <a:pt x="0" y="150"/>
                </a:lnTo>
                <a:lnTo>
                  <a:pt x="0" y="168"/>
                </a:lnTo>
                <a:lnTo>
                  <a:pt x="0" y="168"/>
                </a:lnTo>
                <a:lnTo>
                  <a:pt x="0" y="184"/>
                </a:lnTo>
                <a:lnTo>
                  <a:pt x="4" y="202"/>
                </a:lnTo>
                <a:lnTo>
                  <a:pt x="8" y="218"/>
                </a:lnTo>
                <a:lnTo>
                  <a:pt x="14" y="232"/>
                </a:lnTo>
                <a:lnTo>
                  <a:pt x="20" y="248"/>
                </a:lnTo>
                <a:lnTo>
                  <a:pt x="28" y="262"/>
                </a:lnTo>
                <a:lnTo>
                  <a:pt x="38" y="274"/>
                </a:lnTo>
                <a:lnTo>
                  <a:pt x="50" y="286"/>
                </a:lnTo>
                <a:lnTo>
                  <a:pt x="60" y="296"/>
                </a:lnTo>
                <a:lnTo>
                  <a:pt x="74" y="306"/>
                </a:lnTo>
                <a:lnTo>
                  <a:pt x="88" y="314"/>
                </a:lnTo>
                <a:lnTo>
                  <a:pt x="102" y="322"/>
                </a:lnTo>
                <a:lnTo>
                  <a:pt x="118" y="328"/>
                </a:lnTo>
                <a:lnTo>
                  <a:pt x="134" y="332"/>
                </a:lnTo>
                <a:lnTo>
                  <a:pt x="150" y="334"/>
                </a:lnTo>
                <a:lnTo>
                  <a:pt x="168" y="336"/>
                </a:lnTo>
                <a:lnTo>
                  <a:pt x="168" y="336"/>
                </a:lnTo>
                <a:lnTo>
                  <a:pt x="184" y="334"/>
                </a:lnTo>
                <a:lnTo>
                  <a:pt x="202" y="332"/>
                </a:lnTo>
                <a:lnTo>
                  <a:pt x="218" y="328"/>
                </a:lnTo>
                <a:lnTo>
                  <a:pt x="232" y="322"/>
                </a:lnTo>
                <a:lnTo>
                  <a:pt x="248" y="314"/>
                </a:lnTo>
                <a:lnTo>
                  <a:pt x="262" y="306"/>
                </a:lnTo>
                <a:lnTo>
                  <a:pt x="274" y="296"/>
                </a:lnTo>
                <a:lnTo>
                  <a:pt x="286" y="286"/>
                </a:lnTo>
                <a:lnTo>
                  <a:pt x="296" y="274"/>
                </a:lnTo>
                <a:lnTo>
                  <a:pt x="306" y="262"/>
                </a:lnTo>
                <a:lnTo>
                  <a:pt x="316" y="248"/>
                </a:lnTo>
                <a:lnTo>
                  <a:pt x="322" y="232"/>
                </a:lnTo>
                <a:lnTo>
                  <a:pt x="328" y="218"/>
                </a:lnTo>
                <a:lnTo>
                  <a:pt x="332" y="202"/>
                </a:lnTo>
                <a:lnTo>
                  <a:pt x="334" y="184"/>
                </a:lnTo>
                <a:lnTo>
                  <a:pt x="336" y="168"/>
                </a:lnTo>
                <a:lnTo>
                  <a:pt x="336" y="168"/>
                </a:lnTo>
                <a:lnTo>
                  <a:pt x="334" y="150"/>
                </a:lnTo>
                <a:lnTo>
                  <a:pt x="332" y="134"/>
                </a:lnTo>
                <a:lnTo>
                  <a:pt x="328" y="118"/>
                </a:lnTo>
                <a:lnTo>
                  <a:pt x="322" y="102"/>
                </a:lnTo>
                <a:lnTo>
                  <a:pt x="316" y="88"/>
                </a:lnTo>
                <a:lnTo>
                  <a:pt x="306" y="74"/>
                </a:lnTo>
                <a:lnTo>
                  <a:pt x="296" y="60"/>
                </a:lnTo>
                <a:lnTo>
                  <a:pt x="286" y="48"/>
                </a:lnTo>
                <a:lnTo>
                  <a:pt x="274" y="38"/>
                </a:lnTo>
                <a:lnTo>
                  <a:pt x="262" y="28"/>
                </a:lnTo>
                <a:lnTo>
                  <a:pt x="248" y="20"/>
                </a:lnTo>
                <a:lnTo>
                  <a:pt x="232" y="12"/>
                </a:lnTo>
                <a:lnTo>
                  <a:pt x="218" y="8"/>
                </a:lnTo>
                <a:lnTo>
                  <a:pt x="202" y="4"/>
                </a:lnTo>
                <a:lnTo>
                  <a:pt x="184" y="0"/>
                </a:lnTo>
                <a:lnTo>
                  <a:pt x="168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66" name="Freeform 105"/>
          <p:cNvSpPr>
            <a:spLocks/>
          </p:cNvSpPr>
          <p:nvPr userDrawn="1"/>
        </p:nvSpPr>
        <p:spPr bwMode="auto">
          <a:xfrm>
            <a:off x="588238" y="56190"/>
            <a:ext cx="290090" cy="267775"/>
          </a:xfrm>
          <a:custGeom>
            <a:avLst/>
            <a:gdLst/>
            <a:ahLst/>
            <a:cxnLst>
              <a:cxn ang="0">
                <a:pos x="72" y="0"/>
              </a:cxn>
              <a:cxn ang="0">
                <a:pos x="72" y="0"/>
              </a:cxn>
              <a:cxn ang="0">
                <a:pos x="56" y="0"/>
              </a:cxn>
              <a:cxn ang="0">
                <a:pos x="44" y="6"/>
              </a:cxn>
              <a:cxn ang="0">
                <a:pos x="32" y="12"/>
              </a:cxn>
              <a:cxn ang="0">
                <a:pos x="20" y="20"/>
              </a:cxn>
              <a:cxn ang="0">
                <a:pos x="12" y="32"/>
              </a:cxn>
              <a:cxn ang="0">
                <a:pos x="6" y="44"/>
              </a:cxn>
              <a:cxn ang="0">
                <a:pos x="0" y="58"/>
              </a:cxn>
              <a:cxn ang="0">
                <a:pos x="0" y="72"/>
              </a:cxn>
              <a:cxn ang="0">
                <a:pos x="0" y="72"/>
              </a:cxn>
              <a:cxn ang="0">
                <a:pos x="0" y="86"/>
              </a:cxn>
              <a:cxn ang="0">
                <a:pos x="6" y="100"/>
              </a:cxn>
              <a:cxn ang="0">
                <a:pos x="12" y="112"/>
              </a:cxn>
              <a:cxn ang="0">
                <a:pos x="20" y="122"/>
              </a:cxn>
              <a:cxn ang="0">
                <a:pos x="32" y="132"/>
              </a:cxn>
              <a:cxn ang="0">
                <a:pos x="44" y="138"/>
              </a:cxn>
              <a:cxn ang="0">
                <a:pos x="56" y="142"/>
              </a:cxn>
              <a:cxn ang="0">
                <a:pos x="72" y="144"/>
              </a:cxn>
              <a:cxn ang="0">
                <a:pos x="72" y="144"/>
              </a:cxn>
              <a:cxn ang="0">
                <a:pos x="86" y="142"/>
              </a:cxn>
              <a:cxn ang="0">
                <a:pos x="100" y="138"/>
              </a:cxn>
              <a:cxn ang="0">
                <a:pos x="112" y="132"/>
              </a:cxn>
              <a:cxn ang="0">
                <a:pos x="122" y="122"/>
              </a:cxn>
              <a:cxn ang="0">
                <a:pos x="132" y="112"/>
              </a:cxn>
              <a:cxn ang="0">
                <a:pos x="138" y="100"/>
              </a:cxn>
              <a:cxn ang="0">
                <a:pos x="142" y="86"/>
              </a:cxn>
              <a:cxn ang="0">
                <a:pos x="144" y="72"/>
              </a:cxn>
              <a:cxn ang="0">
                <a:pos x="144" y="72"/>
              </a:cxn>
              <a:cxn ang="0">
                <a:pos x="142" y="58"/>
              </a:cxn>
              <a:cxn ang="0">
                <a:pos x="138" y="44"/>
              </a:cxn>
              <a:cxn ang="0">
                <a:pos x="132" y="32"/>
              </a:cxn>
              <a:cxn ang="0">
                <a:pos x="122" y="20"/>
              </a:cxn>
              <a:cxn ang="0">
                <a:pos x="112" y="12"/>
              </a:cxn>
              <a:cxn ang="0">
                <a:pos x="100" y="6"/>
              </a:cxn>
              <a:cxn ang="0">
                <a:pos x="86" y="0"/>
              </a:cxn>
              <a:cxn ang="0">
                <a:pos x="72" y="0"/>
              </a:cxn>
            </a:cxnLst>
            <a:rect l="0" t="0" r="r" b="b"/>
            <a:pathLst>
              <a:path w="144" h="144">
                <a:moveTo>
                  <a:pt x="72" y="0"/>
                </a:moveTo>
                <a:lnTo>
                  <a:pt x="72" y="0"/>
                </a:lnTo>
                <a:lnTo>
                  <a:pt x="56" y="0"/>
                </a:lnTo>
                <a:lnTo>
                  <a:pt x="44" y="6"/>
                </a:lnTo>
                <a:lnTo>
                  <a:pt x="32" y="12"/>
                </a:lnTo>
                <a:lnTo>
                  <a:pt x="20" y="20"/>
                </a:lnTo>
                <a:lnTo>
                  <a:pt x="12" y="32"/>
                </a:lnTo>
                <a:lnTo>
                  <a:pt x="6" y="44"/>
                </a:lnTo>
                <a:lnTo>
                  <a:pt x="0" y="58"/>
                </a:lnTo>
                <a:lnTo>
                  <a:pt x="0" y="72"/>
                </a:lnTo>
                <a:lnTo>
                  <a:pt x="0" y="72"/>
                </a:lnTo>
                <a:lnTo>
                  <a:pt x="0" y="86"/>
                </a:lnTo>
                <a:lnTo>
                  <a:pt x="6" y="100"/>
                </a:lnTo>
                <a:lnTo>
                  <a:pt x="12" y="112"/>
                </a:lnTo>
                <a:lnTo>
                  <a:pt x="20" y="122"/>
                </a:lnTo>
                <a:lnTo>
                  <a:pt x="32" y="132"/>
                </a:lnTo>
                <a:lnTo>
                  <a:pt x="44" y="138"/>
                </a:lnTo>
                <a:lnTo>
                  <a:pt x="56" y="142"/>
                </a:lnTo>
                <a:lnTo>
                  <a:pt x="72" y="144"/>
                </a:lnTo>
                <a:lnTo>
                  <a:pt x="72" y="144"/>
                </a:lnTo>
                <a:lnTo>
                  <a:pt x="86" y="142"/>
                </a:lnTo>
                <a:lnTo>
                  <a:pt x="100" y="138"/>
                </a:lnTo>
                <a:lnTo>
                  <a:pt x="112" y="132"/>
                </a:lnTo>
                <a:lnTo>
                  <a:pt x="122" y="122"/>
                </a:lnTo>
                <a:lnTo>
                  <a:pt x="132" y="112"/>
                </a:lnTo>
                <a:lnTo>
                  <a:pt x="138" y="100"/>
                </a:lnTo>
                <a:lnTo>
                  <a:pt x="142" y="86"/>
                </a:lnTo>
                <a:lnTo>
                  <a:pt x="144" y="72"/>
                </a:lnTo>
                <a:lnTo>
                  <a:pt x="144" y="72"/>
                </a:lnTo>
                <a:lnTo>
                  <a:pt x="142" y="58"/>
                </a:lnTo>
                <a:lnTo>
                  <a:pt x="138" y="44"/>
                </a:lnTo>
                <a:lnTo>
                  <a:pt x="132" y="32"/>
                </a:lnTo>
                <a:lnTo>
                  <a:pt x="122" y="20"/>
                </a:lnTo>
                <a:lnTo>
                  <a:pt x="112" y="12"/>
                </a:lnTo>
                <a:lnTo>
                  <a:pt x="100" y="6"/>
                </a:lnTo>
                <a:lnTo>
                  <a:pt x="86" y="0"/>
                </a:lnTo>
                <a:lnTo>
                  <a:pt x="72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67" name="Freeform 106"/>
          <p:cNvSpPr>
            <a:spLocks/>
          </p:cNvSpPr>
          <p:nvPr userDrawn="1"/>
        </p:nvSpPr>
        <p:spPr bwMode="auto">
          <a:xfrm>
            <a:off x="588238" y="56190"/>
            <a:ext cx="290090" cy="267775"/>
          </a:xfrm>
          <a:custGeom>
            <a:avLst/>
            <a:gdLst/>
            <a:ahLst/>
            <a:cxnLst>
              <a:cxn ang="0">
                <a:pos x="72" y="0"/>
              </a:cxn>
              <a:cxn ang="0">
                <a:pos x="72" y="0"/>
              </a:cxn>
              <a:cxn ang="0">
                <a:pos x="56" y="0"/>
              </a:cxn>
              <a:cxn ang="0">
                <a:pos x="44" y="6"/>
              </a:cxn>
              <a:cxn ang="0">
                <a:pos x="32" y="12"/>
              </a:cxn>
              <a:cxn ang="0">
                <a:pos x="20" y="20"/>
              </a:cxn>
              <a:cxn ang="0">
                <a:pos x="12" y="32"/>
              </a:cxn>
              <a:cxn ang="0">
                <a:pos x="6" y="44"/>
              </a:cxn>
              <a:cxn ang="0">
                <a:pos x="0" y="58"/>
              </a:cxn>
              <a:cxn ang="0">
                <a:pos x="0" y="72"/>
              </a:cxn>
              <a:cxn ang="0">
                <a:pos x="0" y="72"/>
              </a:cxn>
              <a:cxn ang="0">
                <a:pos x="0" y="86"/>
              </a:cxn>
              <a:cxn ang="0">
                <a:pos x="6" y="100"/>
              </a:cxn>
              <a:cxn ang="0">
                <a:pos x="12" y="112"/>
              </a:cxn>
              <a:cxn ang="0">
                <a:pos x="20" y="122"/>
              </a:cxn>
              <a:cxn ang="0">
                <a:pos x="32" y="132"/>
              </a:cxn>
              <a:cxn ang="0">
                <a:pos x="44" y="138"/>
              </a:cxn>
              <a:cxn ang="0">
                <a:pos x="56" y="142"/>
              </a:cxn>
              <a:cxn ang="0">
                <a:pos x="72" y="144"/>
              </a:cxn>
              <a:cxn ang="0">
                <a:pos x="72" y="144"/>
              </a:cxn>
              <a:cxn ang="0">
                <a:pos x="86" y="142"/>
              </a:cxn>
              <a:cxn ang="0">
                <a:pos x="100" y="138"/>
              </a:cxn>
              <a:cxn ang="0">
                <a:pos x="112" y="132"/>
              </a:cxn>
              <a:cxn ang="0">
                <a:pos x="122" y="122"/>
              </a:cxn>
              <a:cxn ang="0">
                <a:pos x="132" y="112"/>
              </a:cxn>
              <a:cxn ang="0">
                <a:pos x="138" y="100"/>
              </a:cxn>
              <a:cxn ang="0">
                <a:pos x="142" y="86"/>
              </a:cxn>
              <a:cxn ang="0">
                <a:pos x="144" y="72"/>
              </a:cxn>
              <a:cxn ang="0">
                <a:pos x="144" y="72"/>
              </a:cxn>
              <a:cxn ang="0">
                <a:pos x="142" y="58"/>
              </a:cxn>
              <a:cxn ang="0">
                <a:pos x="138" y="44"/>
              </a:cxn>
              <a:cxn ang="0">
                <a:pos x="132" y="32"/>
              </a:cxn>
              <a:cxn ang="0">
                <a:pos x="122" y="20"/>
              </a:cxn>
              <a:cxn ang="0">
                <a:pos x="112" y="12"/>
              </a:cxn>
              <a:cxn ang="0">
                <a:pos x="100" y="6"/>
              </a:cxn>
              <a:cxn ang="0">
                <a:pos x="86" y="0"/>
              </a:cxn>
              <a:cxn ang="0">
                <a:pos x="72" y="0"/>
              </a:cxn>
            </a:cxnLst>
            <a:rect l="0" t="0" r="r" b="b"/>
            <a:pathLst>
              <a:path w="144" h="144">
                <a:moveTo>
                  <a:pt x="72" y="0"/>
                </a:moveTo>
                <a:lnTo>
                  <a:pt x="72" y="0"/>
                </a:lnTo>
                <a:lnTo>
                  <a:pt x="56" y="0"/>
                </a:lnTo>
                <a:lnTo>
                  <a:pt x="44" y="6"/>
                </a:lnTo>
                <a:lnTo>
                  <a:pt x="32" y="12"/>
                </a:lnTo>
                <a:lnTo>
                  <a:pt x="20" y="20"/>
                </a:lnTo>
                <a:lnTo>
                  <a:pt x="12" y="32"/>
                </a:lnTo>
                <a:lnTo>
                  <a:pt x="6" y="44"/>
                </a:lnTo>
                <a:lnTo>
                  <a:pt x="0" y="58"/>
                </a:lnTo>
                <a:lnTo>
                  <a:pt x="0" y="72"/>
                </a:lnTo>
                <a:lnTo>
                  <a:pt x="0" y="72"/>
                </a:lnTo>
                <a:lnTo>
                  <a:pt x="0" y="86"/>
                </a:lnTo>
                <a:lnTo>
                  <a:pt x="6" y="100"/>
                </a:lnTo>
                <a:lnTo>
                  <a:pt x="12" y="112"/>
                </a:lnTo>
                <a:lnTo>
                  <a:pt x="20" y="122"/>
                </a:lnTo>
                <a:lnTo>
                  <a:pt x="32" y="132"/>
                </a:lnTo>
                <a:lnTo>
                  <a:pt x="44" y="138"/>
                </a:lnTo>
                <a:lnTo>
                  <a:pt x="56" y="142"/>
                </a:lnTo>
                <a:lnTo>
                  <a:pt x="72" y="144"/>
                </a:lnTo>
                <a:lnTo>
                  <a:pt x="72" y="144"/>
                </a:lnTo>
                <a:lnTo>
                  <a:pt x="86" y="142"/>
                </a:lnTo>
                <a:lnTo>
                  <a:pt x="100" y="138"/>
                </a:lnTo>
                <a:lnTo>
                  <a:pt x="112" y="132"/>
                </a:lnTo>
                <a:lnTo>
                  <a:pt x="122" y="122"/>
                </a:lnTo>
                <a:lnTo>
                  <a:pt x="132" y="112"/>
                </a:lnTo>
                <a:lnTo>
                  <a:pt x="138" y="100"/>
                </a:lnTo>
                <a:lnTo>
                  <a:pt x="142" y="86"/>
                </a:lnTo>
                <a:lnTo>
                  <a:pt x="144" y="72"/>
                </a:lnTo>
                <a:lnTo>
                  <a:pt x="144" y="72"/>
                </a:lnTo>
                <a:lnTo>
                  <a:pt x="142" y="58"/>
                </a:lnTo>
                <a:lnTo>
                  <a:pt x="138" y="44"/>
                </a:lnTo>
                <a:lnTo>
                  <a:pt x="132" y="32"/>
                </a:lnTo>
                <a:lnTo>
                  <a:pt x="122" y="20"/>
                </a:lnTo>
                <a:lnTo>
                  <a:pt x="112" y="12"/>
                </a:lnTo>
                <a:lnTo>
                  <a:pt x="100" y="6"/>
                </a:lnTo>
                <a:lnTo>
                  <a:pt x="86" y="0"/>
                </a:lnTo>
                <a:lnTo>
                  <a:pt x="72" y="0"/>
                </a:lnTo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68" name="Freeform 107"/>
          <p:cNvSpPr>
            <a:spLocks/>
          </p:cNvSpPr>
          <p:nvPr userDrawn="1"/>
        </p:nvSpPr>
        <p:spPr bwMode="auto">
          <a:xfrm>
            <a:off x="1962138" y="859506"/>
            <a:ext cx="290090" cy="267775"/>
          </a:xfrm>
          <a:custGeom>
            <a:avLst/>
            <a:gdLst/>
            <a:ahLst/>
            <a:cxnLst>
              <a:cxn ang="0">
                <a:pos x="72" y="0"/>
              </a:cxn>
              <a:cxn ang="0">
                <a:pos x="72" y="0"/>
              </a:cxn>
              <a:cxn ang="0">
                <a:pos x="58" y="2"/>
              </a:cxn>
              <a:cxn ang="0">
                <a:pos x="44" y="6"/>
              </a:cxn>
              <a:cxn ang="0">
                <a:pos x="32" y="12"/>
              </a:cxn>
              <a:cxn ang="0">
                <a:pos x="22" y="22"/>
              </a:cxn>
              <a:cxn ang="0">
                <a:pos x="12" y="32"/>
              </a:cxn>
              <a:cxn ang="0">
                <a:pos x="6" y="44"/>
              </a:cxn>
              <a:cxn ang="0">
                <a:pos x="2" y="58"/>
              </a:cxn>
              <a:cxn ang="0">
                <a:pos x="0" y="72"/>
              </a:cxn>
              <a:cxn ang="0">
                <a:pos x="0" y="72"/>
              </a:cxn>
              <a:cxn ang="0">
                <a:pos x="2" y="88"/>
              </a:cxn>
              <a:cxn ang="0">
                <a:pos x="6" y="100"/>
              </a:cxn>
              <a:cxn ang="0">
                <a:pos x="12" y="114"/>
              </a:cxn>
              <a:cxn ang="0">
                <a:pos x="22" y="124"/>
              </a:cxn>
              <a:cxn ang="0">
                <a:pos x="32" y="132"/>
              </a:cxn>
              <a:cxn ang="0">
                <a:pos x="44" y="140"/>
              </a:cxn>
              <a:cxn ang="0">
                <a:pos x="58" y="144"/>
              </a:cxn>
              <a:cxn ang="0">
                <a:pos x="72" y="144"/>
              </a:cxn>
              <a:cxn ang="0">
                <a:pos x="72" y="144"/>
              </a:cxn>
              <a:cxn ang="0">
                <a:pos x="86" y="144"/>
              </a:cxn>
              <a:cxn ang="0">
                <a:pos x="100" y="140"/>
              </a:cxn>
              <a:cxn ang="0">
                <a:pos x="112" y="132"/>
              </a:cxn>
              <a:cxn ang="0">
                <a:pos x="124" y="124"/>
              </a:cxn>
              <a:cxn ang="0">
                <a:pos x="132" y="114"/>
              </a:cxn>
              <a:cxn ang="0">
                <a:pos x="138" y="100"/>
              </a:cxn>
              <a:cxn ang="0">
                <a:pos x="142" y="88"/>
              </a:cxn>
              <a:cxn ang="0">
                <a:pos x="144" y="72"/>
              </a:cxn>
              <a:cxn ang="0">
                <a:pos x="144" y="72"/>
              </a:cxn>
              <a:cxn ang="0">
                <a:pos x="142" y="58"/>
              </a:cxn>
              <a:cxn ang="0">
                <a:pos x="138" y="44"/>
              </a:cxn>
              <a:cxn ang="0">
                <a:pos x="132" y="32"/>
              </a:cxn>
              <a:cxn ang="0">
                <a:pos x="124" y="22"/>
              </a:cxn>
              <a:cxn ang="0">
                <a:pos x="112" y="12"/>
              </a:cxn>
              <a:cxn ang="0">
                <a:pos x="100" y="6"/>
              </a:cxn>
              <a:cxn ang="0">
                <a:pos x="86" y="2"/>
              </a:cxn>
              <a:cxn ang="0">
                <a:pos x="72" y="0"/>
              </a:cxn>
            </a:cxnLst>
            <a:rect l="0" t="0" r="r" b="b"/>
            <a:pathLst>
              <a:path w="144" h="144">
                <a:moveTo>
                  <a:pt x="72" y="0"/>
                </a:moveTo>
                <a:lnTo>
                  <a:pt x="72" y="0"/>
                </a:lnTo>
                <a:lnTo>
                  <a:pt x="58" y="2"/>
                </a:lnTo>
                <a:lnTo>
                  <a:pt x="44" y="6"/>
                </a:lnTo>
                <a:lnTo>
                  <a:pt x="32" y="12"/>
                </a:lnTo>
                <a:lnTo>
                  <a:pt x="22" y="22"/>
                </a:lnTo>
                <a:lnTo>
                  <a:pt x="12" y="32"/>
                </a:lnTo>
                <a:lnTo>
                  <a:pt x="6" y="44"/>
                </a:lnTo>
                <a:lnTo>
                  <a:pt x="2" y="58"/>
                </a:lnTo>
                <a:lnTo>
                  <a:pt x="0" y="72"/>
                </a:lnTo>
                <a:lnTo>
                  <a:pt x="0" y="72"/>
                </a:lnTo>
                <a:lnTo>
                  <a:pt x="2" y="88"/>
                </a:lnTo>
                <a:lnTo>
                  <a:pt x="6" y="100"/>
                </a:lnTo>
                <a:lnTo>
                  <a:pt x="12" y="114"/>
                </a:lnTo>
                <a:lnTo>
                  <a:pt x="22" y="124"/>
                </a:lnTo>
                <a:lnTo>
                  <a:pt x="32" y="132"/>
                </a:lnTo>
                <a:lnTo>
                  <a:pt x="44" y="140"/>
                </a:lnTo>
                <a:lnTo>
                  <a:pt x="58" y="144"/>
                </a:lnTo>
                <a:lnTo>
                  <a:pt x="72" y="144"/>
                </a:lnTo>
                <a:lnTo>
                  <a:pt x="72" y="144"/>
                </a:lnTo>
                <a:lnTo>
                  <a:pt x="86" y="144"/>
                </a:lnTo>
                <a:lnTo>
                  <a:pt x="100" y="140"/>
                </a:lnTo>
                <a:lnTo>
                  <a:pt x="112" y="132"/>
                </a:lnTo>
                <a:lnTo>
                  <a:pt x="124" y="124"/>
                </a:lnTo>
                <a:lnTo>
                  <a:pt x="132" y="114"/>
                </a:lnTo>
                <a:lnTo>
                  <a:pt x="138" y="100"/>
                </a:lnTo>
                <a:lnTo>
                  <a:pt x="142" y="88"/>
                </a:lnTo>
                <a:lnTo>
                  <a:pt x="144" y="72"/>
                </a:lnTo>
                <a:lnTo>
                  <a:pt x="144" y="72"/>
                </a:lnTo>
                <a:lnTo>
                  <a:pt x="142" y="58"/>
                </a:lnTo>
                <a:lnTo>
                  <a:pt x="138" y="44"/>
                </a:lnTo>
                <a:lnTo>
                  <a:pt x="132" y="32"/>
                </a:lnTo>
                <a:lnTo>
                  <a:pt x="124" y="22"/>
                </a:lnTo>
                <a:lnTo>
                  <a:pt x="112" y="12"/>
                </a:lnTo>
                <a:lnTo>
                  <a:pt x="100" y="6"/>
                </a:lnTo>
                <a:lnTo>
                  <a:pt x="86" y="2"/>
                </a:lnTo>
                <a:lnTo>
                  <a:pt x="72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69" name="Freeform 108"/>
          <p:cNvSpPr>
            <a:spLocks/>
          </p:cNvSpPr>
          <p:nvPr userDrawn="1"/>
        </p:nvSpPr>
        <p:spPr bwMode="auto">
          <a:xfrm>
            <a:off x="1962138" y="859506"/>
            <a:ext cx="290090" cy="267775"/>
          </a:xfrm>
          <a:custGeom>
            <a:avLst/>
            <a:gdLst/>
            <a:ahLst/>
            <a:cxnLst>
              <a:cxn ang="0">
                <a:pos x="72" y="0"/>
              </a:cxn>
              <a:cxn ang="0">
                <a:pos x="72" y="0"/>
              </a:cxn>
              <a:cxn ang="0">
                <a:pos x="58" y="2"/>
              </a:cxn>
              <a:cxn ang="0">
                <a:pos x="44" y="6"/>
              </a:cxn>
              <a:cxn ang="0">
                <a:pos x="32" y="12"/>
              </a:cxn>
              <a:cxn ang="0">
                <a:pos x="22" y="22"/>
              </a:cxn>
              <a:cxn ang="0">
                <a:pos x="12" y="32"/>
              </a:cxn>
              <a:cxn ang="0">
                <a:pos x="6" y="44"/>
              </a:cxn>
              <a:cxn ang="0">
                <a:pos x="2" y="58"/>
              </a:cxn>
              <a:cxn ang="0">
                <a:pos x="0" y="72"/>
              </a:cxn>
              <a:cxn ang="0">
                <a:pos x="0" y="72"/>
              </a:cxn>
              <a:cxn ang="0">
                <a:pos x="2" y="88"/>
              </a:cxn>
              <a:cxn ang="0">
                <a:pos x="6" y="100"/>
              </a:cxn>
              <a:cxn ang="0">
                <a:pos x="12" y="114"/>
              </a:cxn>
              <a:cxn ang="0">
                <a:pos x="22" y="124"/>
              </a:cxn>
              <a:cxn ang="0">
                <a:pos x="32" y="132"/>
              </a:cxn>
              <a:cxn ang="0">
                <a:pos x="44" y="140"/>
              </a:cxn>
              <a:cxn ang="0">
                <a:pos x="58" y="144"/>
              </a:cxn>
              <a:cxn ang="0">
                <a:pos x="72" y="144"/>
              </a:cxn>
              <a:cxn ang="0">
                <a:pos x="72" y="144"/>
              </a:cxn>
              <a:cxn ang="0">
                <a:pos x="86" y="144"/>
              </a:cxn>
              <a:cxn ang="0">
                <a:pos x="100" y="140"/>
              </a:cxn>
              <a:cxn ang="0">
                <a:pos x="112" y="132"/>
              </a:cxn>
              <a:cxn ang="0">
                <a:pos x="124" y="124"/>
              </a:cxn>
              <a:cxn ang="0">
                <a:pos x="132" y="114"/>
              </a:cxn>
              <a:cxn ang="0">
                <a:pos x="138" y="100"/>
              </a:cxn>
              <a:cxn ang="0">
                <a:pos x="142" y="88"/>
              </a:cxn>
              <a:cxn ang="0">
                <a:pos x="144" y="72"/>
              </a:cxn>
              <a:cxn ang="0">
                <a:pos x="144" y="72"/>
              </a:cxn>
              <a:cxn ang="0">
                <a:pos x="142" y="58"/>
              </a:cxn>
              <a:cxn ang="0">
                <a:pos x="138" y="44"/>
              </a:cxn>
              <a:cxn ang="0">
                <a:pos x="132" y="32"/>
              </a:cxn>
              <a:cxn ang="0">
                <a:pos x="124" y="22"/>
              </a:cxn>
              <a:cxn ang="0">
                <a:pos x="112" y="12"/>
              </a:cxn>
              <a:cxn ang="0">
                <a:pos x="100" y="6"/>
              </a:cxn>
              <a:cxn ang="0">
                <a:pos x="86" y="2"/>
              </a:cxn>
              <a:cxn ang="0">
                <a:pos x="72" y="0"/>
              </a:cxn>
            </a:cxnLst>
            <a:rect l="0" t="0" r="r" b="b"/>
            <a:pathLst>
              <a:path w="144" h="144">
                <a:moveTo>
                  <a:pt x="72" y="0"/>
                </a:moveTo>
                <a:lnTo>
                  <a:pt x="72" y="0"/>
                </a:lnTo>
                <a:lnTo>
                  <a:pt x="58" y="2"/>
                </a:lnTo>
                <a:lnTo>
                  <a:pt x="44" y="6"/>
                </a:lnTo>
                <a:lnTo>
                  <a:pt x="32" y="12"/>
                </a:lnTo>
                <a:lnTo>
                  <a:pt x="22" y="22"/>
                </a:lnTo>
                <a:lnTo>
                  <a:pt x="12" y="32"/>
                </a:lnTo>
                <a:lnTo>
                  <a:pt x="6" y="44"/>
                </a:lnTo>
                <a:lnTo>
                  <a:pt x="2" y="58"/>
                </a:lnTo>
                <a:lnTo>
                  <a:pt x="0" y="72"/>
                </a:lnTo>
                <a:lnTo>
                  <a:pt x="0" y="72"/>
                </a:lnTo>
                <a:lnTo>
                  <a:pt x="2" y="88"/>
                </a:lnTo>
                <a:lnTo>
                  <a:pt x="6" y="100"/>
                </a:lnTo>
                <a:lnTo>
                  <a:pt x="12" y="114"/>
                </a:lnTo>
                <a:lnTo>
                  <a:pt x="22" y="124"/>
                </a:lnTo>
                <a:lnTo>
                  <a:pt x="32" y="132"/>
                </a:lnTo>
                <a:lnTo>
                  <a:pt x="44" y="140"/>
                </a:lnTo>
                <a:lnTo>
                  <a:pt x="58" y="144"/>
                </a:lnTo>
                <a:lnTo>
                  <a:pt x="72" y="144"/>
                </a:lnTo>
                <a:lnTo>
                  <a:pt x="72" y="144"/>
                </a:lnTo>
                <a:lnTo>
                  <a:pt x="86" y="144"/>
                </a:lnTo>
                <a:lnTo>
                  <a:pt x="100" y="140"/>
                </a:lnTo>
                <a:lnTo>
                  <a:pt x="112" y="132"/>
                </a:lnTo>
                <a:lnTo>
                  <a:pt x="124" y="124"/>
                </a:lnTo>
                <a:lnTo>
                  <a:pt x="132" y="114"/>
                </a:lnTo>
                <a:lnTo>
                  <a:pt x="138" y="100"/>
                </a:lnTo>
                <a:lnTo>
                  <a:pt x="142" y="88"/>
                </a:lnTo>
                <a:lnTo>
                  <a:pt x="144" y="72"/>
                </a:lnTo>
                <a:lnTo>
                  <a:pt x="144" y="72"/>
                </a:lnTo>
                <a:lnTo>
                  <a:pt x="142" y="58"/>
                </a:lnTo>
                <a:lnTo>
                  <a:pt x="138" y="44"/>
                </a:lnTo>
                <a:lnTo>
                  <a:pt x="132" y="32"/>
                </a:lnTo>
                <a:lnTo>
                  <a:pt x="124" y="22"/>
                </a:lnTo>
                <a:lnTo>
                  <a:pt x="112" y="12"/>
                </a:lnTo>
                <a:lnTo>
                  <a:pt x="100" y="6"/>
                </a:lnTo>
                <a:lnTo>
                  <a:pt x="86" y="2"/>
                </a:lnTo>
                <a:lnTo>
                  <a:pt x="7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70" name="Freeform 109"/>
          <p:cNvSpPr>
            <a:spLocks/>
          </p:cNvSpPr>
          <p:nvPr userDrawn="1"/>
        </p:nvSpPr>
        <p:spPr bwMode="auto">
          <a:xfrm>
            <a:off x="721196" y="2466163"/>
            <a:ext cx="128928" cy="119011"/>
          </a:xfrm>
          <a:custGeom>
            <a:avLst/>
            <a:gdLst/>
            <a:ahLst/>
            <a:cxnLst>
              <a:cxn ang="0">
                <a:pos x="32" y="0"/>
              </a:cxn>
              <a:cxn ang="0">
                <a:pos x="32" y="0"/>
              </a:cxn>
              <a:cxn ang="0">
                <a:pos x="24" y="0"/>
              </a:cxn>
              <a:cxn ang="0">
                <a:pos x="18" y="2"/>
              </a:cxn>
              <a:cxn ang="0">
                <a:pos x="8" y="8"/>
              </a:cxn>
              <a:cxn ang="0">
                <a:pos x="2" y="20"/>
              </a:cxn>
              <a:cxn ang="0">
                <a:pos x="0" y="26"/>
              </a:cxn>
              <a:cxn ang="0">
                <a:pos x="0" y="32"/>
              </a:cxn>
              <a:cxn ang="0">
                <a:pos x="0" y="32"/>
              </a:cxn>
              <a:cxn ang="0">
                <a:pos x="0" y="38"/>
              </a:cxn>
              <a:cxn ang="0">
                <a:pos x="2" y="44"/>
              </a:cxn>
              <a:cxn ang="0">
                <a:pos x="8" y="54"/>
              </a:cxn>
              <a:cxn ang="0">
                <a:pos x="18" y="60"/>
              </a:cxn>
              <a:cxn ang="0">
                <a:pos x="24" y="62"/>
              </a:cxn>
              <a:cxn ang="0">
                <a:pos x="32" y="64"/>
              </a:cxn>
              <a:cxn ang="0">
                <a:pos x="32" y="64"/>
              </a:cxn>
              <a:cxn ang="0">
                <a:pos x="38" y="62"/>
              </a:cxn>
              <a:cxn ang="0">
                <a:pos x="44" y="60"/>
              </a:cxn>
              <a:cxn ang="0">
                <a:pos x="54" y="54"/>
              </a:cxn>
              <a:cxn ang="0">
                <a:pos x="60" y="44"/>
              </a:cxn>
              <a:cxn ang="0">
                <a:pos x="62" y="38"/>
              </a:cxn>
              <a:cxn ang="0">
                <a:pos x="64" y="32"/>
              </a:cxn>
              <a:cxn ang="0">
                <a:pos x="64" y="32"/>
              </a:cxn>
              <a:cxn ang="0">
                <a:pos x="62" y="26"/>
              </a:cxn>
              <a:cxn ang="0">
                <a:pos x="60" y="20"/>
              </a:cxn>
              <a:cxn ang="0">
                <a:pos x="54" y="8"/>
              </a:cxn>
              <a:cxn ang="0">
                <a:pos x="44" y="2"/>
              </a:cxn>
              <a:cxn ang="0">
                <a:pos x="38" y="0"/>
              </a:cxn>
              <a:cxn ang="0">
                <a:pos x="32" y="0"/>
              </a:cxn>
            </a:cxnLst>
            <a:rect l="0" t="0" r="r" b="b"/>
            <a:pathLst>
              <a:path w="64" h="64">
                <a:moveTo>
                  <a:pt x="32" y="0"/>
                </a:moveTo>
                <a:lnTo>
                  <a:pt x="32" y="0"/>
                </a:lnTo>
                <a:lnTo>
                  <a:pt x="24" y="0"/>
                </a:lnTo>
                <a:lnTo>
                  <a:pt x="18" y="2"/>
                </a:lnTo>
                <a:lnTo>
                  <a:pt x="8" y="8"/>
                </a:lnTo>
                <a:lnTo>
                  <a:pt x="2" y="20"/>
                </a:lnTo>
                <a:lnTo>
                  <a:pt x="0" y="26"/>
                </a:lnTo>
                <a:lnTo>
                  <a:pt x="0" y="32"/>
                </a:lnTo>
                <a:lnTo>
                  <a:pt x="0" y="32"/>
                </a:lnTo>
                <a:lnTo>
                  <a:pt x="0" y="38"/>
                </a:lnTo>
                <a:lnTo>
                  <a:pt x="2" y="44"/>
                </a:lnTo>
                <a:lnTo>
                  <a:pt x="8" y="54"/>
                </a:lnTo>
                <a:lnTo>
                  <a:pt x="18" y="60"/>
                </a:lnTo>
                <a:lnTo>
                  <a:pt x="24" y="62"/>
                </a:lnTo>
                <a:lnTo>
                  <a:pt x="32" y="64"/>
                </a:lnTo>
                <a:lnTo>
                  <a:pt x="32" y="64"/>
                </a:lnTo>
                <a:lnTo>
                  <a:pt x="38" y="62"/>
                </a:lnTo>
                <a:lnTo>
                  <a:pt x="44" y="60"/>
                </a:lnTo>
                <a:lnTo>
                  <a:pt x="54" y="54"/>
                </a:lnTo>
                <a:lnTo>
                  <a:pt x="60" y="44"/>
                </a:lnTo>
                <a:lnTo>
                  <a:pt x="62" y="38"/>
                </a:lnTo>
                <a:lnTo>
                  <a:pt x="64" y="32"/>
                </a:lnTo>
                <a:lnTo>
                  <a:pt x="64" y="32"/>
                </a:lnTo>
                <a:lnTo>
                  <a:pt x="62" y="26"/>
                </a:lnTo>
                <a:lnTo>
                  <a:pt x="60" y="20"/>
                </a:lnTo>
                <a:lnTo>
                  <a:pt x="54" y="8"/>
                </a:lnTo>
                <a:lnTo>
                  <a:pt x="44" y="2"/>
                </a:lnTo>
                <a:lnTo>
                  <a:pt x="38" y="0"/>
                </a:lnTo>
                <a:lnTo>
                  <a:pt x="32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71" name="Freeform 110"/>
          <p:cNvSpPr>
            <a:spLocks/>
          </p:cNvSpPr>
          <p:nvPr userDrawn="1"/>
        </p:nvSpPr>
        <p:spPr bwMode="auto">
          <a:xfrm>
            <a:off x="721196" y="2466163"/>
            <a:ext cx="128928" cy="119011"/>
          </a:xfrm>
          <a:custGeom>
            <a:avLst/>
            <a:gdLst/>
            <a:ahLst/>
            <a:cxnLst>
              <a:cxn ang="0">
                <a:pos x="32" y="0"/>
              </a:cxn>
              <a:cxn ang="0">
                <a:pos x="32" y="0"/>
              </a:cxn>
              <a:cxn ang="0">
                <a:pos x="24" y="0"/>
              </a:cxn>
              <a:cxn ang="0">
                <a:pos x="18" y="2"/>
              </a:cxn>
              <a:cxn ang="0">
                <a:pos x="8" y="8"/>
              </a:cxn>
              <a:cxn ang="0">
                <a:pos x="2" y="20"/>
              </a:cxn>
              <a:cxn ang="0">
                <a:pos x="0" y="26"/>
              </a:cxn>
              <a:cxn ang="0">
                <a:pos x="0" y="32"/>
              </a:cxn>
              <a:cxn ang="0">
                <a:pos x="0" y="32"/>
              </a:cxn>
              <a:cxn ang="0">
                <a:pos x="0" y="38"/>
              </a:cxn>
              <a:cxn ang="0">
                <a:pos x="2" y="44"/>
              </a:cxn>
              <a:cxn ang="0">
                <a:pos x="8" y="54"/>
              </a:cxn>
              <a:cxn ang="0">
                <a:pos x="18" y="60"/>
              </a:cxn>
              <a:cxn ang="0">
                <a:pos x="24" y="62"/>
              </a:cxn>
              <a:cxn ang="0">
                <a:pos x="32" y="64"/>
              </a:cxn>
              <a:cxn ang="0">
                <a:pos x="32" y="64"/>
              </a:cxn>
              <a:cxn ang="0">
                <a:pos x="38" y="62"/>
              </a:cxn>
              <a:cxn ang="0">
                <a:pos x="44" y="60"/>
              </a:cxn>
              <a:cxn ang="0">
                <a:pos x="54" y="54"/>
              </a:cxn>
              <a:cxn ang="0">
                <a:pos x="60" y="44"/>
              </a:cxn>
              <a:cxn ang="0">
                <a:pos x="62" y="38"/>
              </a:cxn>
              <a:cxn ang="0">
                <a:pos x="64" y="32"/>
              </a:cxn>
              <a:cxn ang="0">
                <a:pos x="64" y="32"/>
              </a:cxn>
              <a:cxn ang="0">
                <a:pos x="62" y="26"/>
              </a:cxn>
              <a:cxn ang="0">
                <a:pos x="60" y="20"/>
              </a:cxn>
              <a:cxn ang="0">
                <a:pos x="54" y="8"/>
              </a:cxn>
              <a:cxn ang="0">
                <a:pos x="44" y="2"/>
              </a:cxn>
              <a:cxn ang="0">
                <a:pos x="38" y="0"/>
              </a:cxn>
              <a:cxn ang="0">
                <a:pos x="32" y="0"/>
              </a:cxn>
            </a:cxnLst>
            <a:rect l="0" t="0" r="r" b="b"/>
            <a:pathLst>
              <a:path w="64" h="64">
                <a:moveTo>
                  <a:pt x="32" y="0"/>
                </a:moveTo>
                <a:lnTo>
                  <a:pt x="32" y="0"/>
                </a:lnTo>
                <a:lnTo>
                  <a:pt x="24" y="0"/>
                </a:lnTo>
                <a:lnTo>
                  <a:pt x="18" y="2"/>
                </a:lnTo>
                <a:lnTo>
                  <a:pt x="8" y="8"/>
                </a:lnTo>
                <a:lnTo>
                  <a:pt x="2" y="20"/>
                </a:lnTo>
                <a:lnTo>
                  <a:pt x="0" y="26"/>
                </a:lnTo>
                <a:lnTo>
                  <a:pt x="0" y="32"/>
                </a:lnTo>
                <a:lnTo>
                  <a:pt x="0" y="32"/>
                </a:lnTo>
                <a:lnTo>
                  <a:pt x="0" y="38"/>
                </a:lnTo>
                <a:lnTo>
                  <a:pt x="2" y="44"/>
                </a:lnTo>
                <a:lnTo>
                  <a:pt x="8" y="54"/>
                </a:lnTo>
                <a:lnTo>
                  <a:pt x="18" y="60"/>
                </a:lnTo>
                <a:lnTo>
                  <a:pt x="24" y="62"/>
                </a:lnTo>
                <a:lnTo>
                  <a:pt x="32" y="64"/>
                </a:lnTo>
                <a:lnTo>
                  <a:pt x="32" y="64"/>
                </a:lnTo>
                <a:lnTo>
                  <a:pt x="38" y="62"/>
                </a:lnTo>
                <a:lnTo>
                  <a:pt x="44" y="60"/>
                </a:lnTo>
                <a:lnTo>
                  <a:pt x="54" y="54"/>
                </a:lnTo>
                <a:lnTo>
                  <a:pt x="60" y="44"/>
                </a:lnTo>
                <a:lnTo>
                  <a:pt x="62" y="38"/>
                </a:lnTo>
                <a:lnTo>
                  <a:pt x="64" y="32"/>
                </a:lnTo>
                <a:lnTo>
                  <a:pt x="64" y="32"/>
                </a:lnTo>
                <a:lnTo>
                  <a:pt x="62" y="26"/>
                </a:lnTo>
                <a:lnTo>
                  <a:pt x="60" y="20"/>
                </a:lnTo>
                <a:lnTo>
                  <a:pt x="54" y="8"/>
                </a:lnTo>
                <a:lnTo>
                  <a:pt x="44" y="2"/>
                </a:lnTo>
                <a:lnTo>
                  <a:pt x="38" y="0"/>
                </a:lnTo>
                <a:lnTo>
                  <a:pt x="3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72" name="Freeform 111"/>
          <p:cNvSpPr>
            <a:spLocks/>
          </p:cNvSpPr>
          <p:nvPr userDrawn="1"/>
        </p:nvSpPr>
        <p:spPr bwMode="auto">
          <a:xfrm>
            <a:off x="56408" y="327672"/>
            <a:ext cx="672848" cy="624808"/>
          </a:xfrm>
          <a:custGeom>
            <a:avLst/>
            <a:gdLst/>
            <a:ahLst/>
            <a:cxnLst>
              <a:cxn ang="0">
                <a:pos x="166" y="0"/>
              </a:cxn>
              <a:cxn ang="0">
                <a:pos x="134" y="4"/>
              </a:cxn>
              <a:cxn ang="0">
                <a:pos x="102" y="14"/>
              </a:cxn>
              <a:cxn ang="0">
                <a:pos x="74" y="28"/>
              </a:cxn>
              <a:cxn ang="0">
                <a:pos x="48" y="50"/>
              </a:cxn>
              <a:cxn ang="0">
                <a:pos x="28" y="74"/>
              </a:cxn>
              <a:cxn ang="0">
                <a:pos x="12" y="102"/>
              </a:cxn>
              <a:cxn ang="0">
                <a:pos x="2" y="134"/>
              </a:cxn>
              <a:cxn ang="0">
                <a:pos x="0" y="168"/>
              </a:cxn>
              <a:cxn ang="0">
                <a:pos x="0" y="184"/>
              </a:cxn>
              <a:cxn ang="0">
                <a:pos x="6" y="218"/>
              </a:cxn>
              <a:cxn ang="0">
                <a:pos x="20" y="248"/>
              </a:cxn>
              <a:cxn ang="0">
                <a:pos x="38" y="274"/>
              </a:cxn>
              <a:cxn ang="0">
                <a:pos x="60" y="296"/>
              </a:cxn>
              <a:cxn ang="0">
                <a:pos x="86" y="314"/>
              </a:cxn>
              <a:cxn ang="0">
                <a:pos x="118" y="328"/>
              </a:cxn>
              <a:cxn ang="0">
                <a:pos x="150" y="334"/>
              </a:cxn>
              <a:cxn ang="0">
                <a:pos x="166" y="336"/>
              </a:cxn>
              <a:cxn ang="0">
                <a:pos x="200" y="332"/>
              </a:cxn>
              <a:cxn ang="0">
                <a:pos x="232" y="322"/>
              </a:cxn>
              <a:cxn ang="0">
                <a:pos x="260" y="306"/>
              </a:cxn>
              <a:cxn ang="0">
                <a:pos x="286" y="286"/>
              </a:cxn>
              <a:cxn ang="0">
                <a:pos x="306" y="262"/>
              </a:cxn>
              <a:cxn ang="0">
                <a:pos x="322" y="232"/>
              </a:cxn>
              <a:cxn ang="0">
                <a:pos x="332" y="202"/>
              </a:cxn>
              <a:cxn ang="0">
                <a:pos x="334" y="168"/>
              </a:cxn>
              <a:cxn ang="0">
                <a:pos x="334" y="150"/>
              </a:cxn>
              <a:cxn ang="0">
                <a:pos x="328" y="118"/>
              </a:cxn>
              <a:cxn ang="0">
                <a:pos x="314" y="88"/>
              </a:cxn>
              <a:cxn ang="0">
                <a:pos x="296" y="60"/>
              </a:cxn>
              <a:cxn ang="0">
                <a:pos x="274" y="38"/>
              </a:cxn>
              <a:cxn ang="0">
                <a:pos x="246" y="20"/>
              </a:cxn>
              <a:cxn ang="0">
                <a:pos x="216" y="8"/>
              </a:cxn>
              <a:cxn ang="0">
                <a:pos x="184" y="0"/>
              </a:cxn>
            </a:cxnLst>
            <a:rect l="0" t="0" r="r" b="b"/>
            <a:pathLst>
              <a:path w="334" h="336">
                <a:moveTo>
                  <a:pt x="166" y="0"/>
                </a:moveTo>
                <a:lnTo>
                  <a:pt x="166" y="0"/>
                </a:lnTo>
                <a:lnTo>
                  <a:pt x="150" y="0"/>
                </a:lnTo>
                <a:lnTo>
                  <a:pt x="134" y="4"/>
                </a:lnTo>
                <a:lnTo>
                  <a:pt x="118" y="8"/>
                </a:lnTo>
                <a:lnTo>
                  <a:pt x="102" y="14"/>
                </a:lnTo>
                <a:lnTo>
                  <a:pt x="86" y="20"/>
                </a:lnTo>
                <a:lnTo>
                  <a:pt x="74" y="28"/>
                </a:lnTo>
                <a:lnTo>
                  <a:pt x="60" y="38"/>
                </a:lnTo>
                <a:lnTo>
                  <a:pt x="48" y="50"/>
                </a:lnTo>
                <a:lnTo>
                  <a:pt x="38" y="60"/>
                </a:lnTo>
                <a:lnTo>
                  <a:pt x="28" y="74"/>
                </a:lnTo>
                <a:lnTo>
                  <a:pt x="20" y="88"/>
                </a:lnTo>
                <a:lnTo>
                  <a:pt x="12" y="102"/>
                </a:lnTo>
                <a:lnTo>
                  <a:pt x="6" y="118"/>
                </a:lnTo>
                <a:lnTo>
                  <a:pt x="2" y="134"/>
                </a:lnTo>
                <a:lnTo>
                  <a:pt x="0" y="150"/>
                </a:lnTo>
                <a:lnTo>
                  <a:pt x="0" y="168"/>
                </a:lnTo>
                <a:lnTo>
                  <a:pt x="0" y="168"/>
                </a:lnTo>
                <a:lnTo>
                  <a:pt x="0" y="184"/>
                </a:lnTo>
                <a:lnTo>
                  <a:pt x="2" y="202"/>
                </a:lnTo>
                <a:lnTo>
                  <a:pt x="6" y="218"/>
                </a:lnTo>
                <a:lnTo>
                  <a:pt x="12" y="232"/>
                </a:lnTo>
                <a:lnTo>
                  <a:pt x="20" y="248"/>
                </a:lnTo>
                <a:lnTo>
                  <a:pt x="28" y="262"/>
                </a:lnTo>
                <a:lnTo>
                  <a:pt x="38" y="274"/>
                </a:lnTo>
                <a:lnTo>
                  <a:pt x="48" y="286"/>
                </a:lnTo>
                <a:lnTo>
                  <a:pt x="60" y="296"/>
                </a:lnTo>
                <a:lnTo>
                  <a:pt x="74" y="306"/>
                </a:lnTo>
                <a:lnTo>
                  <a:pt x="86" y="314"/>
                </a:lnTo>
                <a:lnTo>
                  <a:pt x="102" y="322"/>
                </a:lnTo>
                <a:lnTo>
                  <a:pt x="118" y="328"/>
                </a:lnTo>
                <a:lnTo>
                  <a:pt x="134" y="332"/>
                </a:lnTo>
                <a:lnTo>
                  <a:pt x="150" y="334"/>
                </a:lnTo>
                <a:lnTo>
                  <a:pt x="166" y="336"/>
                </a:lnTo>
                <a:lnTo>
                  <a:pt x="166" y="336"/>
                </a:lnTo>
                <a:lnTo>
                  <a:pt x="184" y="334"/>
                </a:lnTo>
                <a:lnTo>
                  <a:pt x="200" y="332"/>
                </a:lnTo>
                <a:lnTo>
                  <a:pt x="216" y="328"/>
                </a:lnTo>
                <a:lnTo>
                  <a:pt x="232" y="322"/>
                </a:lnTo>
                <a:lnTo>
                  <a:pt x="246" y="314"/>
                </a:lnTo>
                <a:lnTo>
                  <a:pt x="260" y="306"/>
                </a:lnTo>
                <a:lnTo>
                  <a:pt x="274" y="296"/>
                </a:lnTo>
                <a:lnTo>
                  <a:pt x="286" y="286"/>
                </a:lnTo>
                <a:lnTo>
                  <a:pt x="296" y="274"/>
                </a:lnTo>
                <a:lnTo>
                  <a:pt x="306" y="262"/>
                </a:lnTo>
                <a:lnTo>
                  <a:pt x="314" y="248"/>
                </a:lnTo>
                <a:lnTo>
                  <a:pt x="322" y="232"/>
                </a:lnTo>
                <a:lnTo>
                  <a:pt x="328" y="218"/>
                </a:lnTo>
                <a:lnTo>
                  <a:pt x="332" y="202"/>
                </a:lnTo>
                <a:lnTo>
                  <a:pt x="334" y="184"/>
                </a:lnTo>
                <a:lnTo>
                  <a:pt x="334" y="168"/>
                </a:lnTo>
                <a:lnTo>
                  <a:pt x="334" y="168"/>
                </a:lnTo>
                <a:lnTo>
                  <a:pt x="334" y="150"/>
                </a:lnTo>
                <a:lnTo>
                  <a:pt x="332" y="134"/>
                </a:lnTo>
                <a:lnTo>
                  <a:pt x="328" y="118"/>
                </a:lnTo>
                <a:lnTo>
                  <a:pt x="322" y="102"/>
                </a:lnTo>
                <a:lnTo>
                  <a:pt x="314" y="88"/>
                </a:lnTo>
                <a:lnTo>
                  <a:pt x="306" y="74"/>
                </a:lnTo>
                <a:lnTo>
                  <a:pt x="296" y="60"/>
                </a:lnTo>
                <a:lnTo>
                  <a:pt x="286" y="50"/>
                </a:lnTo>
                <a:lnTo>
                  <a:pt x="274" y="38"/>
                </a:lnTo>
                <a:lnTo>
                  <a:pt x="260" y="28"/>
                </a:lnTo>
                <a:lnTo>
                  <a:pt x="246" y="20"/>
                </a:lnTo>
                <a:lnTo>
                  <a:pt x="232" y="14"/>
                </a:lnTo>
                <a:lnTo>
                  <a:pt x="216" y="8"/>
                </a:lnTo>
                <a:lnTo>
                  <a:pt x="200" y="4"/>
                </a:lnTo>
                <a:lnTo>
                  <a:pt x="184" y="0"/>
                </a:lnTo>
                <a:lnTo>
                  <a:pt x="166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73" name="Freeform 112"/>
          <p:cNvSpPr>
            <a:spLocks/>
          </p:cNvSpPr>
          <p:nvPr userDrawn="1"/>
        </p:nvSpPr>
        <p:spPr bwMode="auto">
          <a:xfrm>
            <a:off x="56408" y="327672"/>
            <a:ext cx="672848" cy="624808"/>
          </a:xfrm>
          <a:custGeom>
            <a:avLst/>
            <a:gdLst/>
            <a:ahLst/>
            <a:cxnLst>
              <a:cxn ang="0">
                <a:pos x="166" y="0"/>
              </a:cxn>
              <a:cxn ang="0">
                <a:pos x="134" y="4"/>
              </a:cxn>
              <a:cxn ang="0">
                <a:pos x="102" y="14"/>
              </a:cxn>
              <a:cxn ang="0">
                <a:pos x="74" y="28"/>
              </a:cxn>
              <a:cxn ang="0">
                <a:pos x="48" y="50"/>
              </a:cxn>
              <a:cxn ang="0">
                <a:pos x="28" y="74"/>
              </a:cxn>
              <a:cxn ang="0">
                <a:pos x="12" y="102"/>
              </a:cxn>
              <a:cxn ang="0">
                <a:pos x="2" y="134"/>
              </a:cxn>
              <a:cxn ang="0">
                <a:pos x="0" y="168"/>
              </a:cxn>
              <a:cxn ang="0">
                <a:pos x="0" y="184"/>
              </a:cxn>
              <a:cxn ang="0">
                <a:pos x="6" y="218"/>
              </a:cxn>
              <a:cxn ang="0">
                <a:pos x="20" y="248"/>
              </a:cxn>
              <a:cxn ang="0">
                <a:pos x="38" y="274"/>
              </a:cxn>
              <a:cxn ang="0">
                <a:pos x="60" y="296"/>
              </a:cxn>
              <a:cxn ang="0">
                <a:pos x="86" y="314"/>
              </a:cxn>
              <a:cxn ang="0">
                <a:pos x="118" y="328"/>
              </a:cxn>
              <a:cxn ang="0">
                <a:pos x="150" y="334"/>
              </a:cxn>
              <a:cxn ang="0">
                <a:pos x="166" y="336"/>
              </a:cxn>
              <a:cxn ang="0">
                <a:pos x="200" y="332"/>
              </a:cxn>
              <a:cxn ang="0">
                <a:pos x="232" y="322"/>
              </a:cxn>
              <a:cxn ang="0">
                <a:pos x="260" y="306"/>
              </a:cxn>
              <a:cxn ang="0">
                <a:pos x="286" y="286"/>
              </a:cxn>
              <a:cxn ang="0">
                <a:pos x="306" y="262"/>
              </a:cxn>
              <a:cxn ang="0">
                <a:pos x="322" y="232"/>
              </a:cxn>
              <a:cxn ang="0">
                <a:pos x="332" y="202"/>
              </a:cxn>
              <a:cxn ang="0">
                <a:pos x="334" y="168"/>
              </a:cxn>
              <a:cxn ang="0">
                <a:pos x="334" y="150"/>
              </a:cxn>
              <a:cxn ang="0">
                <a:pos x="328" y="118"/>
              </a:cxn>
              <a:cxn ang="0">
                <a:pos x="314" y="88"/>
              </a:cxn>
              <a:cxn ang="0">
                <a:pos x="296" y="60"/>
              </a:cxn>
              <a:cxn ang="0">
                <a:pos x="274" y="38"/>
              </a:cxn>
              <a:cxn ang="0">
                <a:pos x="246" y="20"/>
              </a:cxn>
              <a:cxn ang="0">
                <a:pos x="216" y="8"/>
              </a:cxn>
              <a:cxn ang="0">
                <a:pos x="184" y="0"/>
              </a:cxn>
            </a:cxnLst>
            <a:rect l="0" t="0" r="r" b="b"/>
            <a:pathLst>
              <a:path w="334" h="336">
                <a:moveTo>
                  <a:pt x="166" y="0"/>
                </a:moveTo>
                <a:lnTo>
                  <a:pt x="166" y="0"/>
                </a:lnTo>
                <a:lnTo>
                  <a:pt x="150" y="0"/>
                </a:lnTo>
                <a:lnTo>
                  <a:pt x="134" y="4"/>
                </a:lnTo>
                <a:lnTo>
                  <a:pt x="118" y="8"/>
                </a:lnTo>
                <a:lnTo>
                  <a:pt x="102" y="14"/>
                </a:lnTo>
                <a:lnTo>
                  <a:pt x="86" y="20"/>
                </a:lnTo>
                <a:lnTo>
                  <a:pt x="74" y="28"/>
                </a:lnTo>
                <a:lnTo>
                  <a:pt x="60" y="38"/>
                </a:lnTo>
                <a:lnTo>
                  <a:pt x="48" y="50"/>
                </a:lnTo>
                <a:lnTo>
                  <a:pt x="38" y="60"/>
                </a:lnTo>
                <a:lnTo>
                  <a:pt x="28" y="74"/>
                </a:lnTo>
                <a:lnTo>
                  <a:pt x="20" y="88"/>
                </a:lnTo>
                <a:lnTo>
                  <a:pt x="12" y="102"/>
                </a:lnTo>
                <a:lnTo>
                  <a:pt x="6" y="118"/>
                </a:lnTo>
                <a:lnTo>
                  <a:pt x="2" y="134"/>
                </a:lnTo>
                <a:lnTo>
                  <a:pt x="0" y="150"/>
                </a:lnTo>
                <a:lnTo>
                  <a:pt x="0" y="168"/>
                </a:lnTo>
                <a:lnTo>
                  <a:pt x="0" y="168"/>
                </a:lnTo>
                <a:lnTo>
                  <a:pt x="0" y="184"/>
                </a:lnTo>
                <a:lnTo>
                  <a:pt x="2" y="202"/>
                </a:lnTo>
                <a:lnTo>
                  <a:pt x="6" y="218"/>
                </a:lnTo>
                <a:lnTo>
                  <a:pt x="12" y="232"/>
                </a:lnTo>
                <a:lnTo>
                  <a:pt x="20" y="248"/>
                </a:lnTo>
                <a:lnTo>
                  <a:pt x="28" y="262"/>
                </a:lnTo>
                <a:lnTo>
                  <a:pt x="38" y="274"/>
                </a:lnTo>
                <a:lnTo>
                  <a:pt x="48" y="286"/>
                </a:lnTo>
                <a:lnTo>
                  <a:pt x="60" y="296"/>
                </a:lnTo>
                <a:lnTo>
                  <a:pt x="74" y="306"/>
                </a:lnTo>
                <a:lnTo>
                  <a:pt x="86" y="314"/>
                </a:lnTo>
                <a:lnTo>
                  <a:pt x="102" y="322"/>
                </a:lnTo>
                <a:lnTo>
                  <a:pt x="118" y="328"/>
                </a:lnTo>
                <a:lnTo>
                  <a:pt x="134" y="332"/>
                </a:lnTo>
                <a:lnTo>
                  <a:pt x="150" y="334"/>
                </a:lnTo>
                <a:lnTo>
                  <a:pt x="166" y="336"/>
                </a:lnTo>
                <a:lnTo>
                  <a:pt x="166" y="336"/>
                </a:lnTo>
                <a:lnTo>
                  <a:pt x="184" y="334"/>
                </a:lnTo>
                <a:lnTo>
                  <a:pt x="200" y="332"/>
                </a:lnTo>
                <a:lnTo>
                  <a:pt x="216" y="328"/>
                </a:lnTo>
                <a:lnTo>
                  <a:pt x="232" y="322"/>
                </a:lnTo>
                <a:lnTo>
                  <a:pt x="246" y="314"/>
                </a:lnTo>
                <a:lnTo>
                  <a:pt x="260" y="306"/>
                </a:lnTo>
                <a:lnTo>
                  <a:pt x="274" y="296"/>
                </a:lnTo>
                <a:lnTo>
                  <a:pt x="286" y="286"/>
                </a:lnTo>
                <a:lnTo>
                  <a:pt x="296" y="274"/>
                </a:lnTo>
                <a:lnTo>
                  <a:pt x="306" y="262"/>
                </a:lnTo>
                <a:lnTo>
                  <a:pt x="314" y="248"/>
                </a:lnTo>
                <a:lnTo>
                  <a:pt x="322" y="232"/>
                </a:lnTo>
                <a:lnTo>
                  <a:pt x="328" y="218"/>
                </a:lnTo>
                <a:lnTo>
                  <a:pt x="332" y="202"/>
                </a:lnTo>
                <a:lnTo>
                  <a:pt x="334" y="184"/>
                </a:lnTo>
                <a:lnTo>
                  <a:pt x="334" y="168"/>
                </a:lnTo>
                <a:lnTo>
                  <a:pt x="334" y="168"/>
                </a:lnTo>
                <a:lnTo>
                  <a:pt x="334" y="150"/>
                </a:lnTo>
                <a:lnTo>
                  <a:pt x="332" y="134"/>
                </a:lnTo>
                <a:lnTo>
                  <a:pt x="328" y="118"/>
                </a:lnTo>
                <a:lnTo>
                  <a:pt x="322" y="102"/>
                </a:lnTo>
                <a:lnTo>
                  <a:pt x="314" y="88"/>
                </a:lnTo>
                <a:lnTo>
                  <a:pt x="306" y="74"/>
                </a:lnTo>
                <a:lnTo>
                  <a:pt x="296" y="60"/>
                </a:lnTo>
                <a:lnTo>
                  <a:pt x="286" y="50"/>
                </a:lnTo>
                <a:lnTo>
                  <a:pt x="274" y="38"/>
                </a:lnTo>
                <a:lnTo>
                  <a:pt x="260" y="28"/>
                </a:lnTo>
                <a:lnTo>
                  <a:pt x="246" y="20"/>
                </a:lnTo>
                <a:lnTo>
                  <a:pt x="232" y="14"/>
                </a:lnTo>
                <a:lnTo>
                  <a:pt x="216" y="8"/>
                </a:lnTo>
                <a:lnTo>
                  <a:pt x="200" y="4"/>
                </a:lnTo>
                <a:lnTo>
                  <a:pt x="184" y="0"/>
                </a:lnTo>
                <a:lnTo>
                  <a:pt x="166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74" name="Freeform 113"/>
          <p:cNvSpPr>
            <a:spLocks/>
          </p:cNvSpPr>
          <p:nvPr userDrawn="1"/>
        </p:nvSpPr>
        <p:spPr bwMode="auto">
          <a:xfrm>
            <a:off x="1446422" y="1502918"/>
            <a:ext cx="294119" cy="267775"/>
          </a:xfrm>
          <a:custGeom>
            <a:avLst/>
            <a:gdLst/>
            <a:ahLst/>
            <a:cxnLst>
              <a:cxn ang="0">
                <a:pos x="72" y="0"/>
              </a:cxn>
              <a:cxn ang="0">
                <a:pos x="72" y="0"/>
              </a:cxn>
              <a:cxn ang="0">
                <a:pos x="58" y="0"/>
              </a:cxn>
              <a:cxn ang="0">
                <a:pos x="44" y="4"/>
              </a:cxn>
              <a:cxn ang="0">
                <a:pos x="32" y="12"/>
              </a:cxn>
              <a:cxn ang="0">
                <a:pos x="22" y="20"/>
              </a:cxn>
              <a:cxn ang="0">
                <a:pos x="12" y="32"/>
              </a:cxn>
              <a:cxn ang="0">
                <a:pos x="6" y="44"/>
              </a:cxn>
              <a:cxn ang="0">
                <a:pos x="2" y="58"/>
              </a:cxn>
              <a:cxn ang="0">
                <a:pos x="0" y="72"/>
              </a:cxn>
              <a:cxn ang="0">
                <a:pos x="0" y="72"/>
              </a:cxn>
              <a:cxn ang="0">
                <a:pos x="2" y="86"/>
              </a:cxn>
              <a:cxn ang="0">
                <a:pos x="6" y="100"/>
              </a:cxn>
              <a:cxn ang="0">
                <a:pos x="12" y="112"/>
              </a:cxn>
              <a:cxn ang="0">
                <a:pos x="22" y="124"/>
              </a:cxn>
              <a:cxn ang="0">
                <a:pos x="32" y="132"/>
              </a:cxn>
              <a:cxn ang="0">
                <a:pos x="44" y="138"/>
              </a:cxn>
              <a:cxn ang="0">
                <a:pos x="58" y="142"/>
              </a:cxn>
              <a:cxn ang="0">
                <a:pos x="72" y="144"/>
              </a:cxn>
              <a:cxn ang="0">
                <a:pos x="72" y="144"/>
              </a:cxn>
              <a:cxn ang="0">
                <a:pos x="88" y="142"/>
              </a:cxn>
              <a:cxn ang="0">
                <a:pos x="100" y="138"/>
              </a:cxn>
              <a:cxn ang="0">
                <a:pos x="114" y="132"/>
              </a:cxn>
              <a:cxn ang="0">
                <a:pos x="124" y="124"/>
              </a:cxn>
              <a:cxn ang="0">
                <a:pos x="132" y="112"/>
              </a:cxn>
              <a:cxn ang="0">
                <a:pos x="140" y="100"/>
              </a:cxn>
              <a:cxn ang="0">
                <a:pos x="144" y="86"/>
              </a:cxn>
              <a:cxn ang="0">
                <a:pos x="146" y="72"/>
              </a:cxn>
              <a:cxn ang="0">
                <a:pos x="146" y="72"/>
              </a:cxn>
              <a:cxn ang="0">
                <a:pos x="144" y="58"/>
              </a:cxn>
              <a:cxn ang="0">
                <a:pos x="140" y="44"/>
              </a:cxn>
              <a:cxn ang="0">
                <a:pos x="132" y="32"/>
              </a:cxn>
              <a:cxn ang="0">
                <a:pos x="124" y="20"/>
              </a:cxn>
              <a:cxn ang="0">
                <a:pos x="114" y="12"/>
              </a:cxn>
              <a:cxn ang="0">
                <a:pos x="100" y="4"/>
              </a:cxn>
              <a:cxn ang="0">
                <a:pos x="88" y="0"/>
              </a:cxn>
              <a:cxn ang="0">
                <a:pos x="72" y="0"/>
              </a:cxn>
            </a:cxnLst>
            <a:rect l="0" t="0" r="r" b="b"/>
            <a:pathLst>
              <a:path w="146" h="144">
                <a:moveTo>
                  <a:pt x="72" y="0"/>
                </a:moveTo>
                <a:lnTo>
                  <a:pt x="72" y="0"/>
                </a:lnTo>
                <a:lnTo>
                  <a:pt x="58" y="0"/>
                </a:lnTo>
                <a:lnTo>
                  <a:pt x="44" y="4"/>
                </a:lnTo>
                <a:lnTo>
                  <a:pt x="32" y="12"/>
                </a:lnTo>
                <a:lnTo>
                  <a:pt x="22" y="20"/>
                </a:lnTo>
                <a:lnTo>
                  <a:pt x="12" y="32"/>
                </a:lnTo>
                <a:lnTo>
                  <a:pt x="6" y="44"/>
                </a:lnTo>
                <a:lnTo>
                  <a:pt x="2" y="58"/>
                </a:lnTo>
                <a:lnTo>
                  <a:pt x="0" y="72"/>
                </a:lnTo>
                <a:lnTo>
                  <a:pt x="0" y="72"/>
                </a:lnTo>
                <a:lnTo>
                  <a:pt x="2" y="86"/>
                </a:lnTo>
                <a:lnTo>
                  <a:pt x="6" y="100"/>
                </a:lnTo>
                <a:lnTo>
                  <a:pt x="12" y="112"/>
                </a:lnTo>
                <a:lnTo>
                  <a:pt x="22" y="124"/>
                </a:lnTo>
                <a:lnTo>
                  <a:pt x="32" y="132"/>
                </a:lnTo>
                <a:lnTo>
                  <a:pt x="44" y="138"/>
                </a:lnTo>
                <a:lnTo>
                  <a:pt x="58" y="142"/>
                </a:lnTo>
                <a:lnTo>
                  <a:pt x="72" y="144"/>
                </a:lnTo>
                <a:lnTo>
                  <a:pt x="72" y="144"/>
                </a:lnTo>
                <a:lnTo>
                  <a:pt x="88" y="142"/>
                </a:lnTo>
                <a:lnTo>
                  <a:pt x="100" y="138"/>
                </a:lnTo>
                <a:lnTo>
                  <a:pt x="114" y="132"/>
                </a:lnTo>
                <a:lnTo>
                  <a:pt x="124" y="124"/>
                </a:lnTo>
                <a:lnTo>
                  <a:pt x="132" y="112"/>
                </a:lnTo>
                <a:lnTo>
                  <a:pt x="140" y="100"/>
                </a:lnTo>
                <a:lnTo>
                  <a:pt x="144" y="86"/>
                </a:lnTo>
                <a:lnTo>
                  <a:pt x="146" y="72"/>
                </a:lnTo>
                <a:lnTo>
                  <a:pt x="146" y="72"/>
                </a:lnTo>
                <a:lnTo>
                  <a:pt x="144" y="58"/>
                </a:lnTo>
                <a:lnTo>
                  <a:pt x="140" y="44"/>
                </a:lnTo>
                <a:lnTo>
                  <a:pt x="132" y="32"/>
                </a:lnTo>
                <a:lnTo>
                  <a:pt x="124" y="20"/>
                </a:lnTo>
                <a:lnTo>
                  <a:pt x="114" y="12"/>
                </a:lnTo>
                <a:lnTo>
                  <a:pt x="100" y="4"/>
                </a:lnTo>
                <a:lnTo>
                  <a:pt x="88" y="0"/>
                </a:lnTo>
                <a:lnTo>
                  <a:pt x="72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75" name="Freeform 114"/>
          <p:cNvSpPr>
            <a:spLocks/>
          </p:cNvSpPr>
          <p:nvPr userDrawn="1"/>
        </p:nvSpPr>
        <p:spPr bwMode="auto">
          <a:xfrm>
            <a:off x="1446422" y="1502918"/>
            <a:ext cx="294119" cy="267775"/>
          </a:xfrm>
          <a:custGeom>
            <a:avLst/>
            <a:gdLst/>
            <a:ahLst/>
            <a:cxnLst>
              <a:cxn ang="0">
                <a:pos x="72" y="0"/>
              </a:cxn>
              <a:cxn ang="0">
                <a:pos x="72" y="0"/>
              </a:cxn>
              <a:cxn ang="0">
                <a:pos x="58" y="0"/>
              </a:cxn>
              <a:cxn ang="0">
                <a:pos x="44" y="4"/>
              </a:cxn>
              <a:cxn ang="0">
                <a:pos x="32" y="12"/>
              </a:cxn>
              <a:cxn ang="0">
                <a:pos x="22" y="20"/>
              </a:cxn>
              <a:cxn ang="0">
                <a:pos x="12" y="32"/>
              </a:cxn>
              <a:cxn ang="0">
                <a:pos x="6" y="44"/>
              </a:cxn>
              <a:cxn ang="0">
                <a:pos x="2" y="58"/>
              </a:cxn>
              <a:cxn ang="0">
                <a:pos x="0" y="72"/>
              </a:cxn>
              <a:cxn ang="0">
                <a:pos x="0" y="72"/>
              </a:cxn>
              <a:cxn ang="0">
                <a:pos x="2" y="86"/>
              </a:cxn>
              <a:cxn ang="0">
                <a:pos x="6" y="100"/>
              </a:cxn>
              <a:cxn ang="0">
                <a:pos x="12" y="112"/>
              </a:cxn>
              <a:cxn ang="0">
                <a:pos x="22" y="124"/>
              </a:cxn>
              <a:cxn ang="0">
                <a:pos x="32" y="132"/>
              </a:cxn>
              <a:cxn ang="0">
                <a:pos x="44" y="138"/>
              </a:cxn>
              <a:cxn ang="0">
                <a:pos x="58" y="142"/>
              </a:cxn>
              <a:cxn ang="0">
                <a:pos x="72" y="144"/>
              </a:cxn>
              <a:cxn ang="0">
                <a:pos x="72" y="144"/>
              </a:cxn>
              <a:cxn ang="0">
                <a:pos x="88" y="142"/>
              </a:cxn>
              <a:cxn ang="0">
                <a:pos x="100" y="138"/>
              </a:cxn>
              <a:cxn ang="0">
                <a:pos x="114" y="132"/>
              </a:cxn>
              <a:cxn ang="0">
                <a:pos x="124" y="124"/>
              </a:cxn>
              <a:cxn ang="0">
                <a:pos x="132" y="112"/>
              </a:cxn>
              <a:cxn ang="0">
                <a:pos x="140" y="100"/>
              </a:cxn>
              <a:cxn ang="0">
                <a:pos x="144" y="86"/>
              </a:cxn>
              <a:cxn ang="0">
                <a:pos x="146" y="72"/>
              </a:cxn>
              <a:cxn ang="0">
                <a:pos x="146" y="72"/>
              </a:cxn>
              <a:cxn ang="0">
                <a:pos x="144" y="58"/>
              </a:cxn>
              <a:cxn ang="0">
                <a:pos x="140" y="44"/>
              </a:cxn>
              <a:cxn ang="0">
                <a:pos x="132" y="32"/>
              </a:cxn>
              <a:cxn ang="0">
                <a:pos x="124" y="20"/>
              </a:cxn>
              <a:cxn ang="0">
                <a:pos x="114" y="12"/>
              </a:cxn>
              <a:cxn ang="0">
                <a:pos x="100" y="4"/>
              </a:cxn>
              <a:cxn ang="0">
                <a:pos x="88" y="0"/>
              </a:cxn>
              <a:cxn ang="0">
                <a:pos x="72" y="0"/>
              </a:cxn>
            </a:cxnLst>
            <a:rect l="0" t="0" r="r" b="b"/>
            <a:pathLst>
              <a:path w="146" h="144">
                <a:moveTo>
                  <a:pt x="72" y="0"/>
                </a:moveTo>
                <a:lnTo>
                  <a:pt x="72" y="0"/>
                </a:lnTo>
                <a:lnTo>
                  <a:pt x="58" y="0"/>
                </a:lnTo>
                <a:lnTo>
                  <a:pt x="44" y="4"/>
                </a:lnTo>
                <a:lnTo>
                  <a:pt x="32" y="12"/>
                </a:lnTo>
                <a:lnTo>
                  <a:pt x="22" y="20"/>
                </a:lnTo>
                <a:lnTo>
                  <a:pt x="12" y="32"/>
                </a:lnTo>
                <a:lnTo>
                  <a:pt x="6" y="44"/>
                </a:lnTo>
                <a:lnTo>
                  <a:pt x="2" y="58"/>
                </a:lnTo>
                <a:lnTo>
                  <a:pt x="0" y="72"/>
                </a:lnTo>
                <a:lnTo>
                  <a:pt x="0" y="72"/>
                </a:lnTo>
                <a:lnTo>
                  <a:pt x="2" y="86"/>
                </a:lnTo>
                <a:lnTo>
                  <a:pt x="6" y="100"/>
                </a:lnTo>
                <a:lnTo>
                  <a:pt x="12" y="112"/>
                </a:lnTo>
                <a:lnTo>
                  <a:pt x="22" y="124"/>
                </a:lnTo>
                <a:lnTo>
                  <a:pt x="32" y="132"/>
                </a:lnTo>
                <a:lnTo>
                  <a:pt x="44" y="138"/>
                </a:lnTo>
                <a:lnTo>
                  <a:pt x="58" y="142"/>
                </a:lnTo>
                <a:lnTo>
                  <a:pt x="72" y="144"/>
                </a:lnTo>
                <a:lnTo>
                  <a:pt x="72" y="144"/>
                </a:lnTo>
                <a:lnTo>
                  <a:pt x="88" y="142"/>
                </a:lnTo>
                <a:lnTo>
                  <a:pt x="100" y="138"/>
                </a:lnTo>
                <a:lnTo>
                  <a:pt x="114" y="132"/>
                </a:lnTo>
                <a:lnTo>
                  <a:pt x="124" y="124"/>
                </a:lnTo>
                <a:lnTo>
                  <a:pt x="132" y="112"/>
                </a:lnTo>
                <a:lnTo>
                  <a:pt x="140" y="100"/>
                </a:lnTo>
                <a:lnTo>
                  <a:pt x="144" y="86"/>
                </a:lnTo>
                <a:lnTo>
                  <a:pt x="146" y="72"/>
                </a:lnTo>
                <a:lnTo>
                  <a:pt x="146" y="72"/>
                </a:lnTo>
                <a:lnTo>
                  <a:pt x="144" y="58"/>
                </a:lnTo>
                <a:lnTo>
                  <a:pt x="140" y="44"/>
                </a:lnTo>
                <a:lnTo>
                  <a:pt x="132" y="32"/>
                </a:lnTo>
                <a:lnTo>
                  <a:pt x="124" y="20"/>
                </a:lnTo>
                <a:lnTo>
                  <a:pt x="114" y="12"/>
                </a:lnTo>
                <a:lnTo>
                  <a:pt x="100" y="4"/>
                </a:lnTo>
                <a:lnTo>
                  <a:pt x="88" y="0"/>
                </a:lnTo>
                <a:lnTo>
                  <a:pt x="7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76" name="Freeform 115"/>
          <p:cNvSpPr>
            <a:spLocks/>
          </p:cNvSpPr>
          <p:nvPr userDrawn="1"/>
        </p:nvSpPr>
        <p:spPr bwMode="auto">
          <a:xfrm>
            <a:off x="2550374" y="565704"/>
            <a:ext cx="326351" cy="301247"/>
          </a:xfrm>
          <a:custGeom>
            <a:avLst/>
            <a:gdLst/>
            <a:ahLst/>
            <a:cxnLst>
              <a:cxn ang="0">
                <a:pos x="80" y="0"/>
              </a:cxn>
              <a:cxn ang="0">
                <a:pos x="80" y="0"/>
              </a:cxn>
              <a:cxn ang="0">
                <a:pos x="64" y="0"/>
              </a:cxn>
              <a:cxn ang="0">
                <a:pos x="50" y="6"/>
              </a:cxn>
              <a:cxn ang="0">
                <a:pos x="36" y="14"/>
              </a:cxn>
              <a:cxn ang="0">
                <a:pos x="24" y="24"/>
              </a:cxn>
              <a:cxn ang="0">
                <a:pos x="14" y="36"/>
              </a:cxn>
              <a:cxn ang="0">
                <a:pos x="6" y="50"/>
              </a:cxn>
              <a:cxn ang="0">
                <a:pos x="0" y="64"/>
              </a:cxn>
              <a:cxn ang="0">
                <a:pos x="0" y="80"/>
              </a:cxn>
              <a:cxn ang="0">
                <a:pos x="0" y="80"/>
              </a:cxn>
              <a:cxn ang="0">
                <a:pos x="0" y="98"/>
              </a:cxn>
              <a:cxn ang="0">
                <a:pos x="6" y="112"/>
              </a:cxn>
              <a:cxn ang="0">
                <a:pos x="14" y="126"/>
              </a:cxn>
              <a:cxn ang="0">
                <a:pos x="24" y="138"/>
              </a:cxn>
              <a:cxn ang="0">
                <a:pos x="36" y="148"/>
              </a:cxn>
              <a:cxn ang="0">
                <a:pos x="50" y="156"/>
              </a:cxn>
              <a:cxn ang="0">
                <a:pos x="64" y="160"/>
              </a:cxn>
              <a:cxn ang="0">
                <a:pos x="80" y="162"/>
              </a:cxn>
              <a:cxn ang="0">
                <a:pos x="80" y="162"/>
              </a:cxn>
              <a:cxn ang="0">
                <a:pos x="98" y="160"/>
              </a:cxn>
              <a:cxn ang="0">
                <a:pos x="112" y="156"/>
              </a:cxn>
              <a:cxn ang="0">
                <a:pos x="126" y="148"/>
              </a:cxn>
              <a:cxn ang="0">
                <a:pos x="138" y="138"/>
              </a:cxn>
              <a:cxn ang="0">
                <a:pos x="148" y="126"/>
              </a:cxn>
              <a:cxn ang="0">
                <a:pos x="156" y="112"/>
              </a:cxn>
              <a:cxn ang="0">
                <a:pos x="160" y="98"/>
              </a:cxn>
              <a:cxn ang="0">
                <a:pos x="162" y="80"/>
              </a:cxn>
              <a:cxn ang="0">
                <a:pos x="162" y="80"/>
              </a:cxn>
              <a:cxn ang="0">
                <a:pos x="160" y="64"/>
              </a:cxn>
              <a:cxn ang="0">
                <a:pos x="156" y="50"/>
              </a:cxn>
              <a:cxn ang="0">
                <a:pos x="148" y="36"/>
              </a:cxn>
              <a:cxn ang="0">
                <a:pos x="138" y="24"/>
              </a:cxn>
              <a:cxn ang="0">
                <a:pos x="126" y="14"/>
              </a:cxn>
              <a:cxn ang="0">
                <a:pos x="112" y="6"/>
              </a:cxn>
              <a:cxn ang="0">
                <a:pos x="98" y="0"/>
              </a:cxn>
              <a:cxn ang="0">
                <a:pos x="80" y="0"/>
              </a:cxn>
            </a:cxnLst>
            <a:rect l="0" t="0" r="r" b="b"/>
            <a:pathLst>
              <a:path w="162" h="162">
                <a:moveTo>
                  <a:pt x="80" y="0"/>
                </a:moveTo>
                <a:lnTo>
                  <a:pt x="80" y="0"/>
                </a:lnTo>
                <a:lnTo>
                  <a:pt x="64" y="0"/>
                </a:lnTo>
                <a:lnTo>
                  <a:pt x="50" y="6"/>
                </a:lnTo>
                <a:lnTo>
                  <a:pt x="36" y="14"/>
                </a:lnTo>
                <a:lnTo>
                  <a:pt x="24" y="24"/>
                </a:lnTo>
                <a:lnTo>
                  <a:pt x="14" y="36"/>
                </a:lnTo>
                <a:lnTo>
                  <a:pt x="6" y="50"/>
                </a:lnTo>
                <a:lnTo>
                  <a:pt x="0" y="64"/>
                </a:lnTo>
                <a:lnTo>
                  <a:pt x="0" y="80"/>
                </a:lnTo>
                <a:lnTo>
                  <a:pt x="0" y="80"/>
                </a:lnTo>
                <a:lnTo>
                  <a:pt x="0" y="98"/>
                </a:lnTo>
                <a:lnTo>
                  <a:pt x="6" y="112"/>
                </a:lnTo>
                <a:lnTo>
                  <a:pt x="14" y="126"/>
                </a:lnTo>
                <a:lnTo>
                  <a:pt x="24" y="138"/>
                </a:lnTo>
                <a:lnTo>
                  <a:pt x="36" y="148"/>
                </a:lnTo>
                <a:lnTo>
                  <a:pt x="50" y="156"/>
                </a:lnTo>
                <a:lnTo>
                  <a:pt x="64" y="160"/>
                </a:lnTo>
                <a:lnTo>
                  <a:pt x="80" y="162"/>
                </a:lnTo>
                <a:lnTo>
                  <a:pt x="80" y="162"/>
                </a:lnTo>
                <a:lnTo>
                  <a:pt x="98" y="160"/>
                </a:lnTo>
                <a:lnTo>
                  <a:pt x="112" y="156"/>
                </a:lnTo>
                <a:lnTo>
                  <a:pt x="126" y="148"/>
                </a:lnTo>
                <a:lnTo>
                  <a:pt x="138" y="138"/>
                </a:lnTo>
                <a:lnTo>
                  <a:pt x="148" y="126"/>
                </a:lnTo>
                <a:lnTo>
                  <a:pt x="156" y="112"/>
                </a:lnTo>
                <a:lnTo>
                  <a:pt x="160" y="98"/>
                </a:lnTo>
                <a:lnTo>
                  <a:pt x="162" y="80"/>
                </a:lnTo>
                <a:lnTo>
                  <a:pt x="162" y="80"/>
                </a:lnTo>
                <a:lnTo>
                  <a:pt x="160" y="64"/>
                </a:lnTo>
                <a:lnTo>
                  <a:pt x="156" y="50"/>
                </a:lnTo>
                <a:lnTo>
                  <a:pt x="148" y="36"/>
                </a:lnTo>
                <a:lnTo>
                  <a:pt x="138" y="24"/>
                </a:lnTo>
                <a:lnTo>
                  <a:pt x="126" y="14"/>
                </a:lnTo>
                <a:lnTo>
                  <a:pt x="112" y="6"/>
                </a:lnTo>
                <a:lnTo>
                  <a:pt x="98" y="0"/>
                </a:lnTo>
                <a:lnTo>
                  <a:pt x="80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77" name="Freeform 116"/>
          <p:cNvSpPr>
            <a:spLocks/>
          </p:cNvSpPr>
          <p:nvPr userDrawn="1"/>
        </p:nvSpPr>
        <p:spPr bwMode="auto">
          <a:xfrm>
            <a:off x="2550374" y="565704"/>
            <a:ext cx="326351" cy="301247"/>
          </a:xfrm>
          <a:custGeom>
            <a:avLst/>
            <a:gdLst/>
            <a:ahLst/>
            <a:cxnLst>
              <a:cxn ang="0">
                <a:pos x="80" y="0"/>
              </a:cxn>
              <a:cxn ang="0">
                <a:pos x="80" y="0"/>
              </a:cxn>
              <a:cxn ang="0">
                <a:pos x="64" y="0"/>
              </a:cxn>
              <a:cxn ang="0">
                <a:pos x="50" y="6"/>
              </a:cxn>
              <a:cxn ang="0">
                <a:pos x="36" y="14"/>
              </a:cxn>
              <a:cxn ang="0">
                <a:pos x="24" y="24"/>
              </a:cxn>
              <a:cxn ang="0">
                <a:pos x="14" y="36"/>
              </a:cxn>
              <a:cxn ang="0">
                <a:pos x="6" y="50"/>
              </a:cxn>
              <a:cxn ang="0">
                <a:pos x="0" y="64"/>
              </a:cxn>
              <a:cxn ang="0">
                <a:pos x="0" y="80"/>
              </a:cxn>
              <a:cxn ang="0">
                <a:pos x="0" y="80"/>
              </a:cxn>
              <a:cxn ang="0">
                <a:pos x="0" y="98"/>
              </a:cxn>
              <a:cxn ang="0">
                <a:pos x="6" y="112"/>
              </a:cxn>
              <a:cxn ang="0">
                <a:pos x="14" y="126"/>
              </a:cxn>
              <a:cxn ang="0">
                <a:pos x="24" y="138"/>
              </a:cxn>
              <a:cxn ang="0">
                <a:pos x="36" y="148"/>
              </a:cxn>
              <a:cxn ang="0">
                <a:pos x="50" y="156"/>
              </a:cxn>
              <a:cxn ang="0">
                <a:pos x="64" y="160"/>
              </a:cxn>
              <a:cxn ang="0">
                <a:pos x="80" y="162"/>
              </a:cxn>
              <a:cxn ang="0">
                <a:pos x="80" y="162"/>
              </a:cxn>
              <a:cxn ang="0">
                <a:pos x="98" y="160"/>
              </a:cxn>
              <a:cxn ang="0">
                <a:pos x="112" y="156"/>
              </a:cxn>
              <a:cxn ang="0">
                <a:pos x="126" y="148"/>
              </a:cxn>
              <a:cxn ang="0">
                <a:pos x="138" y="138"/>
              </a:cxn>
              <a:cxn ang="0">
                <a:pos x="148" y="126"/>
              </a:cxn>
              <a:cxn ang="0">
                <a:pos x="156" y="112"/>
              </a:cxn>
              <a:cxn ang="0">
                <a:pos x="160" y="98"/>
              </a:cxn>
              <a:cxn ang="0">
                <a:pos x="162" y="80"/>
              </a:cxn>
              <a:cxn ang="0">
                <a:pos x="162" y="80"/>
              </a:cxn>
              <a:cxn ang="0">
                <a:pos x="160" y="64"/>
              </a:cxn>
              <a:cxn ang="0">
                <a:pos x="156" y="50"/>
              </a:cxn>
              <a:cxn ang="0">
                <a:pos x="148" y="36"/>
              </a:cxn>
              <a:cxn ang="0">
                <a:pos x="138" y="24"/>
              </a:cxn>
              <a:cxn ang="0">
                <a:pos x="126" y="14"/>
              </a:cxn>
              <a:cxn ang="0">
                <a:pos x="112" y="6"/>
              </a:cxn>
              <a:cxn ang="0">
                <a:pos x="98" y="0"/>
              </a:cxn>
              <a:cxn ang="0">
                <a:pos x="80" y="0"/>
              </a:cxn>
            </a:cxnLst>
            <a:rect l="0" t="0" r="r" b="b"/>
            <a:pathLst>
              <a:path w="162" h="162">
                <a:moveTo>
                  <a:pt x="80" y="0"/>
                </a:moveTo>
                <a:lnTo>
                  <a:pt x="80" y="0"/>
                </a:lnTo>
                <a:lnTo>
                  <a:pt x="64" y="0"/>
                </a:lnTo>
                <a:lnTo>
                  <a:pt x="50" y="6"/>
                </a:lnTo>
                <a:lnTo>
                  <a:pt x="36" y="14"/>
                </a:lnTo>
                <a:lnTo>
                  <a:pt x="24" y="24"/>
                </a:lnTo>
                <a:lnTo>
                  <a:pt x="14" y="36"/>
                </a:lnTo>
                <a:lnTo>
                  <a:pt x="6" y="50"/>
                </a:lnTo>
                <a:lnTo>
                  <a:pt x="0" y="64"/>
                </a:lnTo>
                <a:lnTo>
                  <a:pt x="0" y="80"/>
                </a:lnTo>
                <a:lnTo>
                  <a:pt x="0" y="80"/>
                </a:lnTo>
                <a:lnTo>
                  <a:pt x="0" y="98"/>
                </a:lnTo>
                <a:lnTo>
                  <a:pt x="6" y="112"/>
                </a:lnTo>
                <a:lnTo>
                  <a:pt x="14" y="126"/>
                </a:lnTo>
                <a:lnTo>
                  <a:pt x="24" y="138"/>
                </a:lnTo>
                <a:lnTo>
                  <a:pt x="36" y="148"/>
                </a:lnTo>
                <a:lnTo>
                  <a:pt x="50" y="156"/>
                </a:lnTo>
                <a:lnTo>
                  <a:pt x="64" y="160"/>
                </a:lnTo>
                <a:lnTo>
                  <a:pt x="80" y="162"/>
                </a:lnTo>
                <a:lnTo>
                  <a:pt x="80" y="162"/>
                </a:lnTo>
                <a:lnTo>
                  <a:pt x="98" y="160"/>
                </a:lnTo>
                <a:lnTo>
                  <a:pt x="112" y="156"/>
                </a:lnTo>
                <a:lnTo>
                  <a:pt x="126" y="148"/>
                </a:lnTo>
                <a:lnTo>
                  <a:pt x="138" y="138"/>
                </a:lnTo>
                <a:lnTo>
                  <a:pt x="148" y="126"/>
                </a:lnTo>
                <a:lnTo>
                  <a:pt x="156" y="112"/>
                </a:lnTo>
                <a:lnTo>
                  <a:pt x="160" y="98"/>
                </a:lnTo>
                <a:lnTo>
                  <a:pt x="162" y="80"/>
                </a:lnTo>
                <a:lnTo>
                  <a:pt x="162" y="80"/>
                </a:lnTo>
                <a:lnTo>
                  <a:pt x="160" y="64"/>
                </a:lnTo>
                <a:lnTo>
                  <a:pt x="156" y="50"/>
                </a:lnTo>
                <a:lnTo>
                  <a:pt x="148" y="36"/>
                </a:lnTo>
                <a:lnTo>
                  <a:pt x="138" y="24"/>
                </a:lnTo>
                <a:lnTo>
                  <a:pt x="126" y="14"/>
                </a:lnTo>
                <a:lnTo>
                  <a:pt x="112" y="6"/>
                </a:lnTo>
                <a:lnTo>
                  <a:pt x="98" y="0"/>
                </a:lnTo>
                <a:lnTo>
                  <a:pt x="8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78" name="Freeform 117"/>
          <p:cNvSpPr>
            <a:spLocks/>
          </p:cNvSpPr>
          <p:nvPr userDrawn="1"/>
        </p:nvSpPr>
        <p:spPr bwMode="auto">
          <a:xfrm>
            <a:off x="918618" y="2298791"/>
            <a:ext cx="330380" cy="304966"/>
          </a:xfrm>
          <a:custGeom>
            <a:avLst/>
            <a:gdLst/>
            <a:ahLst/>
            <a:cxnLst>
              <a:cxn ang="0">
                <a:pos x="82" y="0"/>
              </a:cxn>
              <a:cxn ang="0">
                <a:pos x="82" y="0"/>
              </a:cxn>
              <a:cxn ang="0">
                <a:pos x="66" y="2"/>
              </a:cxn>
              <a:cxn ang="0">
                <a:pos x="50" y="6"/>
              </a:cxn>
              <a:cxn ang="0">
                <a:pos x="36" y="14"/>
              </a:cxn>
              <a:cxn ang="0">
                <a:pos x="24" y="24"/>
              </a:cxn>
              <a:cxn ang="0">
                <a:pos x="14" y="36"/>
              </a:cxn>
              <a:cxn ang="0">
                <a:pos x="6" y="50"/>
              </a:cxn>
              <a:cxn ang="0">
                <a:pos x="2" y="66"/>
              </a:cxn>
              <a:cxn ang="0">
                <a:pos x="0" y="82"/>
              </a:cxn>
              <a:cxn ang="0">
                <a:pos x="0" y="82"/>
              </a:cxn>
              <a:cxn ang="0">
                <a:pos x="2" y="98"/>
              </a:cxn>
              <a:cxn ang="0">
                <a:pos x="6" y="114"/>
              </a:cxn>
              <a:cxn ang="0">
                <a:pos x="14" y="128"/>
              </a:cxn>
              <a:cxn ang="0">
                <a:pos x="24" y="140"/>
              </a:cxn>
              <a:cxn ang="0">
                <a:pos x="36" y="150"/>
              </a:cxn>
              <a:cxn ang="0">
                <a:pos x="50" y="158"/>
              </a:cxn>
              <a:cxn ang="0">
                <a:pos x="66" y="162"/>
              </a:cxn>
              <a:cxn ang="0">
                <a:pos x="82" y="164"/>
              </a:cxn>
              <a:cxn ang="0">
                <a:pos x="82" y="164"/>
              </a:cxn>
              <a:cxn ang="0">
                <a:pos x="98" y="162"/>
              </a:cxn>
              <a:cxn ang="0">
                <a:pos x="114" y="158"/>
              </a:cxn>
              <a:cxn ang="0">
                <a:pos x="128" y="150"/>
              </a:cxn>
              <a:cxn ang="0">
                <a:pos x="140" y="140"/>
              </a:cxn>
              <a:cxn ang="0">
                <a:pos x="150" y="128"/>
              </a:cxn>
              <a:cxn ang="0">
                <a:pos x="158" y="114"/>
              </a:cxn>
              <a:cxn ang="0">
                <a:pos x="162" y="98"/>
              </a:cxn>
              <a:cxn ang="0">
                <a:pos x="164" y="82"/>
              </a:cxn>
              <a:cxn ang="0">
                <a:pos x="164" y="82"/>
              </a:cxn>
              <a:cxn ang="0">
                <a:pos x="162" y="66"/>
              </a:cxn>
              <a:cxn ang="0">
                <a:pos x="158" y="50"/>
              </a:cxn>
              <a:cxn ang="0">
                <a:pos x="150" y="36"/>
              </a:cxn>
              <a:cxn ang="0">
                <a:pos x="140" y="24"/>
              </a:cxn>
              <a:cxn ang="0">
                <a:pos x="128" y="14"/>
              </a:cxn>
              <a:cxn ang="0">
                <a:pos x="114" y="6"/>
              </a:cxn>
              <a:cxn ang="0">
                <a:pos x="98" y="2"/>
              </a:cxn>
              <a:cxn ang="0">
                <a:pos x="82" y="0"/>
              </a:cxn>
            </a:cxnLst>
            <a:rect l="0" t="0" r="r" b="b"/>
            <a:pathLst>
              <a:path w="164" h="164">
                <a:moveTo>
                  <a:pt x="82" y="0"/>
                </a:moveTo>
                <a:lnTo>
                  <a:pt x="82" y="0"/>
                </a:lnTo>
                <a:lnTo>
                  <a:pt x="66" y="2"/>
                </a:lnTo>
                <a:lnTo>
                  <a:pt x="50" y="6"/>
                </a:lnTo>
                <a:lnTo>
                  <a:pt x="36" y="14"/>
                </a:lnTo>
                <a:lnTo>
                  <a:pt x="24" y="24"/>
                </a:lnTo>
                <a:lnTo>
                  <a:pt x="14" y="36"/>
                </a:lnTo>
                <a:lnTo>
                  <a:pt x="6" y="50"/>
                </a:lnTo>
                <a:lnTo>
                  <a:pt x="2" y="66"/>
                </a:lnTo>
                <a:lnTo>
                  <a:pt x="0" y="82"/>
                </a:lnTo>
                <a:lnTo>
                  <a:pt x="0" y="82"/>
                </a:lnTo>
                <a:lnTo>
                  <a:pt x="2" y="98"/>
                </a:lnTo>
                <a:lnTo>
                  <a:pt x="6" y="114"/>
                </a:lnTo>
                <a:lnTo>
                  <a:pt x="14" y="128"/>
                </a:lnTo>
                <a:lnTo>
                  <a:pt x="24" y="140"/>
                </a:lnTo>
                <a:lnTo>
                  <a:pt x="36" y="150"/>
                </a:lnTo>
                <a:lnTo>
                  <a:pt x="50" y="158"/>
                </a:lnTo>
                <a:lnTo>
                  <a:pt x="66" y="162"/>
                </a:lnTo>
                <a:lnTo>
                  <a:pt x="82" y="164"/>
                </a:lnTo>
                <a:lnTo>
                  <a:pt x="82" y="164"/>
                </a:lnTo>
                <a:lnTo>
                  <a:pt x="98" y="162"/>
                </a:lnTo>
                <a:lnTo>
                  <a:pt x="114" y="158"/>
                </a:lnTo>
                <a:lnTo>
                  <a:pt x="128" y="150"/>
                </a:lnTo>
                <a:lnTo>
                  <a:pt x="140" y="140"/>
                </a:lnTo>
                <a:lnTo>
                  <a:pt x="150" y="128"/>
                </a:lnTo>
                <a:lnTo>
                  <a:pt x="158" y="114"/>
                </a:lnTo>
                <a:lnTo>
                  <a:pt x="162" y="98"/>
                </a:lnTo>
                <a:lnTo>
                  <a:pt x="164" y="82"/>
                </a:lnTo>
                <a:lnTo>
                  <a:pt x="164" y="82"/>
                </a:lnTo>
                <a:lnTo>
                  <a:pt x="162" y="66"/>
                </a:lnTo>
                <a:lnTo>
                  <a:pt x="158" y="50"/>
                </a:lnTo>
                <a:lnTo>
                  <a:pt x="150" y="36"/>
                </a:lnTo>
                <a:lnTo>
                  <a:pt x="140" y="24"/>
                </a:lnTo>
                <a:lnTo>
                  <a:pt x="128" y="14"/>
                </a:lnTo>
                <a:lnTo>
                  <a:pt x="114" y="6"/>
                </a:lnTo>
                <a:lnTo>
                  <a:pt x="98" y="2"/>
                </a:lnTo>
                <a:lnTo>
                  <a:pt x="82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79" name="Freeform 118"/>
          <p:cNvSpPr>
            <a:spLocks/>
          </p:cNvSpPr>
          <p:nvPr userDrawn="1"/>
        </p:nvSpPr>
        <p:spPr bwMode="auto">
          <a:xfrm>
            <a:off x="918618" y="2298791"/>
            <a:ext cx="330380" cy="304966"/>
          </a:xfrm>
          <a:custGeom>
            <a:avLst/>
            <a:gdLst/>
            <a:ahLst/>
            <a:cxnLst>
              <a:cxn ang="0">
                <a:pos x="82" y="0"/>
              </a:cxn>
              <a:cxn ang="0">
                <a:pos x="82" y="0"/>
              </a:cxn>
              <a:cxn ang="0">
                <a:pos x="66" y="2"/>
              </a:cxn>
              <a:cxn ang="0">
                <a:pos x="50" y="6"/>
              </a:cxn>
              <a:cxn ang="0">
                <a:pos x="36" y="14"/>
              </a:cxn>
              <a:cxn ang="0">
                <a:pos x="24" y="24"/>
              </a:cxn>
              <a:cxn ang="0">
                <a:pos x="14" y="36"/>
              </a:cxn>
              <a:cxn ang="0">
                <a:pos x="6" y="50"/>
              </a:cxn>
              <a:cxn ang="0">
                <a:pos x="2" y="66"/>
              </a:cxn>
              <a:cxn ang="0">
                <a:pos x="0" y="82"/>
              </a:cxn>
              <a:cxn ang="0">
                <a:pos x="0" y="82"/>
              </a:cxn>
              <a:cxn ang="0">
                <a:pos x="2" y="98"/>
              </a:cxn>
              <a:cxn ang="0">
                <a:pos x="6" y="114"/>
              </a:cxn>
              <a:cxn ang="0">
                <a:pos x="14" y="128"/>
              </a:cxn>
              <a:cxn ang="0">
                <a:pos x="24" y="140"/>
              </a:cxn>
              <a:cxn ang="0">
                <a:pos x="36" y="150"/>
              </a:cxn>
              <a:cxn ang="0">
                <a:pos x="50" y="158"/>
              </a:cxn>
              <a:cxn ang="0">
                <a:pos x="66" y="162"/>
              </a:cxn>
              <a:cxn ang="0">
                <a:pos x="82" y="164"/>
              </a:cxn>
              <a:cxn ang="0">
                <a:pos x="82" y="164"/>
              </a:cxn>
              <a:cxn ang="0">
                <a:pos x="98" y="162"/>
              </a:cxn>
              <a:cxn ang="0">
                <a:pos x="114" y="158"/>
              </a:cxn>
              <a:cxn ang="0">
                <a:pos x="128" y="150"/>
              </a:cxn>
              <a:cxn ang="0">
                <a:pos x="140" y="140"/>
              </a:cxn>
              <a:cxn ang="0">
                <a:pos x="150" y="128"/>
              </a:cxn>
              <a:cxn ang="0">
                <a:pos x="158" y="114"/>
              </a:cxn>
              <a:cxn ang="0">
                <a:pos x="162" y="98"/>
              </a:cxn>
              <a:cxn ang="0">
                <a:pos x="164" y="82"/>
              </a:cxn>
              <a:cxn ang="0">
                <a:pos x="164" y="82"/>
              </a:cxn>
              <a:cxn ang="0">
                <a:pos x="162" y="66"/>
              </a:cxn>
              <a:cxn ang="0">
                <a:pos x="158" y="50"/>
              </a:cxn>
              <a:cxn ang="0">
                <a:pos x="150" y="36"/>
              </a:cxn>
              <a:cxn ang="0">
                <a:pos x="140" y="24"/>
              </a:cxn>
              <a:cxn ang="0">
                <a:pos x="128" y="14"/>
              </a:cxn>
              <a:cxn ang="0">
                <a:pos x="114" y="6"/>
              </a:cxn>
              <a:cxn ang="0">
                <a:pos x="98" y="2"/>
              </a:cxn>
              <a:cxn ang="0">
                <a:pos x="82" y="0"/>
              </a:cxn>
            </a:cxnLst>
            <a:rect l="0" t="0" r="r" b="b"/>
            <a:pathLst>
              <a:path w="164" h="164">
                <a:moveTo>
                  <a:pt x="82" y="0"/>
                </a:moveTo>
                <a:lnTo>
                  <a:pt x="82" y="0"/>
                </a:lnTo>
                <a:lnTo>
                  <a:pt x="66" y="2"/>
                </a:lnTo>
                <a:lnTo>
                  <a:pt x="50" y="6"/>
                </a:lnTo>
                <a:lnTo>
                  <a:pt x="36" y="14"/>
                </a:lnTo>
                <a:lnTo>
                  <a:pt x="24" y="24"/>
                </a:lnTo>
                <a:lnTo>
                  <a:pt x="14" y="36"/>
                </a:lnTo>
                <a:lnTo>
                  <a:pt x="6" y="50"/>
                </a:lnTo>
                <a:lnTo>
                  <a:pt x="2" y="66"/>
                </a:lnTo>
                <a:lnTo>
                  <a:pt x="0" y="82"/>
                </a:lnTo>
                <a:lnTo>
                  <a:pt x="0" y="82"/>
                </a:lnTo>
                <a:lnTo>
                  <a:pt x="2" y="98"/>
                </a:lnTo>
                <a:lnTo>
                  <a:pt x="6" y="114"/>
                </a:lnTo>
                <a:lnTo>
                  <a:pt x="14" y="128"/>
                </a:lnTo>
                <a:lnTo>
                  <a:pt x="24" y="140"/>
                </a:lnTo>
                <a:lnTo>
                  <a:pt x="36" y="150"/>
                </a:lnTo>
                <a:lnTo>
                  <a:pt x="50" y="158"/>
                </a:lnTo>
                <a:lnTo>
                  <a:pt x="66" y="162"/>
                </a:lnTo>
                <a:lnTo>
                  <a:pt x="82" y="164"/>
                </a:lnTo>
                <a:lnTo>
                  <a:pt x="82" y="164"/>
                </a:lnTo>
                <a:lnTo>
                  <a:pt x="98" y="162"/>
                </a:lnTo>
                <a:lnTo>
                  <a:pt x="114" y="158"/>
                </a:lnTo>
                <a:lnTo>
                  <a:pt x="128" y="150"/>
                </a:lnTo>
                <a:lnTo>
                  <a:pt x="140" y="140"/>
                </a:lnTo>
                <a:lnTo>
                  <a:pt x="150" y="128"/>
                </a:lnTo>
                <a:lnTo>
                  <a:pt x="158" y="114"/>
                </a:lnTo>
                <a:lnTo>
                  <a:pt x="162" y="98"/>
                </a:lnTo>
                <a:lnTo>
                  <a:pt x="164" y="82"/>
                </a:lnTo>
                <a:lnTo>
                  <a:pt x="164" y="82"/>
                </a:lnTo>
                <a:lnTo>
                  <a:pt x="162" y="66"/>
                </a:lnTo>
                <a:lnTo>
                  <a:pt x="158" y="50"/>
                </a:lnTo>
                <a:lnTo>
                  <a:pt x="150" y="36"/>
                </a:lnTo>
                <a:lnTo>
                  <a:pt x="140" y="24"/>
                </a:lnTo>
                <a:lnTo>
                  <a:pt x="128" y="14"/>
                </a:lnTo>
                <a:lnTo>
                  <a:pt x="114" y="6"/>
                </a:lnTo>
                <a:lnTo>
                  <a:pt x="98" y="2"/>
                </a:lnTo>
                <a:lnTo>
                  <a:pt x="8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80" name="Freeform 119"/>
          <p:cNvSpPr>
            <a:spLocks/>
          </p:cNvSpPr>
          <p:nvPr userDrawn="1"/>
        </p:nvSpPr>
        <p:spPr bwMode="auto">
          <a:xfrm>
            <a:off x="2054798" y="1335546"/>
            <a:ext cx="507657" cy="468606"/>
          </a:xfrm>
          <a:custGeom>
            <a:avLst/>
            <a:gdLst/>
            <a:ahLst/>
            <a:cxnLst>
              <a:cxn ang="0">
                <a:pos x="126" y="0"/>
              </a:cxn>
              <a:cxn ang="0">
                <a:pos x="126" y="0"/>
              </a:cxn>
              <a:cxn ang="0">
                <a:pos x="114" y="0"/>
              </a:cxn>
              <a:cxn ang="0">
                <a:pos x="100" y="2"/>
              </a:cxn>
              <a:cxn ang="0">
                <a:pos x="88" y="6"/>
              </a:cxn>
              <a:cxn ang="0">
                <a:pos x="78" y="10"/>
              </a:cxn>
              <a:cxn ang="0">
                <a:pos x="56" y="22"/>
              </a:cxn>
              <a:cxn ang="0">
                <a:pos x="36" y="36"/>
              </a:cxn>
              <a:cxn ang="0">
                <a:pos x="22" y="56"/>
              </a:cxn>
              <a:cxn ang="0">
                <a:pos x="10" y="76"/>
              </a:cxn>
              <a:cxn ang="0">
                <a:pos x="6" y="88"/>
              </a:cxn>
              <a:cxn ang="0">
                <a:pos x="2" y="100"/>
              </a:cxn>
              <a:cxn ang="0">
                <a:pos x="0" y="114"/>
              </a:cxn>
              <a:cxn ang="0">
                <a:pos x="0" y="126"/>
              </a:cxn>
              <a:cxn ang="0">
                <a:pos x="0" y="126"/>
              </a:cxn>
              <a:cxn ang="0">
                <a:pos x="0" y="140"/>
              </a:cxn>
              <a:cxn ang="0">
                <a:pos x="2" y="152"/>
              </a:cxn>
              <a:cxn ang="0">
                <a:pos x="6" y="164"/>
              </a:cxn>
              <a:cxn ang="0">
                <a:pos x="10" y="176"/>
              </a:cxn>
              <a:cxn ang="0">
                <a:pos x="22" y="196"/>
              </a:cxn>
              <a:cxn ang="0">
                <a:pos x="36" y="216"/>
              </a:cxn>
              <a:cxn ang="0">
                <a:pos x="56" y="232"/>
              </a:cxn>
              <a:cxn ang="0">
                <a:pos x="78" y="242"/>
              </a:cxn>
              <a:cxn ang="0">
                <a:pos x="88" y="248"/>
              </a:cxn>
              <a:cxn ang="0">
                <a:pos x="100" y="250"/>
              </a:cxn>
              <a:cxn ang="0">
                <a:pos x="114" y="252"/>
              </a:cxn>
              <a:cxn ang="0">
                <a:pos x="126" y="252"/>
              </a:cxn>
              <a:cxn ang="0">
                <a:pos x="126" y="252"/>
              </a:cxn>
              <a:cxn ang="0">
                <a:pos x="140" y="252"/>
              </a:cxn>
              <a:cxn ang="0">
                <a:pos x="152" y="250"/>
              </a:cxn>
              <a:cxn ang="0">
                <a:pos x="164" y="248"/>
              </a:cxn>
              <a:cxn ang="0">
                <a:pos x="176" y="242"/>
              </a:cxn>
              <a:cxn ang="0">
                <a:pos x="198" y="232"/>
              </a:cxn>
              <a:cxn ang="0">
                <a:pos x="216" y="216"/>
              </a:cxn>
              <a:cxn ang="0">
                <a:pos x="232" y="196"/>
              </a:cxn>
              <a:cxn ang="0">
                <a:pos x="242" y="176"/>
              </a:cxn>
              <a:cxn ang="0">
                <a:pos x="248" y="164"/>
              </a:cxn>
              <a:cxn ang="0">
                <a:pos x="250" y="152"/>
              </a:cxn>
              <a:cxn ang="0">
                <a:pos x="252" y="140"/>
              </a:cxn>
              <a:cxn ang="0">
                <a:pos x="252" y="126"/>
              </a:cxn>
              <a:cxn ang="0">
                <a:pos x="252" y="126"/>
              </a:cxn>
              <a:cxn ang="0">
                <a:pos x="252" y="114"/>
              </a:cxn>
              <a:cxn ang="0">
                <a:pos x="250" y="100"/>
              </a:cxn>
              <a:cxn ang="0">
                <a:pos x="248" y="88"/>
              </a:cxn>
              <a:cxn ang="0">
                <a:pos x="242" y="76"/>
              </a:cxn>
              <a:cxn ang="0">
                <a:pos x="232" y="56"/>
              </a:cxn>
              <a:cxn ang="0">
                <a:pos x="216" y="36"/>
              </a:cxn>
              <a:cxn ang="0">
                <a:pos x="198" y="22"/>
              </a:cxn>
              <a:cxn ang="0">
                <a:pos x="176" y="10"/>
              </a:cxn>
              <a:cxn ang="0">
                <a:pos x="164" y="6"/>
              </a:cxn>
              <a:cxn ang="0">
                <a:pos x="152" y="2"/>
              </a:cxn>
              <a:cxn ang="0">
                <a:pos x="140" y="0"/>
              </a:cxn>
              <a:cxn ang="0">
                <a:pos x="126" y="0"/>
              </a:cxn>
            </a:cxnLst>
            <a:rect l="0" t="0" r="r" b="b"/>
            <a:pathLst>
              <a:path w="252" h="252">
                <a:moveTo>
                  <a:pt x="126" y="0"/>
                </a:moveTo>
                <a:lnTo>
                  <a:pt x="126" y="0"/>
                </a:lnTo>
                <a:lnTo>
                  <a:pt x="114" y="0"/>
                </a:lnTo>
                <a:lnTo>
                  <a:pt x="100" y="2"/>
                </a:lnTo>
                <a:lnTo>
                  <a:pt x="88" y="6"/>
                </a:lnTo>
                <a:lnTo>
                  <a:pt x="78" y="10"/>
                </a:lnTo>
                <a:lnTo>
                  <a:pt x="56" y="22"/>
                </a:lnTo>
                <a:lnTo>
                  <a:pt x="36" y="36"/>
                </a:lnTo>
                <a:lnTo>
                  <a:pt x="22" y="56"/>
                </a:lnTo>
                <a:lnTo>
                  <a:pt x="10" y="76"/>
                </a:lnTo>
                <a:lnTo>
                  <a:pt x="6" y="88"/>
                </a:lnTo>
                <a:lnTo>
                  <a:pt x="2" y="100"/>
                </a:lnTo>
                <a:lnTo>
                  <a:pt x="0" y="114"/>
                </a:lnTo>
                <a:lnTo>
                  <a:pt x="0" y="126"/>
                </a:lnTo>
                <a:lnTo>
                  <a:pt x="0" y="126"/>
                </a:lnTo>
                <a:lnTo>
                  <a:pt x="0" y="140"/>
                </a:lnTo>
                <a:lnTo>
                  <a:pt x="2" y="152"/>
                </a:lnTo>
                <a:lnTo>
                  <a:pt x="6" y="164"/>
                </a:lnTo>
                <a:lnTo>
                  <a:pt x="10" y="176"/>
                </a:lnTo>
                <a:lnTo>
                  <a:pt x="22" y="196"/>
                </a:lnTo>
                <a:lnTo>
                  <a:pt x="36" y="216"/>
                </a:lnTo>
                <a:lnTo>
                  <a:pt x="56" y="232"/>
                </a:lnTo>
                <a:lnTo>
                  <a:pt x="78" y="242"/>
                </a:lnTo>
                <a:lnTo>
                  <a:pt x="88" y="248"/>
                </a:lnTo>
                <a:lnTo>
                  <a:pt x="100" y="250"/>
                </a:lnTo>
                <a:lnTo>
                  <a:pt x="114" y="252"/>
                </a:lnTo>
                <a:lnTo>
                  <a:pt x="126" y="252"/>
                </a:lnTo>
                <a:lnTo>
                  <a:pt x="126" y="252"/>
                </a:lnTo>
                <a:lnTo>
                  <a:pt x="140" y="252"/>
                </a:lnTo>
                <a:lnTo>
                  <a:pt x="152" y="250"/>
                </a:lnTo>
                <a:lnTo>
                  <a:pt x="164" y="248"/>
                </a:lnTo>
                <a:lnTo>
                  <a:pt x="176" y="242"/>
                </a:lnTo>
                <a:lnTo>
                  <a:pt x="198" y="232"/>
                </a:lnTo>
                <a:lnTo>
                  <a:pt x="216" y="216"/>
                </a:lnTo>
                <a:lnTo>
                  <a:pt x="232" y="196"/>
                </a:lnTo>
                <a:lnTo>
                  <a:pt x="242" y="176"/>
                </a:lnTo>
                <a:lnTo>
                  <a:pt x="248" y="164"/>
                </a:lnTo>
                <a:lnTo>
                  <a:pt x="250" y="152"/>
                </a:lnTo>
                <a:lnTo>
                  <a:pt x="252" y="140"/>
                </a:lnTo>
                <a:lnTo>
                  <a:pt x="252" y="126"/>
                </a:lnTo>
                <a:lnTo>
                  <a:pt x="252" y="126"/>
                </a:lnTo>
                <a:lnTo>
                  <a:pt x="252" y="114"/>
                </a:lnTo>
                <a:lnTo>
                  <a:pt x="250" y="100"/>
                </a:lnTo>
                <a:lnTo>
                  <a:pt x="248" y="88"/>
                </a:lnTo>
                <a:lnTo>
                  <a:pt x="242" y="76"/>
                </a:lnTo>
                <a:lnTo>
                  <a:pt x="232" y="56"/>
                </a:lnTo>
                <a:lnTo>
                  <a:pt x="216" y="36"/>
                </a:lnTo>
                <a:lnTo>
                  <a:pt x="198" y="22"/>
                </a:lnTo>
                <a:lnTo>
                  <a:pt x="176" y="10"/>
                </a:lnTo>
                <a:lnTo>
                  <a:pt x="164" y="6"/>
                </a:lnTo>
                <a:lnTo>
                  <a:pt x="152" y="2"/>
                </a:lnTo>
                <a:lnTo>
                  <a:pt x="140" y="0"/>
                </a:lnTo>
                <a:lnTo>
                  <a:pt x="126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81" name="Freeform 121"/>
          <p:cNvSpPr>
            <a:spLocks/>
          </p:cNvSpPr>
          <p:nvPr userDrawn="1"/>
        </p:nvSpPr>
        <p:spPr bwMode="auto">
          <a:xfrm>
            <a:off x="1732486" y="1938039"/>
            <a:ext cx="511685" cy="468606"/>
          </a:xfrm>
          <a:custGeom>
            <a:avLst/>
            <a:gdLst/>
            <a:ahLst/>
            <a:cxnLst>
              <a:cxn ang="0">
                <a:pos x="126" y="0"/>
              </a:cxn>
              <a:cxn ang="0">
                <a:pos x="126" y="0"/>
              </a:cxn>
              <a:cxn ang="0">
                <a:pos x="114" y="0"/>
              </a:cxn>
              <a:cxn ang="0">
                <a:pos x="100" y="2"/>
              </a:cxn>
              <a:cxn ang="0">
                <a:pos x="88" y="4"/>
              </a:cxn>
              <a:cxn ang="0">
                <a:pos x="78" y="10"/>
              </a:cxn>
              <a:cxn ang="0">
                <a:pos x="56" y="20"/>
              </a:cxn>
              <a:cxn ang="0">
                <a:pos x="36" y="36"/>
              </a:cxn>
              <a:cxn ang="0">
                <a:pos x="22" y="56"/>
              </a:cxn>
              <a:cxn ang="0">
                <a:pos x="10" y="76"/>
              </a:cxn>
              <a:cxn ang="0">
                <a:pos x="6" y="88"/>
              </a:cxn>
              <a:cxn ang="0">
                <a:pos x="2" y="100"/>
              </a:cxn>
              <a:cxn ang="0">
                <a:pos x="0" y="112"/>
              </a:cxn>
              <a:cxn ang="0">
                <a:pos x="0" y="126"/>
              </a:cxn>
              <a:cxn ang="0">
                <a:pos x="0" y="126"/>
              </a:cxn>
              <a:cxn ang="0">
                <a:pos x="0" y="138"/>
              </a:cxn>
              <a:cxn ang="0">
                <a:pos x="2" y="152"/>
              </a:cxn>
              <a:cxn ang="0">
                <a:pos x="6" y="164"/>
              </a:cxn>
              <a:cxn ang="0">
                <a:pos x="10" y="176"/>
              </a:cxn>
              <a:cxn ang="0">
                <a:pos x="22" y="196"/>
              </a:cxn>
              <a:cxn ang="0">
                <a:pos x="36" y="216"/>
              </a:cxn>
              <a:cxn ang="0">
                <a:pos x="56" y="230"/>
              </a:cxn>
              <a:cxn ang="0">
                <a:pos x="78" y="242"/>
              </a:cxn>
              <a:cxn ang="0">
                <a:pos x="88" y="246"/>
              </a:cxn>
              <a:cxn ang="0">
                <a:pos x="100" y="250"/>
              </a:cxn>
              <a:cxn ang="0">
                <a:pos x="114" y="252"/>
              </a:cxn>
              <a:cxn ang="0">
                <a:pos x="126" y="252"/>
              </a:cxn>
              <a:cxn ang="0">
                <a:pos x="126" y="252"/>
              </a:cxn>
              <a:cxn ang="0">
                <a:pos x="140" y="252"/>
              </a:cxn>
              <a:cxn ang="0">
                <a:pos x="152" y="250"/>
              </a:cxn>
              <a:cxn ang="0">
                <a:pos x="164" y="246"/>
              </a:cxn>
              <a:cxn ang="0">
                <a:pos x="176" y="242"/>
              </a:cxn>
              <a:cxn ang="0">
                <a:pos x="198" y="230"/>
              </a:cxn>
              <a:cxn ang="0">
                <a:pos x="216" y="216"/>
              </a:cxn>
              <a:cxn ang="0">
                <a:pos x="232" y="196"/>
              </a:cxn>
              <a:cxn ang="0">
                <a:pos x="244" y="176"/>
              </a:cxn>
              <a:cxn ang="0">
                <a:pos x="248" y="164"/>
              </a:cxn>
              <a:cxn ang="0">
                <a:pos x="250" y="152"/>
              </a:cxn>
              <a:cxn ang="0">
                <a:pos x="252" y="138"/>
              </a:cxn>
              <a:cxn ang="0">
                <a:pos x="254" y="126"/>
              </a:cxn>
              <a:cxn ang="0">
                <a:pos x="254" y="126"/>
              </a:cxn>
              <a:cxn ang="0">
                <a:pos x="252" y="112"/>
              </a:cxn>
              <a:cxn ang="0">
                <a:pos x="250" y="100"/>
              </a:cxn>
              <a:cxn ang="0">
                <a:pos x="248" y="88"/>
              </a:cxn>
              <a:cxn ang="0">
                <a:pos x="244" y="76"/>
              </a:cxn>
              <a:cxn ang="0">
                <a:pos x="232" y="56"/>
              </a:cxn>
              <a:cxn ang="0">
                <a:pos x="216" y="36"/>
              </a:cxn>
              <a:cxn ang="0">
                <a:pos x="198" y="20"/>
              </a:cxn>
              <a:cxn ang="0">
                <a:pos x="176" y="10"/>
              </a:cxn>
              <a:cxn ang="0">
                <a:pos x="164" y="4"/>
              </a:cxn>
              <a:cxn ang="0">
                <a:pos x="152" y="2"/>
              </a:cxn>
              <a:cxn ang="0">
                <a:pos x="140" y="0"/>
              </a:cxn>
              <a:cxn ang="0">
                <a:pos x="126" y="0"/>
              </a:cxn>
            </a:cxnLst>
            <a:rect l="0" t="0" r="r" b="b"/>
            <a:pathLst>
              <a:path w="254" h="252">
                <a:moveTo>
                  <a:pt x="126" y="0"/>
                </a:moveTo>
                <a:lnTo>
                  <a:pt x="126" y="0"/>
                </a:lnTo>
                <a:lnTo>
                  <a:pt x="114" y="0"/>
                </a:lnTo>
                <a:lnTo>
                  <a:pt x="100" y="2"/>
                </a:lnTo>
                <a:lnTo>
                  <a:pt x="88" y="4"/>
                </a:lnTo>
                <a:lnTo>
                  <a:pt x="78" y="10"/>
                </a:lnTo>
                <a:lnTo>
                  <a:pt x="56" y="20"/>
                </a:lnTo>
                <a:lnTo>
                  <a:pt x="36" y="36"/>
                </a:lnTo>
                <a:lnTo>
                  <a:pt x="22" y="56"/>
                </a:lnTo>
                <a:lnTo>
                  <a:pt x="10" y="76"/>
                </a:lnTo>
                <a:lnTo>
                  <a:pt x="6" y="88"/>
                </a:lnTo>
                <a:lnTo>
                  <a:pt x="2" y="100"/>
                </a:lnTo>
                <a:lnTo>
                  <a:pt x="0" y="112"/>
                </a:lnTo>
                <a:lnTo>
                  <a:pt x="0" y="126"/>
                </a:lnTo>
                <a:lnTo>
                  <a:pt x="0" y="126"/>
                </a:lnTo>
                <a:lnTo>
                  <a:pt x="0" y="138"/>
                </a:lnTo>
                <a:lnTo>
                  <a:pt x="2" y="152"/>
                </a:lnTo>
                <a:lnTo>
                  <a:pt x="6" y="164"/>
                </a:lnTo>
                <a:lnTo>
                  <a:pt x="10" y="176"/>
                </a:lnTo>
                <a:lnTo>
                  <a:pt x="22" y="196"/>
                </a:lnTo>
                <a:lnTo>
                  <a:pt x="36" y="216"/>
                </a:lnTo>
                <a:lnTo>
                  <a:pt x="56" y="230"/>
                </a:lnTo>
                <a:lnTo>
                  <a:pt x="78" y="242"/>
                </a:lnTo>
                <a:lnTo>
                  <a:pt x="88" y="246"/>
                </a:lnTo>
                <a:lnTo>
                  <a:pt x="100" y="250"/>
                </a:lnTo>
                <a:lnTo>
                  <a:pt x="114" y="252"/>
                </a:lnTo>
                <a:lnTo>
                  <a:pt x="126" y="252"/>
                </a:lnTo>
                <a:lnTo>
                  <a:pt x="126" y="252"/>
                </a:lnTo>
                <a:lnTo>
                  <a:pt x="140" y="252"/>
                </a:lnTo>
                <a:lnTo>
                  <a:pt x="152" y="250"/>
                </a:lnTo>
                <a:lnTo>
                  <a:pt x="164" y="246"/>
                </a:lnTo>
                <a:lnTo>
                  <a:pt x="176" y="242"/>
                </a:lnTo>
                <a:lnTo>
                  <a:pt x="198" y="230"/>
                </a:lnTo>
                <a:lnTo>
                  <a:pt x="216" y="216"/>
                </a:lnTo>
                <a:lnTo>
                  <a:pt x="232" y="196"/>
                </a:lnTo>
                <a:lnTo>
                  <a:pt x="244" y="176"/>
                </a:lnTo>
                <a:lnTo>
                  <a:pt x="248" y="164"/>
                </a:lnTo>
                <a:lnTo>
                  <a:pt x="250" y="152"/>
                </a:lnTo>
                <a:lnTo>
                  <a:pt x="252" y="138"/>
                </a:lnTo>
                <a:lnTo>
                  <a:pt x="254" y="126"/>
                </a:lnTo>
                <a:lnTo>
                  <a:pt x="254" y="126"/>
                </a:lnTo>
                <a:lnTo>
                  <a:pt x="252" y="112"/>
                </a:lnTo>
                <a:lnTo>
                  <a:pt x="250" y="100"/>
                </a:lnTo>
                <a:lnTo>
                  <a:pt x="248" y="88"/>
                </a:lnTo>
                <a:lnTo>
                  <a:pt x="244" y="76"/>
                </a:lnTo>
                <a:lnTo>
                  <a:pt x="232" y="56"/>
                </a:lnTo>
                <a:lnTo>
                  <a:pt x="216" y="36"/>
                </a:lnTo>
                <a:lnTo>
                  <a:pt x="198" y="20"/>
                </a:lnTo>
                <a:lnTo>
                  <a:pt x="176" y="10"/>
                </a:lnTo>
                <a:lnTo>
                  <a:pt x="164" y="4"/>
                </a:lnTo>
                <a:lnTo>
                  <a:pt x="152" y="2"/>
                </a:lnTo>
                <a:lnTo>
                  <a:pt x="140" y="0"/>
                </a:lnTo>
                <a:lnTo>
                  <a:pt x="126" y="0"/>
                </a:lnTo>
                <a:close/>
              </a:path>
            </a:pathLst>
          </a:custGeom>
          <a:solidFill>
            <a:srgbClr val="CC0066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82" name="Freeform 122"/>
          <p:cNvSpPr>
            <a:spLocks/>
          </p:cNvSpPr>
          <p:nvPr userDrawn="1"/>
        </p:nvSpPr>
        <p:spPr bwMode="auto">
          <a:xfrm>
            <a:off x="1732486" y="1938039"/>
            <a:ext cx="511685" cy="468606"/>
          </a:xfrm>
          <a:custGeom>
            <a:avLst/>
            <a:gdLst/>
            <a:ahLst/>
            <a:cxnLst>
              <a:cxn ang="0">
                <a:pos x="126" y="0"/>
              </a:cxn>
              <a:cxn ang="0">
                <a:pos x="126" y="0"/>
              </a:cxn>
              <a:cxn ang="0">
                <a:pos x="114" y="0"/>
              </a:cxn>
              <a:cxn ang="0">
                <a:pos x="100" y="2"/>
              </a:cxn>
              <a:cxn ang="0">
                <a:pos x="88" y="4"/>
              </a:cxn>
              <a:cxn ang="0">
                <a:pos x="78" y="10"/>
              </a:cxn>
              <a:cxn ang="0">
                <a:pos x="56" y="20"/>
              </a:cxn>
              <a:cxn ang="0">
                <a:pos x="36" y="36"/>
              </a:cxn>
              <a:cxn ang="0">
                <a:pos x="22" y="56"/>
              </a:cxn>
              <a:cxn ang="0">
                <a:pos x="10" y="76"/>
              </a:cxn>
              <a:cxn ang="0">
                <a:pos x="6" y="88"/>
              </a:cxn>
              <a:cxn ang="0">
                <a:pos x="2" y="100"/>
              </a:cxn>
              <a:cxn ang="0">
                <a:pos x="0" y="112"/>
              </a:cxn>
              <a:cxn ang="0">
                <a:pos x="0" y="126"/>
              </a:cxn>
              <a:cxn ang="0">
                <a:pos x="0" y="126"/>
              </a:cxn>
              <a:cxn ang="0">
                <a:pos x="0" y="138"/>
              </a:cxn>
              <a:cxn ang="0">
                <a:pos x="2" y="152"/>
              </a:cxn>
              <a:cxn ang="0">
                <a:pos x="6" y="164"/>
              </a:cxn>
              <a:cxn ang="0">
                <a:pos x="10" y="176"/>
              </a:cxn>
              <a:cxn ang="0">
                <a:pos x="22" y="196"/>
              </a:cxn>
              <a:cxn ang="0">
                <a:pos x="36" y="216"/>
              </a:cxn>
              <a:cxn ang="0">
                <a:pos x="56" y="230"/>
              </a:cxn>
              <a:cxn ang="0">
                <a:pos x="78" y="242"/>
              </a:cxn>
              <a:cxn ang="0">
                <a:pos x="88" y="246"/>
              </a:cxn>
              <a:cxn ang="0">
                <a:pos x="100" y="250"/>
              </a:cxn>
              <a:cxn ang="0">
                <a:pos x="114" y="252"/>
              </a:cxn>
              <a:cxn ang="0">
                <a:pos x="126" y="252"/>
              </a:cxn>
              <a:cxn ang="0">
                <a:pos x="126" y="252"/>
              </a:cxn>
              <a:cxn ang="0">
                <a:pos x="140" y="252"/>
              </a:cxn>
              <a:cxn ang="0">
                <a:pos x="152" y="250"/>
              </a:cxn>
              <a:cxn ang="0">
                <a:pos x="164" y="246"/>
              </a:cxn>
              <a:cxn ang="0">
                <a:pos x="176" y="242"/>
              </a:cxn>
              <a:cxn ang="0">
                <a:pos x="198" y="230"/>
              </a:cxn>
              <a:cxn ang="0">
                <a:pos x="216" y="216"/>
              </a:cxn>
              <a:cxn ang="0">
                <a:pos x="232" y="196"/>
              </a:cxn>
              <a:cxn ang="0">
                <a:pos x="244" y="176"/>
              </a:cxn>
              <a:cxn ang="0">
                <a:pos x="248" y="164"/>
              </a:cxn>
              <a:cxn ang="0">
                <a:pos x="250" y="152"/>
              </a:cxn>
              <a:cxn ang="0">
                <a:pos x="252" y="138"/>
              </a:cxn>
              <a:cxn ang="0">
                <a:pos x="254" y="126"/>
              </a:cxn>
              <a:cxn ang="0">
                <a:pos x="254" y="126"/>
              </a:cxn>
              <a:cxn ang="0">
                <a:pos x="252" y="112"/>
              </a:cxn>
              <a:cxn ang="0">
                <a:pos x="250" y="100"/>
              </a:cxn>
              <a:cxn ang="0">
                <a:pos x="248" y="88"/>
              </a:cxn>
              <a:cxn ang="0">
                <a:pos x="244" y="76"/>
              </a:cxn>
              <a:cxn ang="0">
                <a:pos x="232" y="56"/>
              </a:cxn>
              <a:cxn ang="0">
                <a:pos x="216" y="36"/>
              </a:cxn>
              <a:cxn ang="0">
                <a:pos x="198" y="20"/>
              </a:cxn>
              <a:cxn ang="0">
                <a:pos x="176" y="10"/>
              </a:cxn>
              <a:cxn ang="0">
                <a:pos x="164" y="4"/>
              </a:cxn>
              <a:cxn ang="0">
                <a:pos x="152" y="2"/>
              </a:cxn>
              <a:cxn ang="0">
                <a:pos x="140" y="0"/>
              </a:cxn>
              <a:cxn ang="0">
                <a:pos x="126" y="0"/>
              </a:cxn>
            </a:cxnLst>
            <a:rect l="0" t="0" r="r" b="b"/>
            <a:pathLst>
              <a:path w="254" h="252">
                <a:moveTo>
                  <a:pt x="126" y="0"/>
                </a:moveTo>
                <a:lnTo>
                  <a:pt x="126" y="0"/>
                </a:lnTo>
                <a:lnTo>
                  <a:pt x="114" y="0"/>
                </a:lnTo>
                <a:lnTo>
                  <a:pt x="100" y="2"/>
                </a:lnTo>
                <a:lnTo>
                  <a:pt x="88" y="4"/>
                </a:lnTo>
                <a:lnTo>
                  <a:pt x="78" y="10"/>
                </a:lnTo>
                <a:lnTo>
                  <a:pt x="56" y="20"/>
                </a:lnTo>
                <a:lnTo>
                  <a:pt x="36" y="36"/>
                </a:lnTo>
                <a:lnTo>
                  <a:pt x="22" y="56"/>
                </a:lnTo>
                <a:lnTo>
                  <a:pt x="10" y="76"/>
                </a:lnTo>
                <a:lnTo>
                  <a:pt x="6" y="88"/>
                </a:lnTo>
                <a:lnTo>
                  <a:pt x="2" y="100"/>
                </a:lnTo>
                <a:lnTo>
                  <a:pt x="0" y="112"/>
                </a:lnTo>
                <a:lnTo>
                  <a:pt x="0" y="126"/>
                </a:lnTo>
                <a:lnTo>
                  <a:pt x="0" y="126"/>
                </a:lnTo>
                <a:lnTo>
                  <a:pt x="0" y="138"/>
                </a:lnTo>
                <a:lnTo>
                  <a:pt x="2" y="152"/>
                </a:lnTo>
                <a:lnTo>
                  <a:pt x="6" y="164"/>
                </a:lnTo>
                <a:lnTo>
                  <a:pt x="10" y="176"/>
                </a:lnTo>
                <a:lnTo>
                  <a:pt x="22" y="196"/>
                </a:lnTo>
                <a:lnTo>
                  <a:pt x="36" y="216"/>
                </a:lnTo>
                <a:lnTo>
                  <a:pt x="56" y="230"/>
                </a:lnTo>
                <a:lnTo>
                  <a:pt x="78" y="242"/>
                </a:lnTo>
                <a:lnTo>
                  <a:pt x="88" y="246"/>
                </a:lnTo>
                <a:lnTo>
                  <a:pt x="100" y="250"/>
                </a:lnTo>
                <a:lnTo>
                  <a:pt x="114" y="252"/>
                </a:lnTo>
                <a:lnTo>
                  <a:pt x="126" y="252"/>
                </a:lnTo>
                <a:lnTo>
                  <a:pt x="126" y="252"/>
                </a:lnTo>
                <a:lnTo>
                  <a:pt x="140" y="252"/>
                </a:lnTo>
                <a:lnTo>
                  <a:pt x="152" y="250"/>
                </a:lnTo>
                <a:lnTo>
                  <a:pt x="164" y="246"/>
                </a:lnTo>
                <a:lnTo>
                  <a:pt x="176" y="242"/>
                </a:lnTo>
                <a:lnTo>
                  <a:pt x="198" y="230"/>
                </a:lnTo>
                <a:lnTo>
                  <a:pt x="216" y="216"/>
                </a:lnTo>
                <a:lnTo>
                  <a:pt x="232" y="196"/>
                </a:lnTo>
                <a:lnTo>
                  <a:pt x="244" y="176"/>
                </a:lnTo>
                <a:lnTo>
                  <a:pt x="248" y="164"/>
                </a:lnTo>
                <a:lnTo>
                  <a:pt x="250" y="152"/>
                </a:lnTo>
                <a:lnTo>
                  <a:pt x="252" y="138"/>
                </a:lnTo>
                <a:lnTo>
                  <a:pt x="254" y="126"/>
                </a:lnTo>
                <a:lnTo>
                  <a:pt x="254" y="126"/>
                </a:lnTo>
                <a:lnTo>
                  <a:pt x="252" y="112"/>
                </a:lnTo>
                <a:lnTo>
                  <a:pt x="250" y="100"/>
                </a:lnTo>
                <a:lnTo>
                  <a:pt x="248" y="88"/>
                </a:lnTo>
                <a:lnTo>
                  <a:pt x="244" y="76"/>
                </a:lnTo>
                <a:lnTo>
                  <a:pt x="232" y="56"/>
                </a:lnTo>
                <a:lnTo>
                  <a:pt x="216" y="36"/>
                </a:lnTo>
                <a:lnTo>
                  <a:pt x="198" y="20"/>
                </a:lnTo>
                <a:lnTo>
                  <a:pt x="176" y="10"/>
                </a:lnTo>
                <a:lnTo>
                  <a:pt x="164" y="4"/>
                </a:lnTo>
                <a:lnTo>
                  <a:pt x="152" y="2"/>
                </a:lnTo>
                <a:lnTo>
                  <a:pt x="140" y="0"/>
                </a:lnTo>
                <a:lnTo>
                  <a:pt x="126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83" name="Freeform 123"/>
          <p:cNvSpPr>
            <a:spLocks/>
          </p:cNvSpPr>
          <p:nvPr userDrawn="1"/>
        </p:nvSpPr>
        <p:spPr bwMode="auto">
          <a:xfrm>
            <a:off x="1390018" y="230984"/>
            <a:ext cx="741339" cy="684313"/>
          </a:xfrm>
          <a:custGeom>
            <a:avLst/>
            <a:gdLst/>
            <a:ahLst/>
            <a:cxnLst>
              <a:cxn ang="0">
                <a:pos x="184" y="0"/>
              </a:cxn>
              <a:cxn ang="0">
                <a:pos x="148" y="4"/>
              </a:cxn>
              <a:cxn ang="0">
                <a:pos x="112" y="14"/>
              </a:cxn>
              <a:cxn ang="0">
                <a:pos x="82" y="32"/>
              </a:cxn>
              <a:cxn ang="0">
                <a:pos x="54" y="54"/>
              </a:cxn>
              <a:cxn ang="0">
                <a:pos x="32" y="82"/>
              </a:cxn>
              <a:cxn ang="0">
                <a:pos x="16" y="112"/>
              </a:cxn>
              <a:cxn ang="0">
                <a:pos x="4" y="146"/>
              </a:cxn>
              <a:cxn ang="0">
                <a:pos x="0" y="184"/>
              </a:cxn>
              <a:cxn ang="0">
                <a:pos x="2" y="202"/>
              </a:cxn>
              <a:cxn ang="0">
                <a:pos x="10" y="238"/>
              </a:cxn>
              <a:cxn ang="0">
                <a:pos x="22" y="272"/>
              </a:cxn>
              <a:cxn ang="0">
                <a:pos x="42" y="300"/>
              </a:cxn>
              <a:cxn ang="0">
                <a:pos x="68" y="326"/>
              </a:cxn>
              <a:cxn ang="0">
                <a:pos x="96" y="346"/>
              </a:cxn>
              <a:cxn ang="0">
                <a:pos x="130" y="360"/>
              </a:cxn>
              <a:cxn ang="0">
                <a:pos x="166" y="366"/>
              </a:cxn>
              <a:cxn ang="0">
                <a:pos x="184" y="368"/>
              </a:cxn>
              <a:cxn ang="0">
                <a:pos x="222" y="364"/>
              </a:cxn>
              <a:cxn ang="0">
                <a:pos x="256" y="352"/>
              </a:cxn>
              <a:cxn ang="0">
                <a:pos x="286" y="336"/>
              </a:cxn>
              <a:cxn ang="0">
                <a:pos x="314" y="314"/>
              </a:cxn>
              <a:cxn ang="0">
                <a:pos x="336" y="286"/>
              </a:cxn>
              <a:cxn ang="0">
                <a:pos x="354" y="256"/>
              </a:cxn>
              <a:cxn ang="0">
                <a:pos x="364" y="220"/>
              </a:cxn>
              <a:cxn ang="0">
                <a:pos x="368" y="184"/>
              </a:cxn>
              <a:cxn ang="0">
                <a:pos x="368" y="166"/>
              </a:cxn>
              <a:cxn ang="0">
                <a:pos x="360" y="130"/>
              </a:cxn>
              <a:cxn ang="0">
                <a:pos x="346" y="96"/>
              </a:cxn>
              <a:cxn ang="0">
                <a:pos x="326" y="68"/>
              </a:cxn>
              <a:cxn ang="0">
                <a:pos x="302" y="42"/>
              </a:cxn>
              <a:cxn ang="0">
                <a:pos x="272" y="22"/>
              </a:cxn>
              <a:cxn ang="0">
                <a:pos x="238" y="8"/>
              </a:cxn>
              <a:cxn ang="0">
                <a:pos x="204" y="2"/>
              </a:cxn>
            </a:cxnLst>
            <a:rect l="0" t="0" r="r" b="b"/>
            <a:pathLst>
              <a:path w="368" h="368">
                <a:moveTo>
                  <a:pt x="184" y="0"/>
                </a:moveTo>
                <a:lnTo>
                  <a:pt x="184" y="0"/>
                </a:lnTo>
                <a:lnTo>
                  <a:pt x="166" y="2"/>
                </a:lnTo>
                <a:lnTo>
                  <a:pt x="148" y="4"/>
                </a:lnTo>
                <a:lnTo>
                  <a:pt x="130" y="8"/>
                </a:lnTo>
                <a:lnTo>
                  <a:pt x="112" y="14"/>
                </a:lnTo>
                <a:lnTo>
                  <a:pt x="96" y="22"/>
                </a:lnTo>
                <a:lnTo>
                  <a:pt x="82" y="32"/>
                </a:lnTo>
                <a:lnTo>
                  <a:pt x="68" y="42"/>
                </a:lnTo>
                <a:lnTo>
                  <a:pt x="54" y="54"/>
                </a:lnTo>
                <a:lnTo>
                  <a:pt x="42" y="68"/>
                </a:lnTo>
                <a:lnTo>
                  <a:pt x="32" y="82"/>
                </a:lnTo>
                <a:lnTo>
                  <a:pt x="22" y="96"/>
                </a:lnTo>
                <a:lnTo>
                  <a:pt x="16" y="112"/>
                </a:lnTo>
                <a:lnTo>
                  <a:pt x="10" y="130"/>
                </a:lnTo>
                <a:lnTo>
                  <a:pt x="4" y="146"/>
                </a:lnTo>
                <a:lnTo>
                  <a:pt x="2" y="166"/>
                </a:lnTo>
                <a:lnTo>
                  <a:pt x="0" y="184"/>
                </a:lnTo>
                <a:lnTo>
                  <a:pt x="0" y="184"/>
                </a:lnTo>
                <a:lnTo>
                  <a:pt x="2" y="202"/>
                </a:lnTo>
                <a:lnTo>
                  <a:pt x="4" y="220"/>
                </a:lnTo>
                <a:lnTo>
                  <a:pt x="10" y="238"/>
                </a:lnTo>
                <a:lnTo>
                  <a:pt x="16" y="256"/>
                </a:lnTo>
                <a:lnTo>
                  <a:pt x="22" y="272"/>
                </a:lnTo>
                <a:lnTo>
                  <a:pt x="32" y="286"/>
                </a:lnTo>
                <a:lnTo>
                  <a:pt x="42" y="300"/>
                </a:lnTo>
                <a:lnTo>
                  <a:pt x="54" y="314"/>
                </a:lnTo>
                <a:lnTo>
                  <a:pt x="68" y="326"/>
                </a:lnTo>
                <a:lnTo>
                  <a:pt x="82" y="336"/>
                </a:lnTo>
                <a:lnTo>
                  <a:pt x="96" y="346"/>
                </a:lnTo>
                <a:lnTo>
                  <a:pt x="112" y="352"/>
                </a:lnTo>
                <a:lnTo>
                  <a:pt x="130" y="360"/>
                </a:lnTo>
                <a:lnTo>
                  <a:pt x="148" y="364"/>
                </a:lnTo>
                <a:lnTo>
                  <a:pt x="166" y="366"/>
                </a:lnTo>
                <a:lnTo>
                  <a:pt x="184" y="368"/>
                </a:lnTo>
                <a:lnTo>
                  <a:pt x="184" y="368"/>
                </a:lnTo>
                <a:lnTo>
                  <a:pt x="204" y="366"/>
                </a:lnTo>
                <a:lnTo>
                  <a:pt x="222" y="364"/>
                </a:lnTo>
                <a:lnTo>
                  <a:pt x="238" y="360"/>
                </a:lnTo>
                <a:lnTo>
                  <a:pt x="256" y="352"/>
                </a:lnTo>
                <a:lnTo>
                  <a:pt x="272" y="346"/>
                </a:lnTo>
                <a:lnTo>
                  <a:pt x="286" y="336"/>
                </a:lnTo>
                <a:lnTo>
                  <a:pt x="302" y="326"/>
                </a:lnTo>
                <a:lnTo>
                  <a:pt x="314" y="314"/>
                </a:lnTo>
                <a:lnTo>
                  <a:pt x="326" y="300"/>
                </a:lnTo>
                <a:lnTo>
                  <a:pt x="336" y="286"/>
                </a:lnTo>
                <a:lnTo>
                  <a:pt x="346" y="272"/>
                </a:lnTo>
                <a:lnTo>
                  <a:pt x="354" y="256"/>
                </a:lnTo>
                <a:lnTo>
                  <a:pt x="360" y="238"/>
                </a:lnTo>
                <a:lnTo>
                  <a:pt x="364" y="220"/>
                </a:lnTo>
                <a:lnTo>
                  <a:pt x="368" y="202"/>
                </a:lnTo>
                <a:lnTo>
                  <a:pt x="368" y="184"/>
                </a:lnTo>
                <a:lnTo>
                  <a:pt x="368" y="184"/>
                </a:lnTo>
                <a:lnTo>
                  <a:pt x="368" y="166"/>
                </a:lnTo>
                <a:lnTo>
                  <a:pt x="364" y="146"/>
                </a:lnTo>
                <a:lnTo>
                  <a:pt x="360" y="130"/>
                </a:lnTo>
                <a:lnTo>
                  <a:pt x="354" y="112"/>
                </a:lnTo>
                <a:lnTo>
                  <a:pt x="346" y="96"/>
                </a:lnTo>
                <a:lnTo>
                  <a:pt x="336" y="82"/>
                </a:lnTo>
                <a:lnTo>
                  <a:pt x="326" y="68"/>
                </a:lnTo>
                <a:lnTo>
                  <a:pt x="314" y="54"/>
                </a:lnTo>
                <a:lnTo>
                  <a:pt x="302" y="42"/>
                </a:lnTo>
                <a:lnTo>
                  <a:pt x="286" y="32"/>
                </a:lnTo>
                <a:lnTo>
                  <a:pt x="272" y="22"/>
                </a:lnTo>
                <a:lnTo>
                  <a:pt x="256" y="14"/>
                </a:lnTo>
                <a:lnTo>
                  <a:pt x="238" y="8"/>
                </a:lnTo>
                <a:lnTo>
                  <a:pt x="222" y="4"/>
                </a:lnTo>
                <a:lnTo>
                  <a:pt x="204" y="2"/>
                </a:lnTo>
                <a:lnTo>
                  <a:pt x="184" y="0"/>
                </a:lnTo>
                <a:close/>
              </a:path>
            </a:pathLst>
          </a:custGeom>
          <a:solidFill>
            <a:srgbClr val="CC0066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84" name="Freeform 124"/>
          <p:cNvSpPr>
            <a:spLocks/>
          </p:cNvSpPr>
          <p:nvPr userDrawn="1"/>
        </p:nvSpPr>
        <p:spPr bwMode="auto">
          <a:xfrm>
            <a:off x="1390018" y="230984"/>
            <a:ext cx="741339" cy="684313"/>
          </a:xfrm>
          <a:custGeom>
            <a:avLst/>
            <a:gdLst/>
            <a:ahLst/>
            <a:cxnLst>
              <a:cxn ang="0">
                <a:pos x="184" y="0"/>
              </a:cxn>
              <a:cxn ang="0">
                <a:pos x="148" y="4"/>
              </a:cxn>
              <a:cxn ang="0">
                <a:pos x="112" y="14"/>
              </a:cxn>
              <a:cxn ang="0">
                <a:pos x="82" y="32"/>
              </a:cxn>
              <a:cxn ang="0">
                <a:pos x="54" y="54"/>
              </a:cxn>
              <a:cxn ang="0">
                <a:pos x="32" y="82"/>
              </a:cxn>
              <a:cxn ang="0">
                <a:pos x="16" y="112"/>
              </a:cxn>
              <a:cxn ang="0">
                <a:pos x="4" y="146"/>
              </a:cxn>
              <a:cxn ang="0">
                <a:pos x="0" y="184"/>
              </a:cxn>
              <a:cxn ang="0">
                <a:pos x="2" y="202"/>
              </a:cxn>
              <a:cxn ang="0">
                <a:pos x="10" y="238"/>
              </a:cxn>
              <a:cxn ang="0">
                <a:pos x="22" y="272"/>
              </a:cxn>
              <a:cxn ang="0">
                <a:pos x="42" y="300"/>
              </a:cxn>
              <a:cxn ang="0">
                <a:pos x="68" y="326"/>
              </a:cxn>
              <a:cxn ang="0">
                <a:pos x="96" y="346"/>
              </a:cxn>
              <a:cxn ang="0">
                <a:pos x="130" y="360"/>
              </a:cxn>
              <a:cxn ang="0">
                <a:pos x="166" y="366"/>
              </a:cxn>
              <a:cxn ang="0">
                <a:pos x="184" y="368"/>
              </a:cxn>
              <a:cxn ang="0">
                <a:pos x="222" y="364"/>
              </a:cxn>
              <a:cxn ang="0">
                <a:pos x="256" y="352"/>
              </a:cxn>
              <a:cxn ang="0">
                <a:pos x="286" y="336"/>
              </a:cxn>
              <a:cxn ang="0">
                <a:pos x="314" y="314"/>
              </a:cxn>
              <a:cxn ang="0">
                <a:pos x="336" y="286"/>
              </a:cxn>
              <a:cxn ang="0">
                <a:pos x="354" y="256"/>
              </a:cxn>
              <a:cxn ang="0">
                <a:pos x="364" y="220"/>
              </a:cxn>
              <a:cxn ang="0">
                <a:pos x="368" y="184"/>
              </a:cxn>
              <a:cxn ang="0">
                <a:pos x="368" y="166"/>
              </a:cxn>
              <a:cxn ang="0">
                <a:pos x="360" y="130"/>
              </a:cxn>
              <a:cxn ang="0">
                <a:pos x="346" y="96"/>
              </a:cxn>
              <a:cxn ang="0">
                <a:pos x="326" y="68"/>
              </a:cxn>
              <a:cxn ang="0">
                <a:pos x="302" y="42"/>
              </a:cxn>
              <a:cxn ang="0">
                <a:pos x="272" y="22"/>
              </a:cxn>
              <a:cxn ang="0">
                <a:pos x="238" y="8"/>
              </a:cxn>
              <a:cxn ang="0">
                <a:pos x="204" y="2"/>
              </a:cxn>
            </a:cxnLst>
            <a:rect l="0" t="0" r="r" b="b"/>
            <a:pathLst>
              <a:path w="368" h="368">
                <a:moveTo>
                  <a:pt x="184" y="0"/>
                </a:moveTo>
                <a:lnTo>
                  <a:pt x="184" y="0"/>
                </a:lnTo>
                <a:lnTo>
                  <a:pt x="166" y="2"/>
                </a:lnTo>
                <a:lnTo>
                  <a:pt x="148" y="4"/>
                </a:lnTo>
                <a:lnTo>
                  <a:pt x="130" y="8"/>
                </a:lnTo>
                <a:lnTo>
                  <a:pt x="112" y="14"/>
                </a:lnTo>
                <a:lnTo>
                  <a:pt x="96" y="22"/>
                </a:lnTo>
                <a:lnTo>
                  <a:pt x="82" y="32"/>
                </a:lnTo>
                <a:lnTo>
                  <a:pt x="68" y="42"/>
                </a:lnTo>
                <a:lnTo>
                  <a:pt x="54" y="54"/>
                </a:lnTo>
                <a:lnTo>
                  <a:pt x="42" y="68"/>
                </a:lnTo>
                <a:lnTo>
                  <a:pt x="32" y="82"/>
                </a:lnTo>
                <a:lnTo>
                  <a:pt x="22" y="96"/>
                </a:lnTo>
                <a:lnTo>
                  <a:pt x="16" y="112"/>
                </a:lnTo>
                <a:lnTo>
                  <a:pt x="10" y="130"/>
                </a:lnTo>
                <a:lnTo>
                  <a:pt x="4" y="146"/>
                </a:lnTo>
                <a:lnTo>
                  <a:pt x="2" y="166"/>
                </a:lnTo>
                <a:lnTo>
                  <a:pt x="0" y="184"/>
                </a:lnTo>
                <a:lnTo>
                  <a:pt x="0" y="184"/>
                </a:lnTo>
                <a:lnTo>
                  <a:pt x="2" y="202"/>
                </a:lnTo>
                <a:lnTo>
                  <a:pt x="4" y="220"/>
                </a:lnTo>
                <a:lnTo>
                  <a:pt x="10" y="238"/>
                </a:lnTo>
                <a:lnTo>
                  <a:pt x="16" y="256"/>
                </a:lnTo>
                <a:lnTo>
                  <a:pt x="22" y="272"/>
                </a:lnTo>
                <a:lnTo>
                  <a:pt x="32" y="286"/>
                </a:lnTo>
                <a:lnTo>
                  <a:pt x="42" y="300"/>
                </a:lnTo>
                <a:lnTo>
                  <a:pt x="54" y="314"/>
                </a:lnTo>
                <a:lnTo>
                  <a:pt x="68" y="326"/>
                </a:lnTo>
                <a:lnTo>
                  <a:pt x="82" y="336"/>
                </a:lnTo>
                <a:lnTo>
                  <a:pt x="96" y="346"/>
                </a:lnTo>
                <a:lnTo>
                  <a:pt x="112" y="352"/>
                </a:lnTo>
                <a:lnTo>
                  <a:pt x="130" y="360"/>
                </a:lnTo>
                <a:lnTo>
                  <a:pt x="148" y="364"/>
                </a:lnTo>
                <a:lnTo>
                  <a:pt x="166" y="366"/>
                </a:lnTo>
                <a:lnTo>
                  <a:pt x="184" y="368"/>
                </a:lnTo>
                <a:lnTo>
                  <a:pt x="184" y="368"/>
                </a:lnTo>
                <a:lnTo>
                  <a:pt x="204" y="366"/>
                </a:lnTo>
                <a:lnTo>
                  <a:pt x="222" y="364"/>
                </a:lnTo>
                <a:lnTo>
                  <a:pt x="238" y="360"/>
                </a:lnTo>
                <a:lnTo>
                  <a:pt x="256" y="352"/>
                </a:lnTo>
                <a:lnTo>
                  <a:pt x="272" y="346"/>
                </a:lnTo>
                <a:lnTo>
                  <a:pt x="286" y="336"/>
                </a:lnTo>
                <a:lnTo>
                  <a:pt x="302" y="326"/>
                </a:lnTo>
                <a:lnTo>
                  <a:pt x="314" y="314"/>
                </a:lnTo>
                <a:lnTo>
                  <a:pt x="326" y="300"/>
                </a:lnTo>
                <a:lnTo>
                  <a:pt x="336" y="286"/>
                </a:lnTo>
                <a:lnTo>
                  <a:pt x="346" y="272"/>
                </a:lnTo>
                <a:lnTo>
                  <a:pt x="354" y="256"/>
                </a:lnTo>
                <a:lnTo>
                  <a:pt x="360" y="238"/>
                </a:lnTo>
                <a:lnTo>
                  <a:pt x="364" y="220"/>
                </a:lnTo>
                <a:lnTo>
                  <a:pt x="368" y="202"/>
                </a:lnTo>
                <a:lnTo>
                  <a:pt x="368" y="184"/>
                </a:lnTo>
                <a:lnTo>
                  <a:pt x="368" y="184"/>
                </a:lnTo>
                <a:lnTo>
                  <a:pt x="368" y="166"/>
                </a:lnTo>
                <a:lnTo>
                  <a:pt x="364" y="146"/>
                </a:lnTo>
                <a:lnTo>
                  <a:pt x="360" y="130"/>
                </a:lnTo>
                <a:lnTo>
                  <a:pt x="354" y="112"/>
                </a:lnTo>
                <a:lnTo>
                  <a:pt x="346" y="96"/>
                </a:lnTo>
                <a:lnTo>
                  <a:pt x="336" y="82"/>
                </a:lnTo>
                <a:lnTo>
                  <a:pt x="326" y="68"/>
                </a:lnTo>
                <a:lnTo>
                  <a:pt x="314" y="54"/>
                </a:lnTo>
                <a:lnTo>
                  <a:pt x="302" y="42"/>
                </a:lnTo>
                <a:lnTo>
                  <a:pt x="286" y="32"/>
                </a:lnTo>
                <a:lnTo>
                  <a:pt x="272" y="22"/>
                </a:lnTo>
                <a:lnTo>
                  <a:pt x="256" y="14"/>
                </a:lnTo>
                <a:lnTo>
                  <a:pt x="238" y="8"/>
                </a:lnTo>
                <a:lnTo>
                  <a:pt x="222" y="4"/>
                </a:lnTo>
                <a:lnTo>
                  <a:pt x="204" y="2"/>
                </a:lnTo>
                <a:lnTo>
                  <a:pt x="184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85" name="Freeform 125"/>
          <p:cNvSpPr>
            <a:spLocks/>
          </p:cNvSpPr>
          <p:nvPr userDrawn="1"/>
        </p:nvSpPr>
        <p:spPr bwMode="auto">
          <a:xfrm>
            <a:off x="2373093" y="-267384"/>
            <a:ext cx="294119" cy="271494"/>
          </a:xfrm>
          <a:custGeom>
            <a:avLst/>
            <a:gdLst/>
            <a:ahLst/>
            <a:cxnLst>
              <a:cxn ang="0">
                <a:pos x="74" y="0"/>
              </a:cxn>
              <a:cxn ang="0">
                <a:pos x="74" y="0"/>
              </a:cxn>
              <a:cxn ang="0">
                <a:pos x="58" y="2"/>
              </a:cxn>
              <a:cxn ang="0">
                <a:pos x="44" y="6"/>
              </a:cxn>
              <a:cxn ang="0">
                <a:pos x="32" y="14"/>
              </a:cxn>
              <a:cxn ang="0">
                <a:pos x="22" y="22"/>
              </a:cxn>
              <a:cxn ang="0">
                <a:pos x="14" y="32"/>
              </a:cxn>
              <a:cxn ang="0">
                <a:pos x="6" y="46"/>
              </a:cxn>
              <a:cxn ang="0">
                <a:pos x="2" y="58"/>
              </a:cxn>
              <a:cxn ang="0">
                <a:pos x="0" y="74"/>
              </a:cxn>
              <a:cxn ang="0">
                <a:pos x="0" y="74"/>
              </a:cxn>
              <a:cxn ang="0">
                <a:pos x="2" y="88"/>
              </a:cxn>
              <a:cxn ang="0">
                <a:pos x="6" y="102"/>
              </a:cxn>
              <a:cxn ang="0">
                <a:pos x="14" y="114"/>
              </a:cxn>
              <a:cxn ang="0">
                <a:pos x="22" y="124"/>
              </a:cxn>
              <a:cxn ang="0">
                <a:pos x="32" y="134"/>
              </a:cxn>
              <a:cxn ang="0">
                <a:pos x="44" y="140"/>
              </a:cxn>
              <a:cxn ang="0">
                <a:pos x="58" y="144"/>
              </a:cxn>
              <a:cxn ang="0">
                <a:pos x="74" y="146"/>
              </a:cxn>
              <a:cxn ang="0">
                <a:pos x="74" y="146"/>
              </a:cxn>
              <a:cxn ang="0">
                <a:pos x="88" y="144"/>
              </a:cxn>
              <a:cxn ang="0">
                <a:pos x="102" y="140"/>
              </a:cxn>
              <a:cxn ang="0">
                <a:pos x="114" y="134"/>
              </a:cxn>
              <a:cxn ang="0">
                <a:pos x="124" y="124"/>
              </a:cxn>
              <a:cxn ang="0">
                <a:pos x="134" y="114"/>
              </a:cxn>
              <a:cxn ang="0">
                <a:pos x="140" y="102"/>
              </a:cxn>
              <a:cxn ang="0">
                <a:pos x="144" y="88"/>
              </a:cxn>
              <a:cxn ang="0">
                <a:pos x="146" y="74"/>
              </a:cxn>
              <a:cxn ang="0">
                <a:pos x="146" y="74"/>
              </a:cxn>
              <a:cxn ang="0">
                <a:pos x="144" y="58"/>
              </a:cxn>
              <a:cxn ang="0">
                <a:pos x="140" y="46"/>
              </a:cxn>
              <a:cxn ang="0">
                <a:pos x="134" y="32"/>
              </a:cxn>
              <a:cxn ang="0">
                <a:pos x="124" y="22"/>
              </a:cxn>
              <a:cxn ang="0">
                <a:pos x="114" y="14"/>
              </a:cxn>
              <a:cxn ang="0">
                <a:pos x="102" y="6"/>
              </a:cxn>
              <a:cxn ang="0">
                <a:pos x="88" y="2"/>
              </a:cxn>
              <a:cxn ang="0">
                <a:pos x="74" y="0"/>
              </a:cxn>
            </a:cxnLst>
            <a:rect l="0" t="0" r="r" b="b"/>
            <a:pathLst>
              <a:path w="146" h="146">
                <a:moveTo>
                  <a:pt x="74" y="0"/>
                </a:moveTo>
                <a:lnTo>
                  <a:pt x="74" y="0"/>
                </a:lnTo>
                <a:lnTo>
                  <a:pt x="58" y="2"/>
                </a:lnTo>
                <a:lnTo>
                  <a:pt x="44" y="6"/>
                </a:lnTo>
                <a:lnTo>
                  <a:pt x="32" y="14"/>
                </a:lnTo>
                <a:lnTo>
                  <a:pt x="22" y="22"/>
                </a:lnTo>
                <a:lnTo>
                  <a:pt x="14" y="32"/>
                </a:lnTo>
                <a:lnTo>
                  <a:pt x="6" y="46"/>
                </a:lnTo>
                <a:lnTo>
                  <a:pt x="2" y="58"/>
                </a:lnTo>
                <a:lnTo>
                  <a:pt x="0" y="74"/>
                </a:lnTo>
                <a:lnTo>
                  <a:pt x="0" y="74"/>
                </a:lnTo>
                <a:lnTo>
                  <a:pt x="2" y="88"/>
                </a:lnTo>
                <a:lnTo>
                  <a:pt x="6" y="102"/>
                </a:lnTo>
                <a:lnTo>
                  <a:pt x="14" y="114"/>
                </a:lnTo>
                <a:lnTo>
                  <a:pt x="22" y="124"/>
                </a:lnTo>
                <a:lnTo>
                  <a:pt x="32" y="134"/>
                </a:lnTo>
                <a:lnTo>
                  <a:pt x="44" y="140"/>
                </a:lnTo>
                <a:lnTo>
                  <a:pt x="58" y="144"/>
                </a:lnTo>
                <a:lnTo>
                  <a:pt x="74" y="146"/>
                </a:lnTo>
                <a:lnTo>
                  <a:pt x="74" y="146"/>
                </a:lnTo>
                <a:lnTo>
                  <a:pt x="88" y="144"/>
                </a:lnTo>
                <a:lnTo>
                  <a:pt x="102" y="140"/>
                </a:lnTo>
                <a:lnTo>
                  <a:pt x="114" y="134"/>
                </a:lnTo>
                <a:lnTo>
                  <a:pt x="124" y="124"/>
                </a:lnTo>
                <a:lnTo>
                  <a:pt x="134" y="114"/>
                </a:lnTo>
                <a:lnTo>
                  <a:pt x="140" y="102"/>
                </a:lnTo>
                <a:lnTo>
                  <a:pt x="144" y="88"/>
                </a:lnTo>
                <a:lnTo>
                  <a:pt x="146" y="74"/>
                </a:lnTo>
                <a:lnTo>
                  <a:pt x="146" y="74"/>
                </a:lnTo>
                <a:lnTo>
                  <a:pt x="144" y="58"/>
                </a:lnTo>
                <a:lnTo>
                  <a:pt x="140" y="46"/>
                </a:lnTo>
                <a:lnTo>
                  <a:pt x="134" y="32"/>
                </a:lnTo>
                <a:lnTo>
                  <a:pt x="124" y="22"/>
                </a:lnTo>
                <a:lnTo>
                  <a:pt x="114" y="14"/>
                </a:lnTo>
                <a:lnTo>
                  <a:pt x="102" y="6"/>
                </a:lnTo>
                <a:lnTo>
                  <a:pt x="88" y="2"/>
                </a:lnTo>
                <a:lnTo>
                  <a:pt x="74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86" name="Freeform 126"/>
          <p:cNvSpPr>
            <a:spLocks/>
          </p:cNvSpPr>
          <p:nvPr userDrawn="1"/>
        </p:nvSpPr>
        <p:spPr bwMode="auto">
          <a:xfrm>
            <a:off x="2373093" y="-267384"/>
            <a:ext cx="294119" cy="271494"/>
          </a:xfrm>
          <a:custGeom>
            <a:avLst/>
            <a:gdLst/>
            <a:ahLst/>
            <a:cxnLst>
              <a:cxn ang="0">
                <a:pos x="74" y="0"/>
              </a:cxn>
              <a:cxn ang="0">
                <a:pos x="74" y="0"/>
              </a:cxn>
              <a:cxn ang="0">
                <a:pos x="58" y="2"/>
              </a:cxn>
              <a:cxn ang="0">
                <a:pos x="44" y="6"/>
              </a:cxn>
              <a:cxn ang="0">
                <a:pos x="32" y="14"/>
              </a:cxn>
              <a:cxn ang="0">
                <a:pos x="22" y="22"/>
              </a:cxn>
              <a:cxn ang="0">
                <a:pos x="14" y="32"/>
              </a:cxn>
              <a:cxn ang="0">
                <a:pos x="6" y="46"/>
              </a:cxn>
              <a:cxn ang="0">
                <a:pos x="2" y="58"/>
              </a:cxn>
              <a:cxn ang="0">
                <a:pos x="0" y="74"/>
              </a:cxn>
              <a:cxn ang="0">
                <a:pos x="0" y="74"/>
              </a:cxn>
              <a:cxn ang="0">
                <a:pos x="2" y="88"/>
              </a:cxn>
              <a:cxn ang="0">
                <a:pos x="6" y="102"/>
              </a:cxn>
              <a:cxn ang="0">
                <a:pos x="14" y="114"/>
              </a:cxn>
              <a:cxn ang="0">
                <a:pos x="22" y="124"/>
              </a:cxn>
              <a:cxn ang="0">
                <a:pos x="32" y="134"/>
              </a:cxn>
              <a:cxn ang="0">
                <a:pos x="44" y="140"/>
              </a:cxn>
              <a:cxn ang="0">
                <a:pos x="58" y="144"/>
              </a:cxn>
              <a:cxn ang="0">
                <a:pos x="74" y="146"/>
              </a:cxn>
              <a:cxn ang="0">
                <a:pos x="74" y="146"/>
              </a:cxn>
              <a:cxn ang="0">
                <a:pos x="88" y="144"/>
              </a:cxn>
              <a:cxn ang="0">
                <a:pos x="102" y="140"/>
              </a:cxn>
              <a:cxn ang="0">
                <a:pos x="114" y="134"/>
              </a:cxn>
              <a:cxn ang="0">
                <a:pos x="124" y="124"/>
              </a:cxn>
              <a:cxn ang="0">
                <a:pos x="134" y="114"/>
              </a:cxn>
              <a:cxn ang="0">
                <a:pos x="140" y="102"/>
              </a:cxn>
              <a:cxn ang="0">
                <a:pos x="144" y="88"/>
              </a:cxn>
              <a:cxn ang="0">
                <a:pos x="146" y="74"/>
              </a:cxn>
              <a:cxn ang="0">
                <a:pos x="146" y="74"/>
              </a:cxn>
              <a:cxn ang="0">
                <a:pos x="144" y="58"/>
              </a:cxn>
              <a:cxn ang="0">
                <a:pos x="140" y="46"/>
              </a:cxn>
              <a:cxn ang="0">
                <a:pos x="134" y="32"/>
              </a:cxn>
              <a:cxn ang="0">
                <a:pos x="124" y="22"/>
              </a:cxn>
              <a:cxn ang="0">
                <a:pos x="114" y="14"/>
              </a:cxn>
              <a:cxn ang="0">
                <a:pos x="102" y="6"/>
              </a:cxn>
              <a:cxn ang="0">
                <a:pos x="88" y="2"/>
              </a:cxn>
              <a:cxn ang="0">
                <a:pos x="74" y="0"/>
              </a:cxn>
            </a:cxnLst>
            <a:rect l="0" t="0" r="r" b="b"/>
            <a:pathLst>
              <a:path w="146" h="146">
                <a:moveTo>
                  <a:pt x="74" y="0"/>
                </a:moveTo>
                <a:lnTo>
                  <a:pt x="74" y="0"/>
                </a:lnTo>
                <a:lnTo>
                  <a:pt x="58" y="2"/>
                </a:lnTo>
                <a:lnTo>
                  <a:pt x="44" y="6"/>
                </a:lnTo>
                <a:lnTo>
                  <a:pt x="32" y="14"/>
                </a:lnTo>
                <a:lnTo>
                  <a:pt x="22" y="22"/>
                </a:lnTo>
                <a:lnTo>
                  <a:pt x="14" y="32"/>
                </a:lnTo>
                <a:lnTo>
                  <a:pt x="6" y="46"/>
                </a:lnTo>
                <a:lnTo>
                  <a:pt x="2" y="58"/>
                </a:lnTo>
                <a:lnTo>
                  <a:pt x="0" y="74"/>
                </a:lnTo>
                <a:lnTo>
                  <a:pt x="0" y="74"/>
                </a:lnTo>
                <a:lnTo>
                  <a:pt x="2" y="88"/>
                </a:lnTo>
                <a:lnTo>
                  <a:pt x="6" y="102"/>
                </a:lnTo>
                <a:lnTo>
                  <a:pt x="14" y="114"/>
                </a:lnTo>
                <a:lnTo>
                  <a:pt x="22" y="124"/>
                </a:lnTo>
                <a:lnTo>
                  <a:pt x="32" y="134"/>
                </a:lnTo>
                <a:lnTo>
                  <a:pt x="44" y="140"/>
                </a:lnTo>
                <a:lnTo>
                  <a:pt x="58" y="144"/>
                </a:lnTo>
                <a:lnTo>
                  <a:pt x="74" y="146"/>
                </a:lnTo>
                <a:lnTo>
                  <a:pt x="74" y="146"/>
                </a:lnTo>
                <a:lnTo>
                  <a:pt x="88" y="144"/>
                </a:lnTo>
                <a:lnTo>
                  <a:pt x="102" y="140"/>
                </a:lnTo>
                <a:lnTo>
                  <a:pt x="114" y="134"/>
                </a:lnTo>
                <a:lnTo>
                  <a:pt x="124" y="124"/>
                </a:lnTo>
                <a:lnTo>
                  <a:pt x="134" y="114"/>
                </a:lnTo>
                <a:lnTo>
                  <a:pt x="140" y="102"/>
                </a:lnTo>
                <a:lnTo>
                  <a:pt x="144" y="88"/>
                </a:lnTo>
                <a:lnTo>
                  <a:pt x="146" y="74"/>
                </a:lnTo>
                <a:lnTo>
                  <a:pt x="146" y="74"/>
                </a:lnTo>
                <a:lnTo>
                  <a:pt x="144" y="58"/>
                </a:lnTo>
                <a:lnTo>
                  <a:pt x="140" y="46"/>
                </a:lnTo>
                <a:lnTo>
                  <a:pt x="134" y="32"/>
                </a:lnTo>
                <a:lnTo>
                  <a:pt x="124" y="22"/>
                </a:lnTo>
                <a:lnTo>
                  <a:pt x="114" y="14"/>
                </a:lnTo>
                <a:lnTo>
                  <a:pt x="102" y="6"/>
                </a:lnTo>
                <a:lnTo>
                  <a:pt x="88" y="2"/>
                </a:lnTo>
                <a:lnTo>
                  <a:pt x="74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87" name="Freeform 127"/>
          <p:cNvSpPr>
            <a:spLocks/>
          </p:cNvSpPr>
          <p:nvPr userDrawn="1"/>
        </p:nvSpPr>
        <p:spPr bwMode="auto">
          <a:xfrm>
            <a:off x="318295" y="100806"/>
            <a:ext cx="189365" cy="171078"/>
          </a:xfrm>
          <a:custGeom>
            <a:avLst/>
            <a:gdLst/>
            <a:ahLst/>
            <a:cxnLst>
              <a:cxn ang="0">
                <a:pos x="46" y="0"/>
              </a:cxn>
              <a:cxn ang="0">
                <a:pos x="46" y="0"/>
              </a:cxn>
              <a:cxn ang="0">
                <a:pos x="38" y="0"/>
              </a:cxn>
              <a:cxn ang="0">
                <a:pos x="28" y="4"/>
              </a:cxn>
              <a:cxn ang="0">
                <a:pos x="20" y="8"/>
              </a:cxn>
              <a:cxn ang="0">
                <a:pos x="14" y="14"/>
              </a:cxn>
              <a:cxn ang="0">
                <a:pos x="8" y="20"/>
              </a:cxn>
              <a:cxn ang="0">
                <a:pos x="4" y="28"/>
              </a:cxn>
              <a:cxn ang="0">
                <a:pos x="0" y="36"/>
              </a:cxn>
              <a:cxn ang="0">
                <a:pos x="0" y="46"/>
              </a:cxn>
              <a:cxn ang="0">
                <a:pos x="0" y="46"/>
              </a:cxn>
              <a:cxn ang="0">
                <a:pos x="0" y="56"/>
              </a:cxn>
              <a:cxn ang="0">
                <a:pos x="4" y="64"/>
              </a:cxn>
              <a:cxn ang="0">
                <a:pos x="8" y="72"/>
              </a:cxn>
              <a:cxn ang="0">
                <a:pos x="14" y="80"/>
              </a:cxn>
              <a:cxn ang="0">
                <a:pos x="20" y="84"/>
              </a:cxn>
              <a:cxn ang="0">
                <a:pos x="28" y="90"/>
              </a:cxn>
              <a:cxn ang="0">
                <a:pos x="38" y="92"/>
              </a:cxn>
              <a:cxn ang="0">
                <a:pos x="46" y="92"/>
              </a:cxn>
              <a:cxn ang="0">
                <a:pos x="46" y="92"/>
              </a:cxn>
              <a:cxn ang="0">
                <a:pos x="56" y="92"/>
              </a:cxn>
              <a:cxn ang="0">
                <a:pos x="64" y="90"/>
              </a:cxn>
              <a:cxn ang="0">
                <a:pos x="72" y="84"/>
              </a:cxn>
              <a:cxn ang="0">
                <a:pos x="80" y="80"/>
              </a:cxn>
              <a:cxn ang="0">
                <a:pos x="86" y="72"/>
              </a:cxn>
              <a:cxn ang="0">
                <a:pos x="90" y="64"/>
              </a:cxn>
              <a:cxn ang="0">
                <a:pos x="92" y="56"/>
              </a:cxn>
              <a:cxn ang="0">
                <a:pos x="94" y="46"/>
              </a:cxn>
              <a:cxn ang="0">
                <a:pos x="94" y="46"/>
              </a:cxn>
              <a:cxn ang="0">
                <a:pos x="92" y="36"/>
              </a:cxn>
              <a:cxn ang="0">
                <a:pos x="90" y="28"/>
              </a:cxn>
              <a:cxn ang="0">
                <a:pos x="86" y="20"/>
              </a:cxn>
              <a:cxn ang="0">
                <a:pos x="80" y="14"/>
              </a:cxn>
              <a:cxn ang="0">
                <a:pos x="72" y="8"/>
              </a:cxn>
              <a:cxn ang="0">
                <a:pos x="64" y="4"/>
              </a:cxn>
              <a:cxn ang="0">
                <a:pos x="56" y="0"/>
              </a:cxn>
              <a:cxn ang="0">
                <a:pos x="46" y="0"/>
              </a:cxn>
            </a:cxnLst>
            <a:rect l="0" t="0" r="r" b="b"/>
            <a:pathLst>
              <a:path w="94" h="92">
                <a:moveTo>
                  <a:pt x="46" y="0"/>
                </a:moveTo>
                <a:lnTo>
                  <a:pt x="46" y="0"/>
                </a:lnTo>
                <a:lnTo>
                  <a:pt x="38" y="0"/>
                </a:lnTo>
                <a:lnTo>
                  <a:pt x="28" y="4"/>
                </a:lnTo>
                <a:lnTo>
                  <a:pt x="20" y="8"/>
                </a:lnTo>
                <a:lnTo>
                  <a:pt x="14" y="14"/>
                </a:lnTo>
                <a:lnTo>
                  <a:pt x="8" y="20"/>
                </a:lnTo>
                <a:lnTo>
                  <a:pt x="4" y="28"/>
                </a:lnTo>
                <a:lnTo>
                  <a:pt x="0" y="36"/>
                </a:lnTo>
                <a:lnTo>
                  <a:pt x="0" y="46"/>
                </a:lnTo>
                <a:lnTo>
                  <a:pt x="0" y="46"/>
                </a:lnTo>
                <a:lnTo>
                  <a:pt x="0" y="56"/>
                </a:lnTo>
                <a:lnTo>
                  <a:pt x="4" y="64"/>
                </a:lnTo>
                <a:lnTo>
                  <a:pt x="8" y="72"/>
                </a:lnTo>
                <a:lnTo>
                  <a:pt x="14" y="80"/>
                </a:lnTo>
                <a:lnTo>
                  <a:pt x="20" y="84"/>
                </a:lnTo>
                <a:lnTo>
                  <a:pt x="28" y="90"/>
                </a:lnTo>
                <a:lnTo>
                  <a:pt x="38" y="92"/>
                </a:lnTo>
                <a:lnTo>
                  <a:pt x="46" y="92"/>
                </a:lnTo>
                <a:lnTo>
                  <a:pt x="46" y="92"/>
                </a:lnTo>
                <a:lnTo>
                  <a:pt x="56" y="92"/>
                </a:lnTo>
                <a:lnTo>
                  <a:pt x="64" y="90"/>
                </a:lnTo>
                <a:lnTo>
                  <a:pt x="72" y="84"/>
                </a:lnTo>
                <a:lnTo>
                  <a:pt x="80" y="80"/>
                </a:lnTo>
                <a:lnTo>
                  <a:pt x="86" y="72"/>
                </a:lnTo>
                <a:lnTo>
                  <a:pt x="90" y="64"/>
                </a:lnTo>
                <a:lnTo>
                  <a:pt x="92" y="56"/>
                </a:lnTo>
                <a:lnTo>
                  <a:pt x="94" y="46"/>
                </a:lnTo>
                <a:lnTo>
                  <a:pt x="94" y="46"/>
                </a:lnTo>
                <a:lnTo>
                  <a:pt x="92" y="36"/>
                </a:lnTo>
                <a:lnTo>
                  <a:pt x="90" y="28"/>
                </a:lnTo>
                <a:lnTo>
                  <a:pt x="86" y="20"/>
                </a:lnTo>
                <a:lnTo>
                  <a:pt x="80" y="14"/>
                </a:lnTo>
                <a:lnTo>
                  <a:pt x="72" y="8"/>
                </a:lnTo>
                <a:lnTo>
                  <a:pt x="64" y="4"/>
                </a:lnTo>
                <a:lnTo>
                  <a:pt x="56" y="0"/>
                </a:lnTo>
                <a:lnTo>
                  <a:pt x="46" y="0"/>
                </a:lnTo>
                <a:close/>
              </a:path>
            </a:pathLst>
          </a:custGeom>
          <a:solidFill>
            <a:srgbClr val="C8123B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88" name="Freeform 128"/>
          <p:cNvSpPr>
            <a:spLocks/>
          </p:cNvSpPr>
          <p:nvPr userDrawn="1"/>
        </p:nvSpPr>
        <p:spPr bwMode="auto">
          <a:xfrm>
            <a:off x="318295" y="100806"/>
            <a:ext cx="189365" cy="171078"/>
          </a:xfrm>
          <a:custGeom>
            <a:avLst/>
            <a:gdLst/>
            <a:ahLst/>
            <a:cxnLst>
              <a:cxn ang="0">
                <a:pos x="46" y="0"/>
              </a:cxn>
              <a:cxn ang="0">
                <a:pos x="46" y="0"/>
              </a:cxn>
              <a:cxn ang="0">
                <a:pos x="38" y="0"/>
              </a:cxn>
              <a:cxn ang="0">
                <a:pos x="28" y="4"/>
              </a:cxn>
              <a:cxn ang="0">
                <a:pos x="20" y="8"/>
              </a:cxn>
              <a:cxn ang="0">
                <a:pos x="14" y="14"/>
              </a:cxn>
              <a:cxn ang="0">
                <a:pos x="8" y="20"/>
              </a:cxn>
              <a:cxn ang="0">
                <a:pos x="4" y="28"/>
              </a:cxn>
              <a:cxn ang="0">
                <a:pos x="0" y="36"/>
              </a:cxn>
              <a:cxn ang="0">
                <a:pos x="0" y="46"/>
              </a:cxn>
              <a:cxn ang="0">
                <a:pos x="0" y="46"/>
              </a:cxn>
              <a:cxn ang="0">
                <a:pos x="0" y="56"/>
              </a:cxn>
              <a:cxn ang="0">
                <a:pos x="4" y="64"/>
              </a:cxn>
              <a:cxn ang="0">
                <a:pos x="8" y="72"/>
              </a:cxn>
              <a:cxn ang="0">
                <a:pos x="14" y="80"/>
              </a:cxn>
              <a:cxn ang="0">
                <a:pos x="20" y="84"/>
              </a:cxn>
              <a:cxn ang="0">
                <a:pos x="28" y="90"/>
              </a:cxn>
              <a:cxn ang="0">
                <a:pos x="38" y="92"/>
              </a:cxn>
              <a:cxn ang="0">
                <a:pos x="46" y="92"/>
              </a:cxn>
              <a:cxn ang="0">
                <a:pos x="46" y="92"/>
              </a:cxn>
              <a:cxn ang="0">
                <a:pos x="56" y="92"/>
              </a:cxn>
              <a:cxn ang="0">
                <a:pos x="64" y="90"/>
              </a:cxn>
              <a:cxn ang="0">
                <a:pos x="72" y="84"/>
              </a:cxn>
              <a:cxn ang="0">
                <a:pos x="80" y="80"/>
              </a:cxn>
              <a:cxn ang="0">
                <a:pos x="86" y="72"/>
              </a:cxn>
              <a:cxn ang="0">
                <a:pos x="90" y="64"/>
              </a:cxn>
              <a:cxn ang="0">
                <a:pos x="92" y="56"/>
              </a:cxn>
              <a:cxn ang="0">
                <a:pos x="94" y="46"/>
              </a:cxn>
              <a:cxn ang="0">
                <a:pos x="94" y="46"/>
              </a:cxn>
              <a:cxn ang="0">
                <a:pos x="92" y="36"/>
              </a:cxn>
              <a:cxn ang="0">
                <a:pos x="90" y="28"/>
              </a:cxn>
              <a:cxn ang="0">
                <a:pos x="86" y="20"/>
              </a:cxn>
              <a:cxn ang="0">
                <a:pos x="80" y="14"/>
              </a:cxn>
              <a:cxn ang="0">
                <a:pos x="72" y="8"/>
              </a:cxn>
              <a:cxn ang="0">
                <a:pos x="64" y="4"/>
              </a:cxn>
              <a:cxn ang="0">
                <a:pos x="56" y="0"/>
              </a:cxn>
              <a:cxn ang="0">
                <a:pos x="46" y="0"/>
              </a:cxn>
            </a:cxnLst>
            <a:rect l="0" t="0" r="r" b="b"/>
            <a:pathLst>
              <a:path w="94" h="92">
                <a:moveTo>
                  <a:pt x="46" y="0"/>
                </a:moveTo>
                <a:lnTo>
                  <a:pt x="46" y="0"/>
                </a:lnTo>
                <a:lnTo>
                  <a:pt x="38" y="0"/>
                </a:lnTo>
                <a:lnTo>
                  <a:pt x="28" y="4"/>
                </a:lnTo>
                <a:lnTo>
                  <a:pt x="20" y="8"/>
                </a:lnTo>
                <a:lnTo>
                  <a:pt x="14" y="14"/>
                </a:lnTo>
                <a:lnTo>
                  <a:pt x="8" y="20"/>
                </a:lnTo>
                <a:lnTo>
                  <a:pt x="4" y="28"/>
                </a:lnTo>
                <a:lnTo>
                  <a:pt x="0" y="36"/>
                </a:lnTo>
                <a:lnTo>
                  <a:pt x="0" y="46"/>
                </a:lnTo>
                <a:lnTo>
                  <a:pt x="0" y="46"/>
                </a:lnTo>
                <a:lnTo>
                  <a:pt x="0" y="56"/>
                </a:lnTo>
                <a:lnTo>
                  <a:pt x="4" y="64"/>
                </a:lnTo>
                <a:lnTo>
                  <a:pt x="8" y="72"/>
                </a:lnTo>
                <a:lnTo>
                  <a:pt x="14" y="80"/>
                </a:lnTo>
                <a:lnTo>
                  <a:pt x="20" y="84"/>
                </a:lnTo>
                <a:lnTo>
                  <a:pt x="28" y="90"/>
                </a:lnTo>
                <a:lnTo>
                  <a:pt x="38" y="92"/>
                </a:lnTo>
                <a:lnTo>
                  <a:pt x="46" y="92"/>
                </a:lnTo>
                <a:lnTo>
                  <a:pt x="46" y="92"/>
                </a:lnTo>
                <a:lnTo>
                  <a:pt x="56" y="92"/>
                </a:lnTo>
                <a:lnTo>
                  <a:pt x="64" y="90"/>
                </a:lnTo>
                <a:lnTo>
                  <a:pt x="72" y="84"/>
                </a:lnTo>
                <a:lnTo>
                  <a:pt x="80" y="80"/>
                </a:lnTo>
                <a:lnTo>
                  <a:pt x="86" y="72"/>
                </a:lnTo>
                <a:lnTo>
                  <a:pt x="90" y="64"/>
                </a:lnTo>
                <a:lnTo>
                  <a:pt x="92" y="56"/>
                </a:lnTo>
                <a:lnTo>
                  <a:pt x="94" y="46"/>
                </a:lnTo>
                <a:lnTo>
                  <a:pt x="94" y="46"/>
                </a:lnTo>
                <a:lnTo>
                  <a:pt x="92" y="36"/>
                </a:lnTo>
                <a:lnTo>
                  <a:pt x="90" y="28"/>
                </a:lnTo>
                <a:lnTo>
                  <a:pt x="86" y="20"/>
                </a:lnTo>
                <a:lnTo>
                  <a:pt x="80" y="14"/>
                </a:lnTo>
                <a:lnTo>
                  <a:pt x="72" y="8"/>
                </a:lnTo>
                <a:lnTo>
                  <a:pt x="64" y="4"/>
                </a:lnTo>
                <a:lnTo>
                  <a:pt x="56" y="0"/>
                </a:lnTo>
                <a:lnTo>
                  <a:pt x="46" y="0"/>
                </a:lnTo>
              </a:path>
            </a:pathLst>
          </a:custGeom>
          <a:solidFill>
            <a:srgbClr val="CC0066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89" name="Freeform 129"/>
          <p:cNvSpPr>
            <a:spLocks/>
          </p:cNvSpPr>
          <p:nvPr userDrawn="1"/>
        </p:nvSpPr>
        <p:spPr bwMode="auto">
          <a:xfrm>
            <a:off x="2308634" y="1778127"/>
            <a:ext cx="547947" cy="505797"/>
          </a:xfrm>
          <a:custGeom>
            <a:avLst/>
            <a:gdLst/>
            <a:ahLst/>
            <a:cxnLst>
              <a:cxn ang="0">
                <a:pos x="136" y="0"/>
              </a:cxn>
              <a:cxn ang="0">
                <a:pos x="108" y="4"/>
              </a:cxn>
              <a:cxn ang="0">
                <a:pos x="84" y="12"/>
              </a:cxn>
              <a:cxn ang="0">
                <a:pos x="60" y="24"/>
              </a:cxn>
              <a:cxn ang="0">
                <a:pos x="40" y="40"/>
              </a:cxn>
              <a:cxn ang="0">
                <a:pos x="24" y="60"/>
              </a:cxn>
              <a:cxn ang="0">
                <a:pos x="10" y="84"/>
              </a:cxn>
              <a:cxn ang="0">
                <a:pos x="2" y="110"/>
              </a:cxn>
              <a:cxn ang="0">
                <a:pos x="0" y="136"/>
              </a:cxn>
              <a:cxn ang="0">
                <a:pos x="0" y="150"/>
              </a:cxn>
              <a:cxn ang="0">
                <a:pos x="6" y="178"/>
              </a:cxn>
              <a:cxn ang="0">
                <a:pos x="16" y="202"/>
              </a:cxn>
              <a:cxn ang="0">
                <a:pos x="32" y="224"/>
              </a:cxn>
              <a:cxn ang="0">
                <a:pos x="50" y="242"/>
              </a:cxn>
              <a:cxn ang="0">
                <a:pos x="72" y="256"/>
              </a:cxn>
              <a:cxn ang="0">
                <a:pos x="96" y="266"/>
              </a:cxn>
              <a:cxn ang="0">
                <a:pos x="122" y="272"/>
              </a:cxn>
              <a:cxn ang="0">
                <a:pos x="136" y="272"/>
              </a:cxn>
              <a:cxn ang="0">
                <a:pos x="164" y="270"/>
              </a:cxn>
              <a:cxn ang="0">
                <a:pos x="190" y="262"/>
              </a:cxn>
              <a:cxn ang="0">
                <a:pos x="212" y="250"/>
              </a:cxn>
              <a:cxn ang="0">
                <a:pos x="232" y="234"/>
              </a:cxn>
              <a:cxn ang="0">
                <a:pos x="248" y="212"/>
              </a:cxn>
              <a:cxn ang="0">
                <a:pos x="262" y="190"/>
              </a:cxn>
              <a:cxn ang="0">
                <a:pos x="270" y="164"/>
              </a:cxn>
              <a:cxn ang="0">
                <a:pos x="272" y="136"/>
              </a:cxn>
              <a:cxn ang="0">
                <a:pos x="272" y="122"/>
              </a:cxn>
              <a:cxn ang="0">
                <a:pos x="266" y="96"/>
              </a:cxn>
              <a:cxn ang="0">
                <a:pos x="256" y="72"/>
              </a:cxn>
              <a:cxn ang="0">
                <a:pos x="242" y="50"/>
              </a:cxn>
              <a:cxn ang="0">
                <a:pos x="222" y="32"/>
              </a:cxn>
              <a:cxn ang="0">
                <a:pos x="200" y="18"/>
              </a:cxn>
              <a:cxn ang="0">
                <a:pos x="176" y="8"/>
              </a:cxn>
              <a:cxn ang="0">
                <a:pos x="150" y="2"/>
              </a:cxn>
            </a:cxnLst>
            <a:rect l="0" t="0" r="r" b="b"/>
            <a:pathLst>
              <a:path w="272" h="272">
                <a:moveTo>
                  <a:pt x="136" y="0"/>
                </a:moveTo>
                <a:lnTo>
                  <a:pt x="136" y="0"/>
                </a:lnTo>
                <a:lnTo>
                  <a:pt x="122" y="2"/>
                </a:lnTo>
                <a:lnTo>
                  <a:pt x="108" y="4"/>
                </a:lnTo>
                <a:lnTo>
                  <a:pt x="96" y="8"/>
                </a:lnTo>
                <a:lnTo>
                  <a:pt x="84" y="12"/>
                </a:lnTo>
                <a:lnTo>
                  <a:pt x="72" y="18"/>
                </a:lnTo>
                <a:lnTo>
                  <a:pt x="60" y="24"/>
                </a:lnTo>
                <a:lnTo>
                  <a:pt x="50" y="32"/>
                </a:lnTo>
                <a:lnTo>
                  <a:pt x="40" y="40"/>
                </a:lnTo>
                <a:lnTo>
                  <a:pt x="32" y="50"/>
                </a:lnTo>
                <a:lnTo>
                  <a:pt x="24" y="60"/>
                </a:lnTo>
                <a:lnTo>
                  <a:pt x="16" y="72"/>
                </a:lnTo>
                <a:lnTo>
                  <a:pt x="10" y="84"/>
                </a:lnTo>
                <a:lnTo>
                  <a:pt x="6" y="96"/>
                </a:lnTo>
                <a:lnTo>
                  <a:pt x="2" y="110"/>
                </a:lnTo>
                <a:lnTo>
                  <a:pt x="0" y="122"/>
                </a:lnTo>
                <a:lnTo>
                  <a:pt x="0" y="136"/>
                </a:lnTo>
                <a:lnTo>
                  <a:pt x="0" y="136"/>
                </a:lnTo>
                <a:lnTo>
                  <a:pt x="0" y="150"/>
                </a:lnTo>
                <a:lnTo>
                  <a:pt x="2" y="164"/>
                </a:lnTo>
                <a:lnTo>
                  <a:pt x="6" y="178"/>
                </a:lnTo>
                <a:lnTo>
                  <a:pt x="10" y="190"/>
                </a:lnTo>
                <a:lnTo>
                  <a:pt x="16" y="202"/>
                </a:lnTo>
                <a:lnTo>
                  <a:pt x="24" y="212"/>
                </a:lnTo>
                <a:lnTo>
                  <a:pt x="32" y="224"/>
                </a:lnTo>
                <a:lnTo>
                  <a:pt x="40" y="234"/>
                </a:lnTo>
                <a:lnTo>
                  <a:pt x="50" y="242"/>
                </a:lnTo>
                <a:lnTo>
                  <a:pt x="60" y="250"/>
                </a:lnTo>
                <a:lnTo>
                  <a:pt x="72" y="256"/>
                </a:lnTo>
                <a:lnTo>
                  <a:pt x="84" y="262"/>
                </a:lnTo>
                <a:lnTo>
                  <a:pt x="96" y="266"/>
                </a:lnTo>
                <a:lnTo>
                  <a:pt x="108" y="270"/>
                </a:lnTo>
                <a:lnTo>
                  <a:pt x="122" y="272"/>
                </a:lnTo>
                <a:lnTo>
                  <a:pt x="136" y="272"/>
                </a:lnTo>
                <a:lnTo>
                  <a:pt x="136" y="272"/>
                </a:lnTo>
                <a:lnTo>
                  <a:pt x="150" y="272"/>
                </a:lnTo>
                <a:lnTo>
                  <a:pt x="164" y="270"/>
                </a:lnTo>
                <a:lnTo>
                  <a:pt x="176" y="266"/>
                </a:lnTo>
                <a:lnTo>
                  <a:pt x="190" y="262"/>
                </a:lnTo>
                <a:lnTo>
                  <a:pt x="200" y="256"/>
                </a:lnTo>
                <a:lnTo>
                  <a:pt x="212" y="250"/>
                </a:lnTo>
                <a:lnTo>
                  <a:pt x="222" y="242"/>
                </a:lnTo>
                <a:lnTo>
                  <a:pt x="232" y="234"/>
                </a:lnTo>
                <a:lnTo>
                  <a:pt x="242" y="224"/>
                </a:lnTo>
                <a:lnTo>
                  <a:pt x="248" y="212"/>
                </a:lnTo>
                <a:lnTo>
                  <a:pt x="256" y="202"/>
                </a:lnTo>
                <a:lnTo>
                  <a:pt x="262" y="190"/>
                </a:lnTo>
                <a:lnTo>
                  <a:pt x="266" y="178"/>
                </a:lnTo>
                <a:lnTo>
                  <a:pt x="270" y="164"/>
                </a:lnTo>
                <a:lnTo>
                  <a:pt x="272" y="150"/>
                </a:lnTo>
                <a:lnTo>
                  <a:pt x="272" y="136"/>
                </a:lnTo>
                <a:lnTo>
                  <a:pt x="272" y="136"/>
                </a:lnTo>
                <a:lnTo>
                  <a:pt x="272" y="122"/>
                </a:lnTo>
                <a:lnTo>
                  <a:pt x="270" y="110"/>
                </a:lnTo>
                <a:lnTo>
                  <a:pt x="266" y="96"/>
                </a:lnTo>
                <a:lnTo>
                  <a:pt x="262" y="84"/>
                </a:lnTo>
                <a:lnTo>
                  <a:pt x="256" y="72"/>
                </a:lnTo>
                <a:lnTo>
                  <a:pt x="248" y="60"/>
                </a:lnTo>
                <a:lnTo>
                  <a:pt x="242" y="50"/>
                </a:lnTo>
                <a:lnTo>
                  <a:pt x="232" y="40"/>
                </a:lnTo>
                <a:lnTo>
                  <a:pt x="222" y="32"/>
                </a:lnTo>
                <a:lnTo>
                  <a:pt x="212" y="24"/>
                </a:lnTo>
                <a:lnTo>
                  <a:pt x="200" y="18"/>
                </a:lnTo>
                <a:lnTo>
                  <a:pt x="190" y="12"/>
                </a:lnTo>
                <a:lnTo>
                  <a:pt x="176" y="8"/>
                </a:lnTo>
                <a:lnTo>
                  <a:pt x="164" y="4"/>
                </a:lnTo>
                <a:lnTo>
                  <a:pt x="150" y="2"/>
                </a:lnTo>
                <a:lnTo>
                  <a:pt x="136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90" name="Freeform 130"/>
          <p:cNvSpPr>
            <a:spLocks/>
          </p:cNvSpPr>
          <p:nvPr userDrawn="1"/>
        </p:nvSpPr>
        <p:spPr bwMode="auto">
          <a:xfrm>
            <a:off x="2308634" y="1778127"/>
            <a:ext cx="547947" cy="505797"/>
          </a:xfrm>
          <a:custGeom>
            <a:avLst/>
            <a:gdLst/>
            <a:ahLst/>
            <a:cxnLst>
              <a:cxn ang="0">
                <a:pos x="136" y="0"/>
              </a:cxn>
              <a:cxn ang="0">
                <a:pos x="108" y="4"/>
              </a:cxn>
              <a:cxn ang="0">
                <a:pos x="84" y="12"/>
              </a:cxn>
              <a:cxn ang="0">
                <a:pos x="60" y="24"/>
              </a:cxn>
              <a:cxn ang="0">
                <a:pos x="40" y="40"/>
              </a:cxn>
              <a:cxn ang="0">
                <a:pos x="24" y="60"/>
              </a:cxn>
              <a:cxn ang="0">
                <a:pos x="10" y="84"/>
              </a:cxn>
              <a:cxn ang="0">
                <a:pos x="2" y="110"/>
              </a:cxn>
              <a:cxn ang="0">
                <a:pos x="0" y="136"/>
              </a:cxn>
              <a:cxn ang="0">
                <a:pos x="0" y="150"/>
              </a:cxn>
              <a:cxn ang="0">
                <a:pos x="6" y="178"/>
              </a:cxn>
              <a:cxn ang="0">
                <a:pos x="16" y="202"/>
              </a:cxn>
              <a:cxn ang="0">
                <a:pos x="32" y="224"/>
              </a:cxn>
              <a:cxn ang="0">
                <a:pos x="50" y="242"/>
              </a:cxn>
              <a:cxn ang="0">
                <a:pos x="72" y="256"/>
              </a:cxn>
              <a:cxn ang="0">
                <a:pos x="96" y="266"/>
              </a:cxn>
              <a:cxn ang="0">
                <a:pos x="122" y="272"/>
              </a:cxn>
              <a:cxn ang="0">
                <a:pos x="136" y="272"/>
              </a:cxn>
              <a:cxn ang="0">
                <a:pos x="164" y="270"/>
              </a:cxn>
              <a:cxn ang="0">
                <a:pos x="190" y="262"/>
              </a:cxn>
              <a:cxn ang="0">
                <a:pos x="212" y="250"/>
              </a:cxn>
              <a:cxn ang="0">
                <a:pos x="232" y="234"/>
              </a:cxn>
              <a:cxn ang="0">
                <a:pos x="248" y="212"/>
              </a:cxn>
              <a:cxn ang="0">
                <a:pos x="262" y="190"/>
              </a:cxn>
              <a:cxn ang="0">
                <a:pos x="270" y="164"/>
              </a:cxn>
              <a:cxn ang="0">
                <a:pos x="272" y="136"/>
              </a:cxn>
              <a:cxn ang="0">
                <a:pos x="272" y="122"/>
              </a:cxn>
              <a:cxn ang="0">
                <a:pos x="266" y="96"/>
              </a:cxn>
              <a:cxn ang="0">
                <a:pos x="256" y="72"/>
              </a:cxn>
              <a:cxn ang="0">
                <a:pos x="242" y="50"/>
              </a:cxn>
              <a:cxn ang="0">
                <a:pos x="222" y="32"/>
              </a:cxn>
              <a:cxn ang="0">
                <a:pos x="200" y="18"/>
              </a:cxn>
              <a:cxn ang="0">
                <a:pos x="176" y="8"/>
              </a:cxn>
              <a:cxn ang="0">
                <a:pos x="150" y="2"/>
              </a:cxn>
            </a:cxnLst>
            <a:rect l="0" t="0" r="r" b="b"/>
            <a:pathLst>
              <a:path w="272" h="272">
                <a:moveTo>
                  <a:pt x="136" y="0"/>
                </a:moveTo>
                <a:lnTo>
                  <a:pt x="136" y="0"/>
                </a:lnTo>
                <a:lnTo>
                  <a:pt x="122" y="2"/>
                </a:lnTo>
                <a:lnTo>
                  <a:pt x="108" y="4"/>
                </a:lnTo>
                <a:lnTo>
                  <a:pt x="96" y="8"/>
                </a:lnTo>
                <a:lnTo>
                  <a:pt x="84" y="12"/>
                </a:lnTo>
                <a:lnTo>
                  <a:pt x="72" y="18"/>
                </a:lnTo>
                <a:lnTo>
                  <a:pt x="60" y="24"/>
                </a:lnTo>
                <a:lnTo>
                  <a:pt x="50" y="32"/>
                </a:lnTo>
                <a:lnTo>
                  <a:pt x="40" y="40"/>
                </a:lnTo>
                <a:lnTo>
                  <a:pt x="32" y="50"/>
                </a:lnTo>
                <a:lnTo>
                  <a:pt x="24" y="60"/>
                </a:lnTo>
                <a:lnTo>
                  <a:pt x="16" y="72"/>
                </a:lnTo>
                <a:lnTo>
                  <a:pt x="10" y="84"/>
                </a:lnTo>
                <a:lnTo>
                  <a:pt x="6" y="96"/>
                </a:lnTo>
                <a:lnTo>
                  <a:pt x="2" y="110"/>
                </a:lnTo>
                <a:lnTo>
                  <a:pt x="0" y="122"/>
                </a:lnTo>
                <a:lnTo>
                  <a:pt x="0" y="136"/>
                </a:lnTo>
                <a:lnTo>
                  <a:pt x="0" y="136"/>
                </a:lnTo>
                <a:lnTo>
                  <a:pt x="0" y="150"/>
                </a:lnTo>
                <a:lnTo>
                  <a:pt x="2" y="164"/>
                </a:lnTo>
                <a:lnTo>
                  <a:pt x="6" y="178"/>
                </a:lnTo>
                <a:lnTo>
                  <a:pt x="10" y="190"/>
                </a:lnTo>
                <a:lnTo>
                  <a:pt x="16" y="202"/>
                </a:lnTo>
                <a:lnTo>
                  <a:pt x="24" y="212"/>
                </a:lnTo>
                <a:lnTo>
                  <a:pt x="32" y="224"/>
                </a:lnTo>
                <a:lnTo>
                  <a:pt x="40" y="234"/>
                </a:lnTo>
                <a:lnTo>
                  <a:pt x="50" y="242"/>
                </a:lnTo>
                <a:lnTo>
                  <a:pt x="60" y="250"/>
                </a:lnTo>
                <a:lnTo>
                  <a:pt x="72" y="256"/>
                </a:lnTo>
                <a:lnTo>
                  <a:pt x="84" y="262"/>
                </a:lnTo>
                <a:lnTo>
                  <a:pt x="96" y="266"/>
                </a:lnTo>
                <a:lnTo>
                  <a:pt x="108" y="270"/>
                </a:lnTo>
                <a:lnTo>
                  <a:pt x="122" y="272"/>
                </a:lnTo>
                <a:lnTo>
                  <a:pt x="136" y="272"/>
                </a:lnTo>
                <a:lnTo>
                  <a:pt x="136" y="272"/>
                </a:lnTo>
                <a:lnTo>
                  <a:pt x="150" y="272"/>
                </a:lnTo>
                <a:lnTo>
                  <a:pt x="164" y="270"/>
                </a:lnTo>
                <a:lnTo>
                  <a:pt x="176" y="266"/>
                </a:lnTo>
                <a:lnTo>
                  <a:pt x="190" y="262"/>
                </a:lnTo>
                <a:lnTo>
                  <a:pt x="200" y="256"/>
                </a:lnTo>
                <a:lnTo>
                  <a:pt x="212" y="250"/>
                </a:lnTo>
                <a:lnTo>
                  <a:pt x="222" y="242"/>
                </a:lnTo>
                <a:lnTo>
                  <a:pt x="232" y="234"/>
                </a:lnTo>
                <a:lnTo>
                  <a:pt x="242" y="224"/>
                </a:lnTo>
                <a:lnTo>
                  <a:pt x="248" y="212"/>
                </a:lnTo>
                <a:lnTo>
                  <a:pt x="256" y="202"/>
                </a:lnTo>
                <a:lnTo>
                  <a:pt x="262" y="190"/>
                </a:lnTo>
                <a:lnTo>
                  <a:pt x="266" y="178"/>
                </a:lnTo>
                <a:lnTo>
                  <a:pt x="270" y="164"/>
                </a:lnTo>
                <a:lnTo>
                  <a:pt x="272" y="150"/>
                </a:lnTo>
                <a:lnTo>
                  <a:pt x="272" y="136"/>
                </a:lnTo>
                <a:lnTo>
                  <a:pt x="272" y="136"/>
                </a:lnTo>
                <a:lnTo>
                  <a:pt x="272" y="122"/>
                </a:lnTo>
                <a:lnTo>
                  <a:pt x="270" y="110"/>
                </a:lnTo>
                <a:lnTo>
                  <a:pt x="266" y="96"/>
                </a:lnTo>
                <a:lnTo>
                  <a:pt x="262" y="84"/>
                </a:lnTo>
                <a:lnTo>
                  <a:pt x="256" y="72"/>
                </a:lnTo>
                <a:lnTo>
                  <a:pt x="248" y="60"/>
                </a:lnTo>
                <a:lnTo>
                  <a:pt x="242" y="50"/>
                </a:lnTo>
                <a:lnTo>
                  <a:pt x="232" y="40"/>
                </a:lnTo>
                <a:lnTo>
                  <a:pt x="222" y="32"/>
                </a:lnTo>
                <a:lnTo>
                  <a:pt x="212" y="24"/>
                </a:lnTo>
                <a:lnTo>
                  <a:pt x="200" y="18"/>
                </a:lnTo>
                <a:lnTo>
                  <a:pt x="190" y="12"/>
                </a:lnTo>
                <a:lnTo>
                  <a:pt x="176" y="8"/>
                </a:lnTo>
                <a:lnTo>
                  <a:pt x="164" y="4"/>
                </a:lnTo>
                <a:lnTo>
                  <a:pt x="150" y="2"/>
                </a:lnTo>
                <a:lnTo>
                  <a:pt x="136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91" name="Freeform 131"/>
          <p:cNvSpPr>
            <a:spLocks/>
          </p:cNvSpPr>
          <p:nvPr userDrawn="1"/>
        </p:nvSpPr>
        <p:spPr bwMode="auto">
          <a:xfrm>
            <a:off x="237719" y="1744649"/>
            <a:ext cx="741339" cy="684313"/>
          </a:xfrm>
          <a:custGeom>
            <a:avLst/>
            <a:gdLst/>
            <a:ahLst/>
            <a:cxnLst>
              <a:cxn ang="0">
                <a:pos x="184" y="0"/>
              </a:cxn>
              <a:cxn ang="0">
                <a:pos x="148" y="4"/>
              </a:cxn>
              <a:cxn ang="0">
                <a:pos x="112" y="14"/>
              </a:cxn>
              <a:cxn ang="0">
                <a:pos x="82" y="32"/>
              </a:cxn>
              <a:cxn ang="0">
                <a:pos x="54" y="54"/>
              </a:cxn>
              <a:cxn ang="0">
                <a:pos x="32" y="82"/>
              </a:cxn>
              <a:cxn ang="0">
                <a:pos x="14" y="112"/>
              </a:cxn>
              <a:cxn ang="0">
                <a:pos x="4" y="146"/>
              </a:cxn>
              <a:cxn ang="0">
                <a:pos x="0" y="184"/>
              </a:cxn>
              <a:cxn ang="0">
                <a:pos x="2" y="202"/>
              </a:cxn>
              <a:cxn ang="0">
                <a:pos x="8" y="238"/>
              </a:cxn>
              <a:cxn ang="0">
                <a:pos x="22" y="272"/>
              </a:cxn>
              <a:cxn ang="0">
                <a:pos x="42" y="300"/>
              </a:cxn>
              <a:cxn ang="0">
                <a:pos x="68" y="326"/>
              </a:cxn>
              <a:cxn ang="0">
                <a:pos x="96" y="346"/>
              </a:cxn>
              <a:cxn ang="0">
                <a:pos x="130" y="360"/>
              </a:cxn>
              <a:cxn ang="0">
                <a:pos x="166" y="366"/>
              </a:cxn>
              <a:cxn ang="0">
                <a:pos x="184" y="368"/>
              </a:cxn>
              <a:cxn ang="0">
                <a:pos x="222" y="364"/>
              </a:cxn>
              <a:cxn ang="0">
                <a:pos x="256" y="352"/>
              </a:cxn>
              <a:cxn ang="0">
                <a:pos x="286" y="336"/>
              </a:cxn>
              <a:cxn ang="0">
                <a:pos x="314" y="314"/>
              </a:cxn>
              <a:cxn ang="0">
                <a:pos x="336" y="286"/>
              </a:cxn>
              <a:cxn ang="0">
                <a:pos x="354" y="256"/>
              </a:cxn>
              <a:cxn ang="0">
                <a:pos x="364" y="220"/>
              </a:cxn>
              <a:cxn ang="0">
                <a:pos x="368" y="184"/>
              </a:cxn>
              <a:cxn ang="0">
                <a:pos x="366" y="166"/>
              </a:cxn>
              <a:cxn ang="0">
                <a:pos x="360" y="130"/>
              </a:cxn>
              <a:cxn ang="0">
                <a:pos x="346" y="96"/>
              </a:cxn>
              <a:cxn ang="0">
                <a:pos x="326" y="68"/>
              </a:cxn>
              <a:cxn ang="0">
                <a:pos x="300" y="42"/>
              </a:cxn>
              <a:cxn ang="0">
                <a:pos x="272" y="22"/>
              </a:cxn>
              <a:cxn ang="0">
                <a:pos x="238" y="8"/>
              </a:cxn>
              <a:cxn ang="0">
                <a:pos x="202" y="2"/>
              </a:cxn>
            </a:cxnLst>
            <a:rect l="0" t="0" r="r" b="b"/>
            <a:pathLst>
              <a:path w="368" h="368">
                <a:moveTo>
                  <a:pt x="184" y="0"/>
                </a:moveTo>
                <a:lnTo>
                  <a:pt x="184" y="0"/>
                </a:lnTo>
                <a:lnTo>
                  <a:pt x="166" y="2"/>
                </a:lnTo>
                <a:lnTo>
                  <a:pt x="148" y="4"/>
                </a:lnTo>
                <a:lnTo>
                  <a:pt x="130" y="8"/>
                </a:lnTo>
                <a:lnTo>
                  <a:pt x="112" y="14"/>
                </a:lnTo>
                <a:lnTo>
                  <a:pt x="96" y="22"/>
                </a:lnTo>
                <a:lnTo>
                  <a:pt x="82" y="32"/>
                </a:lnTo>
                <a:lnTo>
                  <a:pt x="68" y="42"/>
                </a:lnTo>
                <a:lnTo>
                  <a:pt x="54" y="54"/>
                </a:lnTo>
                <a:lnTo>
                  <a:pt x="42" y="68"/>
                </a:lnTo>
                <a:lnTo>
                  <a:pt x="32" y="82"/>
                </a:lnTo>
                <a:lnTo>
                  <a:pt x="22" y="96"/>
                </a:lnTo>
                <a:lnTo>
                  <a:pt x="14" y="112"/>
                </a:lnTo>
                <a:lnTo>
                  <a:pt x="8" y="130"/>
                </a:lnTo>
                <a:lnTo>
                  <a:pt x="4" y="146"/>
                </a:lnTo>
                <a:lnTo>
                  <a:pt x="2" y="166"/>
                </a:lnTo>
                <a:lnTo>
                  <a:pt x="0" y="184"/>
                </a:lnTo>
                <a:lnTo>
                  <a:pt x="0" y="184"/>
                </a:lnTo>
                <a:lnTo>
                  <a:pt x="2" y="202"/>
                </a:lnTo>
                <a:lnTo>
                  <a:pt x="4" y="220"/>
                </a:lnTo>
                <a:lnTo>
                  <a:pt x="8" y="238"/>
                </a:lnTo>
                <a:lnTo>
                  <a:pt x="14" y="256"/>
                </a:lnTo>
                <a:lnTo>
                  <a:pt x="22" y="272"/>
                </a:lnTo>
                <a:lnTo>
                  <a:pt x="32" y="286"/>
                </a:lnTo>
                <a:lnTo>
                  <a:pt x="42" y="300"/>
                </a:lnTo>
                <a:lnTo>
                  <a:pt x="54" y="314"/>
                </a:lnTo>
                <a:lnTo>
                  <a:pt x="68" y="326"/>
                </a:lnTo>
                <a:lnTo>
                  <a:pt x="82" y="336"/>
                </a:lnTo>
                <a:lnTo>
                  <a:pt x="96" y="346"/>
                </a:lnTo>
                <a:lnTo>
                  <a:pt x="112" y="352"/>
                </a:lnTo>
                <a:lnTo>
                  <a:pt x="130" y="360"/>
                </a:lnTo>
                <a:lnTo>
                  <a:pt x="148" y="364"/>
                </a:lnTo>
                <a:lnTo>
                  <a:pt x="166" y="366"/>
                </a:lnTo>
                <a:lnTo>
                  <a:pt x="184" y="368"/>
                </a:lnTo>
                <a:lnTo>
                  <a:pt x="184" y="368"/>
                </a:lnTo>
                <a:lnTo>
                  <a:pt x="202" y="366"/>
                </a:lnTo>
                <a:lnTo>
                  <a:pt x="222" y="364"/>
                </a:lnTo>
                <a:lnTo>
                  <a:pt x="238" y="360"/>
                </a:lnTo>
                <a:lnTo>
                  <a:pt x="256" y="352"/>
                </a:lnTo>
                <a:lnTo>
                  <a:pt x="272" y="346"/>
                </a:lnTo>
                <a:lnTo>
                  <a:pt x="286" y="336"/>
                </a:lnTo>
                <a:lnTo>
                  <a:pt x="300" y="326"/>
                </a:lnTo>
                <a:lnTo>
                  <a:pt x="314" y="314"/>
                </a:lnTo>
                <a:lnTo>
                  <a:pt x="326" y="300"/>
                </a:lnTo>
                <a:lnTo>
                  <a:pt x="336" y="286"/>
                </a:lnTo>
                <a:lnTo>
                  <a:pt x="346" y="272"/>
                </a:lnTo>
                <a:lnTo>
                  <a:pt x="354" y="256"/>
                </a:lnTo>
                <a:lnTo>
                  <a:pt x="360" y="238"/>
                </a:lnTo>
                <a:lnTo>
                  <a:pt x="364" y="220"/>
                </a:lnTo>
                <a:lnTo>
                  <a:pt x="366" y="202"/>
                </a:lnTo>
                <a:lnTo>
                  <a:pt x="368" y="184"/>
                </a:lnTo>
                <a:lnTo>
                  <a:pt x="368" y="184"/>
                </a:lnTo>
                <a:lnTo>
                  <a:pt x="366" y="166"/>
                </a:lnTo>
                <a:lnTo>
                  <a:pt x="364" y="146"/>
                </a:lnTo>
                <a:lnTo>
                  <a:pt x="360" y="130"/>
                </a:lnTo>
                <a:lnTo>
                  <a:pt x="354" y="112"/>
                </a:lnTo>
                <a:lnTo>
                  <a:pt x="346" y="96"/>
                </a:lnTo>
                <a:lnTo>
                  <a:pt x="336" y="82"/>
                </a:lnTo>
                <a:lnTo>
                  <a:pt x="326" y="68"/>
                </a:lnTo>
                <a:lnTo>
                  <a:pt x="314" y="54"/>
                </a:lnTo>
                <a:lnTo>
                  <a:pt x="300" y="42"/>
                </a:lnTo>
                <a:lnTo>
                  <a:pt x="286" y="32"/>
                </a:lnTo>
                <a:lnTo>
                  <a:pt x="272" y="22"/>
                </a:lnTo>
                <a:lnTo>
                  <a:pt x="256" y="14"/>
                </a:lnTo>
                <a:lnTo>
                  <a:pt x="238" y="8"/>
                </a:lnTo>
                <a:lnTo>
                  <a:pt x="222" y="4"/>
                </a:lnTo>
                <a:lnTo>
                  <a:pt x="202" y="2"/>
                </a:lnTo>
                <a:lnTo>
                  <a:pt x="184" y="0"/>
                </a:lnTo>
                <a:close/>
              </a:path>
            </a:pathLst>
          </a:custGeom>
          <a:solidFill>
            <a:srgbClr val="CC0066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92" name="Freeform 132"/>
          <p:cNvSpPr>
            <a:spLocks/>
          </p:cNvSpPr>
          <p:nvPr userDrawn="1"/>
        </p:nvSpPr>
        <p:spPr bwMode="auto">
          <a:xfrm>
            <a:off x="237719" y="1744649"/>
            <a:ext cx="741339" cy="684313"/>
          </a:xfrm>
          <a:custGeom>
            <a:avLst/>
            <a:gdLst/>
            <a:ahLst/>
            <a:cxnLst>
              <a:cxn ang="0">
                <a:pos x="184" y="0"/>
              </a:cxn>
              <a:cxn ang="0">
                <a:pos x="148" y="4"/>
              </a:cxn>
              <a:cxn ang="0">
                <a:pos x="112" y="14"/>
              </a:cxn>
              <a:cxn ang="0">
                <a:pos x="82" y="32"/>
              </a:cxn>
              <a:cxn ang="0">
                <a:pos x="54" y="54"/>
              </a:cxn>
              <a:cxn ang="0">
                <a:pos x="32" y="82"/>
              </a:cxn>
              <a:cxn ang="0">
                <a:pos x="14" y="112"/>
              </a:cxn>
              <a:cxn ang="0">
                <a:pos x="4" y="146"/>
              </a:cxn>
              <a:cxn ang="0">
                <a:pos x="0" y="184"/>
              </a:cxn>
              <a:cxn ang="0">
                <a:pos x="2" y="202"/>
              </a:cxn>
              <a:cxn ang="0">
                <a:pos x="8" y="238"/>
              </a:cxn>
              <a:cxn ang="0">
                <a:pos x="22" y="272"/>
              </a:cxn>
              <a:cxn ang="0">
                <a:pos x="42" y="300"/>
              </a:cxn>
              <a:cxn ang="0">
                <a:pos x="68" y="326"/>
              </a:cxn>
              <a:cxn ang="0">
                <a:pos x="96" y="346"/>
              </a:cxn>
              <a:cxn ang="0">
                <a:pos x="130" y="360"/>
              </a:cxn>
              <a:cxn ang="0">
                <a:pos x="166" y="366"/>
              </a:cxn>
              <a:cxn ang="0">
                <a:pos x="184" y="368"/>
              </a:cxn>
              <a:cxn ang="0">
                <a:pos x="222" y="364"/>
              </a:cxn>
              <a:cxn ang="0">
                <a:pos x="256" y="352"/>
              </a:cxn>
              <a:cxn ang="0">
                <a:pos x="286" y="336"/>
              </a:cxn>
              <a:cxn ang="0">
                <a:pos x="314" y="314"/>
              </a:cxn>
              <a:cxn ang="0">
                <a:pos x="336" y="286"/>
              </a:cxn>
              <a:cxn ang="0">
                <a:pos x="354" y="256"/>
              </a:cxn>
              <a:cxn ang="0">
                <a:pos x="364" y="220"/>
              </a:cxn>
              <a:cxn ang="0">
                <a:pos x="368" y="184"/>
              </a:cxn>
              <a:cxn ang="0">
                <a:pos x="366" y="166"/>
              </a:cxn>
              <a:cxn ang="0">
                <a:pos x="360" y="130"/>
              </a:cxn>
              <a:cxn ang="0">
                <a:pos x="346" y="96"/>
              </a:cxn>
              <a:cxn ang="0">
                <a:pos x="326" y="68"/>
              </a:cxn>
              <a:cxn ang="0">
                <a:pos x="300" y="42"/>
              </a:cxn>
              <a:cxn ang="0">
                <a:pos x="272" y="22"/>
              </a:cxn>
              <a:cxn ang="0">
                <a:pos x="238" y="8"/>
              </a:cxn>
              <a:cxn ang="0">
                <a:pos x="202" y="2"/>
              </a:cxn>
            </a:cxnLst>
            <a:rect l="0" t="0" r="r" b="b"/>
            <a:pathLst>
              <a:path w="368" h="368">
                <a:moveTo>
                  <a:pt x="184" y="0"/>
                </a:moveTo>
                <a:lnTo>
                  <a:pt x="184" y="0"/>
                </a:lnTo>
                <a:lnTo>
                  <a:pt x="166" y="2"/>
                </a:lnTo>
                <a:lnTo>
                  <a:pt x="148" y="4"/>
                </a:lnTo>
                <a:lnTo>
                  <a:pt x="130" y="8"/>
                </a:lnTo>
                <a:lnTo>
                  <a:pt x="112" y="14"/>
                </a:lnTo>
                <a:lnTo>
                  <a:pt x="96" y="22"/>
                </a:lnTo>
                <a:lnTo>
                  <a:pt x="82" y="32"/>
                </a:lnTo>
                <a:lnTo>
                  <a:pt x="68" y="42"/>
                </a:lnTo>
                <a:lnTo>
                  <a:pt x="54" y="54"/>
                </a:lnTo>
                <a:lnTo>
                  <a:pt x="42" y="68"/>
                </a:lnTo>
                <a:lnTo>
                  <a:pt x="32" y="82"/>
                </a:lnTo>
                <a:lnTo>
                  <a:pt x="22" y="96"/>
                </a:lnTo>
                <a:lnTo>
                  <a:pt x="14" y="112"/>
                </a:lnTo>
                <a:lnTo>
                  <a:pt x="8" y="130"/>
                </a:lnTo>
                <a:lnTo>
                  <a:pt x="4" y="146"/>
                </a:lnTo>
                <a:lnTo>
                  <a:pt x="2" y="166"/>
                </a:lnTo>
                <a:lnTo>
                  <a:pt x="0" y="184"/>
                </a:lnTo>
                <a:lnTo>
                  <a:pt x="0" y="184"/>
                </a:lnTo>
                <a:lnTo>
                  <a:pt x="2" y="202"/>
                </a:lnTo>
                <a:lnTo>
                  <a:pt x="4" y="220"/>
                </a:lnTo>
                <a:lnTo>
                  <a:pt x="8" y="238"/>
                </a:lnTo>
                <a:lnTo>
                  <a:pt x="14" y="256"/>
                </a:lnTo>
                <a:lnTo>
                  <a:pt x="22" y="272"/>
                </a:lnTo>
                <a:lnTo>
                  <a:pt x="32" y="286"/>
                </a:lnTo>
                <a:lnTo>
                  <a:pt x="42" y="300"/>
                </a:lnTo>
                <a:lnTo>
                  <a:pt x="54" y="314"/>
                </a:lnTo>
                <a:lnTo>
                  <a:pt x="68" y="326"/>
                </a:lnTo>
                <a:lnTo>
                  <a:pt x="82" y="336"/>
                </a:lnTo>
                <a:lnTo>
                  <a:pt x="96" y="346"/>
                </a:lnTo>
                <a:lnTo>
                  <a:pt x="112" y="352"/>
                </a:lnTo>
                <a:lnTo>
                  <a:pt x="130" y="360"/>
                </a:lnTo>
                <a:lnTo>
                  <a:pt x="148" y="364"/>
                </a:lnTo>
                <a:lnTo>
                  <a:pt x="166" y="366"/>
                </a:lnTo>
                <a:lnTo>
                  <a:pt x="184" y="368"/>
                </a:lnTo>
                <a:lnTo>
                  <a:pt x="184" y="368"/>
                </a:lnTo>
                <a:lnTo>
                  <a:pt x="202" y="366"/>
                </a:lnTo>
                <a:lnTo>
                  <a:pt x="222" y="364"/>
                </a:lnTo>
                <a:lnTo>
                  <a:pt x="238" y="360"/>
                </a:lnTo>
                <a:lnTo>
                  <a:pt x="256" y="352"/>
                </a:lnTo>
                <a:lnTo>
                  <a:pt x="272" y="346"/>
                </a:lnTo>
                <a:lnTo>
                  <a:pt x="286" y="336"/>
                </a:lnTo>
                <a:lnTo>
                  <a:pt x="300" y="326"/>
                </a:lnTo>
                <a:lnTo>
                  <a:pt x="314" y="314"/>
                </a:lnTo>
                <a:lnTo>
                  <a:pt x="326" y="300"/>
                </a:lnTo>
                <a:lnTo>
                  <a:pt x="336" y="286"/>
                </a:lnTo>
                <a:lnTo>
                  <a:pt x="346" y="272"/>
                </a:lnTo>
                <a:lnTo>
                  <a:pt x="354" y="256"/>
                </a:lnTo>
                <a:lnTo>
                  <a:pt x="360" y="238"/>
                </a:lnTo>
                <a:lnTo>
                  <a:pt x="364" y="220"/>
                </a:lnTo>
                <a:lnTo>
                  <a:pt x="366" y="202"/>
                </a:lnTo>
                <a:lnTo>
                  <a:pt x="368" y="184"/>
                </a:lnTo>
                <a:lnTo>
                  <a:pt x="368" y="184"/>
                </a:lnTo>
                <a:lnTo>
                  <a:pt x="366" y="166"/>
                </a:lnTo>
                <a:lnTo>
                  <a:pt x="364" y="146"/>
                </a:lnTo>
                <a:lnTo>
                  <a:pt x="360" y="130"/>
                </a:lnTo>
                <a:lnTo>
                  <a:pt x="354" y="112"/>
                </a:lnTo>
                <a:lnTo>
                  <a:pt x="346" y="96"/>
                </a:lnTo>
                <a:lnTo>
                  <a:pt x="336" y="82"/>
                </a:lnTo>
                <a:lnTo>
                  <a:pt x="326" y="68"/>
                </a:lnTo>
                <a:lnTo>
                  <a:pt x="314" y="54"/>
                </a:lnTo>
                <a:lnTo>
                  <a:pt x="300" y="42"/>
                </a:lnTo>
                <a:lnTo>
                  <a:pt x="286" y="32"/>
                </a:lnTo>
                <a:lnTo>
                  <a:pt x="272" y="22"/>
                </a:lnTo>
                <a:lnTo>
                  <a:pt x="256" y="14"/>
                </a:lnTo>
                <a:lnTo>
                  <a:pt x="238" y="8"/>
                </a:lnTo>
                <a:lnTo>
                  <a:pt x="222" y="4"/>
                </a:lnTo>
                <a:lnTo>
                  <a:pt x="202" y="2"/>
                </a:lnTo>
                <a:lnTo>
                  <a:pt x="184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93" name="Freeform 133"/>
          <p:cNvSpPr>
            <a:spLocks/>
          </p:cNvSpPr>
          <p:nvPr userDrawn="1"/>
        </p:nvSpPr>
        <p:spPr bwMode="auto">
          <a:xfrm>
            <a:off x="910559" y="167750"/>
            <a:ext cx="463337" cy="427696"/>
          </a:xfrm>
          <a:custGeom>
            <a:avLst/>
            <a:gdLst/>
            <a:ahLst/>
            <a:cxnLst>
              <a:cxn ang="0">
                <a:pos x="116" y="0"/>
              </a:cxn>
              <a:cxn ang="0">
                <a:pos x="116" y="0"/>
              </a:cxn>
              <a:cxn ang="0">
                <a:pos x="92" y="2"/>
              </a:cxn>
              <a:cxn ang="0">
                <a:pos x="70" y="10"/>
              </a:cxn>
              <a:cxn ang="0">
                <a:pos x="50" y="20"/>
              </a:cxn>
              <a:cxn ang="0">
                <a:pos x="34" y="34"/>
              </a:cxn>
              <a:cxn ang="0">
                <a:pos x="20" y="50"/>
              </a:cxn>
              <a:cxn ang="0">
                <a:pos x="10" y="70"/>
              </a:cxn>
              <a:cxn ang="0">
                <a:pos x="2" y="92"/>
              </a:cxn>
              <a:cxn ang="0">
                <a:pos x="0" y="116"/>
              </a:cxn>
              <a:cxn ang="0">
                <a:pos x="0" y="116"/>
              </a:cxn>
              <a:cxn ang="0">
                <a:pos x="2" y="138"/>
              </a:cxn>
              <a:cxn ang="0">
                <a:pos x="10" y="160"/>
              </a:cxn>
              <a:cxn ang="0">
                <a:pos x="20" y="180"/>
              </a:cxn>
              <a:cxn ang="0">
                <a:pos x="34" y="196"/>
              </a:cxn>
              <a:cxn ang="0">
                <a:pos x="50" y="210"/>
              </a:cxn>
              <a:cxn ang="0">
                <a:pos x="70" y="222"/>
              </a:cxn>
              <a:cxn ang="0">
                <a:pos x="92" y="228"/>
              </a:cxn>
              <a:cxn ang="0">
                <a:pos x="116" y="230"/>
              </a:cxn>
              <a:cxn ang="0">
                <a:pos x="116" y="230"/>
              </a:cxn>
              <a:cxn ang="0">
                <a:pos x="138" y="228"/>
              </a:cxn>
              <a:cxn ang="0">
                <a:pos x="160" y="222"/>
              </a:cxn>
              <a:cxn ang="0">
                <a:pos x="180" y="210"/>
              </a:cxn>
              <a:cxn ang="0">
                <a:pos x="196" y="196"/>
              </a:cxn>
              <a:cxn ang="0">
                <a:pos x="210" y="180"/>
              </a:cxn>
              <a:cxn ang="0">
                <a:pos x="222" y="160"/>
              </a:cxn>
              <a:cxn ang="0">
                <a:pos x="228" y="138"/>
              </a:cxn>
              <a:cxn ang="0">
                <a:pos x="230" y="116"/>
              </a:cxn>
              <a:cxn ang="0">
                <a:pos x="230" y="116"/>
              </a:cxn>
              <a:cxn ang="0">
                <a:pos x="228" y="92"/>
              </a:cxn>
              <a:cxn ang="0">
                <a:pos x="222" y="70"/>
              </a:cxn>
              <a:cxn ang="0">
                <a:pos x="210" y="50"/>
              </a:cxn>
              <a:cxn ang="0">
                <a:pos x="196" y="34"/>
              </a:cxn>
              <a:cxn ang="0">
                <a:pos x="180" y="20"/>
              </a:cxn>
              <a:cxn ang="0">
                <a:pos x="160" y="10"/>
              </a:cxn>
              <a:cxn ang="0">
                <a:pos x="138" y="2"/>
              </a:cxn>
              <a:cxn ang="0">
                <a:pos x="116" y="0"/>
              </a:cxn>
            </a:cxnLst>
            <a:rect l="0" t="0" r="r" b="b"/>
            <a:pathLst>
              <a:path w="230" h="230">
                <a:moveTo>
                  <a:pt x="116" y="0"/>
                </a:moveTo>
                <a:lnTo>
                  <a:pt x="116" y="0"/>
                </a:lnTo>
                <a:lnTo>
                  <a:pt x="92" y="2"/>
                </a:lnTo>
                <a:lnTo>
                  <a:pt x="70" y="10"/>
                </a:lnTo>
                <a:lnTo>
                  <a:pt x="50" y="20"/>
                </a:lnTo>
                <a:lnTo>
                  <a:pt x="34" y="34"/>
                </a:lnTo>
                <a:lnTo>
                  <a:pt x="20" y="50"/>
                </a:lnTo>
                <a:lnTo>
                  <a:pt x="10" y="70"/>
                </a:lnTo>
                <a:lnTo>
                  <a:pt x="2" y="92"/>
                </a:lnTo>
                <a:lnTo>
                  <a:pt x="0" y="116"/>
                </a:lnTo>
                <a:lnTo>
                  <a:pt x="0" y="116"/>
                </a:lnTo>
                <a:lnTo>
                  <a:pt x="2" y="138"/>
                </a:lnTo>
                <a:lnTo>
                  <a:pt x="10" y="160"/>
                </a:lnTo>
                <a:lnTo>
                  <a:pt x="20" y="180"/>
                </a:lnTo>
                <a:lnTo>
                  <a:pt x="34" y="196"/>
                </a:lnTo>
                <a:lnTo>
                  <a:pt x="50" y="210"/>
                </a:lnTo>
                <a:lnTo>
                  <a:pt x="70" y="222"/>
                </a:lnTo>
                <a:lnTo>
                  <a:pt x="92" y="228"/>
                </a:lnTo>
                <a:lnTo>
                  <a:pt x="116" y="230"/>
                </a:lnTo>
                <a:lnTo>
                  <a:pt x="116" y="230"/>
                </a:lnTo>
                <a:lnTo>
                  <a:pt x="138" y="228"/>
                </a:lnTo>
                <a:lnTo>
                  <a:pt x="160" y="222"/>
                </a:lnTo>
                <a:lnTo>
                  <a:pt x="180" y="210"/>
                </a:lnTo>
                <a:lnTo>
                  <a:pt x="196" y="196"/>
                </a:lnTo>
                <a:lnTo>
                  <a:pt x="210" y="180"/>
                </a:lnTo>
                <a:lnTo>
                  <a:pt x="222" y="160"/>
                </a:lnTo>
                <a:lnTo>
                  <a:pt x="228" y="138"/>
                </a:lnTo>
                <a:lnTo>
                  <a:pt x="230" y="116"/>
                </a:lnTo>
                <a:lnTo>
                  <a:pt x="230" y="116"/>
                </a:lnTo>
                <a:lnTo>
                  <a:pt x="228" y="92"/>
                </a:lnTo>
                <a:lnTo>
                  <a:pt x="222" y="70"/>
                </a:lnTo>
                <a:lnTo>
                  <a:pt x="210" y="50"/>
                </a:lnTo>
                <a:lnTo>
                  <a:pt x="196" y="34"/>
                </a:lnTo>
                <a:lnTo>
                  <a:pt x="180" y="20"/>
                </a:lnTo>
                <a:lnTo>
                  <a:pt x="160" y="10"/>
                </a:lnTo>
                <a:lnTo>
                  <a:pt x="138" y="2"/>
                </a:lnTo>
                <a:lnTo>
                  <a:pt x="116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94" name="Freeform 134"/>
          <p:cNvSpPr>
            <a:spLocks/>
          </p:cNvSpPr>
          <p:nvPr userDrawn="1"/>
        </p:nvSpPr>
        <p:spPr bwMode="auto">
          <a:xfrm>
            <a:off x="910559" y="167750"/>
            <a:ext cx="463337" cy="427696"/>
          </a:xfrm>
          <a:custGeom>
            <a:avLst/>
            <a:gdLst/>
            <a:ahLst/>
            <a:cxnLst>
              <a:cxn ang="0">
                <a:pos x="116" y="0"/>
              </a:cxn>
              <a:cxn ang="0">
                <a:pos x="116" y="0"/>
              </a:cxn>
              <a:cxn ang="0">
                <a:pos x="92" y="2"/>
              </a:cxn>
              <a:cxn ang="0">
                <a:pos x="70" y="10"/>
              </a:cxn>
              <a:cxn ang="0">
                <a:pos x="50" y="20"/>
              </a:cxn>
              <a:cxn ang="0">
                <a:pos x="34" y="34"/>
              </a:cxn>
              <a:cxn ang="0">
                <a:pos x="20" y="50"/>
              </a:cxn>
              <a:cxn ang="0">
                <a:pos x="10" y="70"/>
              </a:cxn>
              <a:cxn ang="0">
                <a:pos x="2" y="92"/>
              </a:cxn>
              <a:cxn ang="0">
                <a:pos x="0" y="116"/>
              </a:cxn>
              <a:cxn ang="0">
                <a:pos x="0" y="116"/>
              </a:cxn>
              <a:cxn ang="0">
                <a:pos x="2" y="138"/>
              </a:cxn>
              <a:cxn ang="0">
                <a:pos x="10" y="160"/>
              </a:cxn>
              <a:cxn ang="0">
                <a:pos x="20" y="180"/>
              </a:cxn>
              <a:cxn ang="0">
                <a:pos x="34" y="196"/>
              </a:cxn>
              <a:cxn ang="0">
                <a:pos x="50" y="210"/>
              </a:cxn>
              <a:cxn ang="0">
                <a:pos x="70" y="222"/>
              </a:cxn>
              <a:cxn ang="0">
                <a:pos x="92" y="228"/>
              </a:cxn>
              <a:cxn ang="0">
                <a:pos x="116" y="230"/>
              </a:cxn>
              <a:cxn ang="0">
                <a:pos x="116" y="230"/>
              </a:cxn>
              <a:cxn ang="0">
                <a:pos x="138" y="228"/>
              </a:cxn>
              <a:cxn ang="0">
                <a:pos x="160" y="222"/>
              </a:cxn>
              <a:cxn ang="0">
                <a:pos x="180" y="210"/>
              </a:cxn>
              <a:cxn ang="0">
                <a:pos x="196" y="196"/>
              </a:cxn>
              <a:cxn ang="0">
                <a:pos x="210" y="180"/>
              </a:cxn>
              <a:cxn ang="0">
                <a:pos x="222" y="160"/>
              </a:cxn>
              <a:cxn ang="0">
                <a:pos x="228" y="138"/>
              </a:cxn>
              <a:cxn ang="0">
                <a:pos x="230" y="116"/>
              </a:cxn>
              <a:cxn ang="0">
                <a:pos x="230" y="116"/>
              </a:cxn>
              <a:cxn ang="0">
                <a:pos x="228" y="92"/>
              </a:cxn>
              <a:cxn ang="0">
                <a:pos x="222" y="70"/>
              </a:cxn>
              <a:cxn ang="0">
                <a:pos x="210" y="50"/>
              </a:cxn>
              <a:cxn ang="0">
                <a:pos x="196" y="34"/>
              </a:cxn>
              <a:cxn ang="0">
                <a:pos x="180" y="20"/>
              </a:cxn>
              <a:cxn ang="0">
                <a:pos x="160" y="10"/>
              </a:cxn>
              <a:cxn ang="0">
                <a:pos x="138" y="2"/>
              </a:cxn>
              <a:cxn ang="0">
                <a:pos x="116" y="0"/>
              </a:cxn>
            </a:cxnLst>
            <a:rect l="0" t="0" r="r" b="b"/>
            <a:pathLst>
              <a:path w="230" h="230">
                <a:moveTo>
                  <a:pt x="116" y="0"/>
                </a:moveTo>
                <a:lnTo>
                  <a:pt x="116" y="0"/>
                </a:lnTo>
                <a:lnTo>
                  <a:pt x="92" y="2"/>
                </a:lnTo>
                <a:lnTo>
                  <a:pt x="70" y="10"/>
                </a:lnTo>
                <a:lnTo>
                  <a:pt x="50" y="20"/>
                </a:lnTo>
                <a:lnTo>
                  <a:pt x="34" y="34"/>
                </a:lnTo>
                <a:lnTo>
                  <a:pt x="20" y="50"/>
                </a:lnTo>
                <a:lnTo>
                  <a:pt x="10" y="70"/>
                </a:lnTo>
                <a:lnTo>
                  <a:pt x="2" y="92"/>
                </a:lnTo>
                <a:lnTo>
                  <a:pt x="0" y="116"/>
                </a:lnTo>
                <a:lnTo>
                  <a:pt x="0" y="116"/>
                </a:lnTo>
                <a:lnTo>
                  <a:pt x="2" y="138"/>
                </a:lnTo>
                <a:lnTo>
                  <a:pt x="10" y="160"/>
                </a:lnTo>
                <a:lnTo>
                  <a:pt x="20" y="180"/>
                </a:lnTo>
                <a:lnTo>
                  <a:pt x="34" y="196"/>
                </a:lnTo>
                <a:lnTo>
                  <a:pt x="50" y="210"/>
                </a:lnTo>
                <a:lnTo>
                  <a:pt x="70" y="222"/>
                </a:lnTo>
                <a:lnTo>
                  <a:pt x="92" y="228"/>
                </a:lnTo>
                <a:lnTo>
                  <a:pt x="116" y="230"/>
                </a:lnTo>
                <a:lnTo>
                  <a:pt x="116" y="230"/>
                </a:lnTo>
                <a:lnTo>
                  <a:pt x="138" y="228"/>
                </a:lnTo>
                <a:lnTo>
                  <a:pt x="160" y="222"/>
                </a:lnTo>
                <a:lnTo>
                  <a:pt x="180" y="210"/>
                </a:lnTo>
                <a:lnTo>
                  <a:pt x="196" y="196"/>
                </a:lnTo>
                <a:lnTo>
                  <a:pt x="210" y="180"/>
                </a:lnTo>
                <a:lnTo>
                  <a:pt x="222" y="160"/>
                </a:lnTo>
                <a:lnTo>
                  <a:pt x="228" y="138"/>
                </a:lnTo>
                <a:lnTo>
                  <a:pt x="230" y="116"/>
                </a:lnTo>
                <a:lnTo>
                  <a:pt x="230" y="116"/>
                </a:lnTo>
                <a:lnTo>
                  <a:pt x="228" y="92"/>
                </a:lnTo>
                <a:lnTo>
                  <a:pt x="222" y="70"/>
                </a:lnTo>
                <a:lnTo>
                  <a:pt x="210" y="50"/>
                </a:lnTo>
                <a:lnTo>
                  <a:pt x="196" y="34"/>
                </a:lnTo>
                <a:lnTo>
                  <a:pt x="180" y="20"/>
                </a:lnTo>
                <a:lnTo>
                  <a:pt x="160" y="10"/>
                </a:lnTo>
                <a:lnTo>
                  <a:pt x="138" y="2"/>
                </a:lnTo>
                <a:lnTo>
                  <a:pt x="116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95" name="Freeform 135"/>
          <p:cNvSpPr>
            <a:spLocks/>
          </p:cNvSpPr>
          <p:nvPr userDrawn="1"/>
        </p:nvSpPr>
        <p:spPr bwMode="auto">
          <a:xfrm>
            <a:off x="2796142" y="37581"/>
            <a:ext cx="463337" cy="427696"/>
          </a:xfrm>
          <a:custGeom>
            <a:avLst/>
            <a:gdLst/>
            <a:ahLst/>
            <a:cxnLst>
              <a:cxn ang="0">
                <a:pos x="114" y="0"/>
              </a:cxn>
              <a:cxn ang="0">
                <a:pos x="114" y="0"/>
              </a:cxn>
              <a:cxn ang="0">
                <a:pos x="92" y="2"/>
              </a:cxn>
              <a:cxn ang="0">
                <a:pos x="70" y="10"/>
              </a:cxn>
              <a:cxn ang="0">
                <a:pos x="50" y="20"/>
              </a:cxn>
              <a:cxn ang="0">
                <a:pos x="34" y="34"/>
              </a:cxn>
              <a:cxn ang="0">
                <a:pos x="20" y="50"/>
              </a:cxn>
              <a:cxn ang="0">
                <a:pos x="8" y="70"/>
              </a:cxn>
              <a:cxn ang="0">
                <a:pos x="2" y="92"/>
              </a:cxn>
              <a:cxn ang="0">
                <a:pos x="0" y="116"/>
              </a:cxn>
              <a:cxn ang="0">
                <a:pos x="0" y="116"/>
              </a:cxn>
              <a:cxn ang="0">
                <a:pos x="2" y="138"/>
              </a:cxn>
              <a:cxn ang="0">
                <a:pos x="8" y="160"/>
              </a:cxn>
              <a:cxn ang="0">
                <a:pos x="20" y="180"/>
              </a:cxn>
              <a:cxn ang="0">
                <a:pos x="34" y="196"/>
              </a:cxn>
              <a:cxn ang="0">
                <a:pos x="50" y="210"/>
              </a:cxn>
              <a:cxn ang="0">
                <a:pos x="70" y="222"/>
              </a:cxn>
              <a:cxn ang="0">
                <a:pos x="92" y="228"/>
              </a:cxn>
              <a:cxn ang="0">
                <a:pos x="114" y="230"/>
              </a:cxn>
              <a:cxn ang="0">
                <a:pos x="114" y="230"/>
              </a:cxn>
              <a:cxn ang="0">
                <a:pos x="138" y="228"/>
              </a:cxn>
              <a:cxn ang="0">
                <a:pos x="160" y="222"/>
              </a:cxn>
              <a:cxn ang="0">
                <a:pos x="180" y="210"/>
              </a:cxn>
              <a:cxn ang="0">
                <a:pos x="196" y="196"/>
              </a:cxn>
              <a:cxn ang="0">
                <a:pos x="210" y="180"/>
              </a:cxn>
              <a:cxn ang="0">
                <a:pos x="220" y="160"/>
              </a:cxn>
              <a:cxn ang="0">
                <a:pos x="228" y="138"/>
              </a:cxn>
              <a:cxn ang="0">
                <a:pos x="230" y="116"/>
              </a:cxn>
              <a:cxn ang="0">
                <a:pos x="230" y="116"/>
              </a:cxn>
              <a:cxn ang="0">
                <a:pos x="228" y="92"/>
              </a:cxn>
              <a:cxn ang="0">
                <a:pos x="220" y="70"/>
              </a:cxn>
              <a:cxn ang="0">
                <a:pos x="210" y="50"/>
              </a:cxn>
              <a:cxn ang="0">
                <a:pos x="196" y="34"/>
              </a:cxn>
              <a:cxn ang="0">
                <a:pos x="180" y="20"/>
              </a:cxn>
              <a:cxn ang="0">
                <a:pos x="160" y="10"/>
              </a:cxn>
              <a:cxn ang="0">
                <a:pos x="138" y="2"/>
              </a:cxn>
              <a:cxn ang="0">
                <a:pos x="114" y="0"/>
              </a:cxn>
            </a:cxnLst>
            <a:rect l="0" t="0" r="r" b="b"/>
            <a:pathLst>
              <a:path w="230" h="230">
                <a:moveTo>
                  <a:pt x="114" y="0"/>
                </a:moveTo>
                <a:lnTo>
                  <a:pt x="114" y="0"/>
                </a:lnTo>
                <a:lnTo>
                  <a:pt x="92" y="2"/>
                </a:lnTo>
                <a:lnTo>
                  <a:pt x="70" y="10"/>
                </a:lnTo>
                <a:lnTo>
                  <a:pt x="50" y="20"/>
                </a:lnTo>
                <a:lnTo>
                  <a:pt x="34" y="34"/>
                </a:lnTo>
                <a:lnTo>
                  <a:pt x="20" y="50"/>
                </a:lnTo>
                <a:lnTo>
                  <a:pt x="8" y="70"/>
                </a:lnTo>
                <a:lnTo>
                  <a:pt x="2" y="92"/>
                </a:lnTo>
                <a:lnTo>
                  <a:pt x="0" y="116"/>
                </a:lnTo>
                <a:lnTo>
                  <a:pt x="0" y="116"/>
                </a:lnTo>
                <a:lnTo>
                  <a:pt x="2" y="138"/>
                </a:lnTo>
                <a:lnTo>
                  <a:pt x="8" y="160"/>
                </a:lnTo>
                <a:lnTo>
                  <a:pt x="20" y="180"/>
                </a:lnTo>
                <a:lnTo>
                  <a:pt x="34" y="196"/>
                </a:lnTo>
                <a:lnTo>
                  <a:pt x="50" y="210"/>
                </a:lnTo>
                <a:lnTo>
                  <a:pt x="70" y="222"/>
                </a:lnTo>
                <a:lnTo>
                  <a:pt x="92" y="228"/>
                </a:lnTo>
                <a:lnTo>
                  <a:pt x="114" y="230"/>
                </a:lnTo>
                <a:lnTo>
                  <a:pt x="114" y="230"/>
                </a:lnTo>
                <a:lnTo>
                  <a:pt x="138" y="228"/>
                </a:lnTo>
                <a:lnTo>
                  <a:pt x="160" y="222"/>
                </a:lnTo>
                <a:lnTo>
                  <a:pt x="180" y="210"/>
                </a:lnTo>
                <a:lnTo>
                  <a:pt x="196" y="196"/>
                </a:lnTo>
                <a:lnTo>
                  <a:pt x="210" y="180"/>
                </a:lnTo>
                <a:lnTo>
                  <a:pt x="220" y="160"/>
                </a:lnTo>
                <a:lnTo>
                  <a:pt x="228" y="138"/>
                </a:lnTo>
                <a:lnTo>
                  <a:pt x="230" y="116"/>
                </a:lnTo>
                <a:lnTo>
                  <a:pt x="230" y="116"/>
                </a:lnTo>
                <a:lnTo>
                  <a:pt x="228" y="92"/>
                </a:lnTo>
                <a:lnTo>
                  <a:pt x="220" y="70"/>
                </a:lnTo>
                <a:lnTo>
                  <a:pt x="210" y="50"/>
                </a:lnTo>
                <a:lnTo>
                  <a:pt x="196" y="34"/>
                </a:lnTo>
                <a:lnTo>
                  <a:pt x="180" y="20"/>
                </a:lnTo>
                <a:lnTo>
                  <a:pt x="160" y="10"/>
                </a:lnTo>
                <a:lnTo>
                  <a:pt x="138" y="2"/>
                </a:lnTo>
                <a:lnTo>
                  <a:pt x="114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96" name="Freeform 136"/>
          <p:cNvSpPr>
            <a:spLocks/>
          </p:cNvSpPr>
          <p:nvPr userDrawn="1"/>
        </p:nvSpPr>
        <p:spPr bwMode="auto">
          <a:xfrm>
            <a:off x="2796142" y="37581"/>
            <a:ext cx="463337" cy="427696"/>
          </a:xfrm>
          <a:custGeom>
            <a:avLst/>
            <a:gdLst/>
            <a:ahLst/>
            <a:cxnLst>
              <a:cxn ang="0">
                <a:pos x="114" y="0"/>
              </a:cxn>
              <a:cxn ang="0">
                <a:pos x="114" y="0"/>
              </a:cxn>
              <a:cxn ang="0">
                <a:pos x="92" y="2"/>
              </a:cxn>
              <a:cxn ang="0">
                <a:pos x="70" y="10"/>
              </a:cxn>
              <a:cxn ang="0">
                <a:pos x="50" y="20"/>
              </a:cxn>
              <a:cxn ang="0">
                <a:pos x="34" y="34"/>
              </a:cxn>
              <a:cxn ang="0">
                <a:pos x="20" y="50"/>
              </a:cxn>
              <a:cxn ang="0">
                <a:pos x="8" y="70"/>
              </a:cxn>
              <a:cxn ang="0">
                <a:pos x="2" y="92"/>
              </a:cxn>
              <a:cxn ang="0">
                <a:pos x="0" y="116"/>
              </a:cxn>
              <a:cxn ang="0">
                <a:pos x="0" y="116"/>
              </a:cxn>
              <a:cxn ang="0">
                <a:pos x="2" y="138"/>
              </a:cxn>
              <a:cxn ang="0">
                <a:pos x="8" y="160"/>
              </a:cxn>
              <a:cxn ang="0">
                <a:pos x="20" y="180"/>
              </a:cxn>
              <a:cxn ang="0">
                <a:pos x="34" y="196"/>
              </a:cxn>
              <a:cxn ang="0">
                <a:pos x="50" y="210"/>
              </a:cxn>
              <a:cxn ang="0">
                <a:pos x="70" y="222"/>
              </a:cxn>
              <a:cxn ang="0">
                <a:pos x="92" y="228"/>
              </a:cxn>
              <a:cxn ang="0">
                <a:pos x="114" y="230"/>
              </a:cxn>
              <a:cxn ang="0">
                <a:pos x="114" y="230"/>
              </a:cxn>
              <a:cxn ang="0">
                <a:pos x="138" y="228"/>
              </a:cxn>
              <a:cxn ang="0">
                <a:pos x="160" y="222"/>
              </a:cxn>
              <a:cxn ang="0">
                <a:pos x="180" y="210"/>
              </a:cxn>
              <a:cxn ang="0">
                <a:pos x="196" y="196"/>
              </a:cxn>
              <a:cxn ang="0">
                <a:pos x="210" y="180"/>
              </a:cxn>
              <a:cxn ang="0">
                <a:pos x="220" y="160"/>
              </a:cxn>
              <a:cxn ang="0">
                <a:pos x="228" y="138"/>
              </a:cxn>
              <a:cxn ang="0">
                <a:pos x="230" y="116"/>
              </a:cxn>
              <a:cxn ang="0">
                <a:pos x="230" y="116"/>
              </a:cxn>
              <a:cxn ang="0">
                <a:pos x="228" y="92"/>
              </a:cxn>
              <a:cxn ang="0">
                <a:pos x="220" y="70"/>
              </a:cxn>
              <a:cxn ang="0">
                <a:pos x="210" y="50"/>
              </a:cxn>
              <a:cxn ang="0">
                <a:pos x="196" y="34"/>
              </a:cxn>
              <a:cxn ang="0">
                <a:pos x="180" y="20"/>
              </a:cxn>
              <a:cxn ang="0">
                <a:pos x="160" y="10"/>
              </a:cxn>
              <a:cxn ang="0">
                <a:pos x="138" y="2"/>
              </a:cxn>
              <a:cxn ang="0">
                <a:pos x="114" y="0"/>
              </a:cxn>
            </a:cxnLst>
            <a:rect l="0" t="0" r="r" b="b"/>
            <a:pathLst>
              <a:path w="230" h="230">
                <a:moveTo>
                  <a:pt x="114" y="0"/>
                </a:moveTo>
                <a:lnTo>
                  <a:pt x="114" y="0"/>
                </a:lnTo>
                <a:lnTo>
                  <a:pt x="92" y="2"/>
                </a:lnTo>
                <a:lnTo>
                  <a:pt x="70" y="10"/>
                </a:lnTo>
                <a:lnTo>
                  <a:pt x="50" y="20"/>
                </a:lnTo>
                <a:lnTo>
                  <a:pt x="34" y="34"/>
                </a:lnTo>
                <a:lnTo>
                  <a:pt x="20" y="50"/>
                </a:lnTo>
                <a:lnTo>
                  <a:pt x="8" y="70"/>
                </a:lnTo>
                <a:lnTo>
                  <a:pt x="2" y="92"/>
                </a:lnTo>
                <a:lnTo>
                  <a:pt x="0" y="116"/>
                </a:lnTo>
                <a:lnTo>
                  <a:pt x="0" y="116"/>
                </a:lnTo>
                <a:lnTo>
                  <a:pt x="2" y="138"/>
                </a:lnTo>
                <a:lnTo>
                  <a:pt x="8" y="160"/>
                </a:lnTo>
                <a:lnTo>
                  <a:pt x="20" y="180"/>
                </a:lnTo>
                <a:lnTo>
                  <a:pt x="34" y="196"/>
                </a:lnTo>
                <a:lnTo>
                  <a:pt x="50" y="210"/>
                </a:lnTo>
                <a:lnTo>
                  <a:pt x="70" y="222"/>
                </a:lnTo>
                <a:lnTo>
                  <a:pt x="92" y="228"/>
                </a:lnTo>
                <a:lnTo>
                  <a:pt x="114" y="230"/>
                </a:lnTo>
                <a:lnTo>
                  <a:pt x="114" y="230"/>
                </a:lnTo>
                <a:lnTo>
                  <a:pt x="138" y="228"/>
                </a:lnTo>
                <a:lnTo>
                  <a:pt x="160" y="222"/>
                </a:lnTo>
                <a:lnTo>
                  <a:pt x="180" y="210"/>
                </a:lnTo>
                <a:lnTo>
                  <a:pt x="196" y="196"/>
                </a:lnTo>
                <a:lnTo>
                  <a:pt x="210" y="180"/>
                </a:lnTo>
                <a:lnTo>
                  <a:pt x="220" y="160"/>
                </a:lnTo>
                <a:lnTo>
                  <a:pt x="228" y="138"/>
                </a:lnTo>
                <a:lnTo>
                  <a:pt x="230" y="116"/>
                </a:lnTo>
                <a:lnTo>
                  <a:pt x="230" y="116"/>
                </a:lnTo>
                <a:lnTo>
                  <a:pt x="228" y="92"/>
                </a:lnTo>
                <a:lnTo>
                  <a:pt x="220" y="70"/>
                </a:lnTo>
                <a:lnTo>
                  <a:pt x="210" y="50"/>
                </a:lnTo>
                <a:lnTo>
                  <a:pt x="196" y="34"/>
                </a:lnTo>
                <a:lnTo>
                  <a:pt x="180" y="20"/>
                </a:lnTo>
                <a:lnTo>
                  <a:pt x="160" y="10"/>
                </a:lnTo>
                <a:lnTo>
                  <a:pt x="138" y="2"/>
                </a:lnTo>
                <a:lnTo>
                  <a:pt x="114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97" name="Freeform 137"/>
          <p:cNvSpPr>
            <a:spLocks/>
          </p:cNvSpPr>
          <p:nvPr userDrawn="1"/>
        </p:nvSpPr>
        <p:spPr bwMode="auto">
          <a:xfrm>
            <a:off x="1095899" y="1781837"/>
            <a:ext cx="580179" cy="535550"/>
          </a:xfrm>
          <a:custGeom>
            <a:avLst/>
            <a:gdLst/>
            <a:ahLst/>
            <a:cxnLst>
              <a:cxn ang="0">
                <a:pos x="144" y="0"/>
              </a:cxn>
              <a:cxn ang="0">
                <a:pos x="114" y="2"/>
              </a:cxn>
              <a:cxn ang="0">
                <a:pos x="88" y="12"/>
              </a:cxn>
              <a:cxn ang="0">
                <a:pos x="62" y="24"/>
              </a:cxn>
              <a:cxn ang="0">
                <a:pos x="42" y="42"/>
              </a:cxn>
              <a:cxn ang="0">
                <a:pos x="24" y="64"/>
              </a:cxn>
              <a:cxn ang="0">
                <a:pos x="10" y="88"/>
              </a:cxn>
              <a:cxn ang="0">
                <a:pos x="2" y="114"/>
              </a:cxn>
              <a:cxn ang="0">
                <a:pos x="0" y="144"/>
              </a:cxn>
              <a:cxn ang="0">
                <a:pos x="0" y="158"/>
              </a:cxn>
              <a:cxn ang="0">
                <a:pos x="6" y="186"/>
              </a:cxn>
              <a:cxn ang="0">
                <a:pos x="16" y="212"/>
              </a:cxn>
              <a:cxn ang="0">
                <a:pos x="32" y="236"/>
              </a:cxn>
              <a:cxn ang="0">
                <a:pos x="52" y="256"/>
              </a:cxn>
              <a:cxn ang="0">
                <a:pos x="74" y="270"/>
              </a:cxn>
              <a:cxn ang="0">
                <a:pos x="100" y="282"/>
              </a:cxn>
              <a:cxn ang="0">
                <a:pos x="128" y="288"/>
              </a:cxn>
              <a:cxn ang="0">
                <a:pos x="144" y="288"/>
              </a:cxn>
              <a:cxn ang="0">
                <a:pos x="172" y="286"/>
              </a:cxn>
              <a:cxn ang="0">
                <a:pos x="200" y="276"/>
              </a:cxn>
              <a:cxn ang="0">
                <a:pos x="224" y="264"/>
              </a:cxn>
              <a:cxn ang="0">
                <a:pos x="246" y="246"/>
              </a:cxn>
              <a:cxn ang="0">
                <a:pos x="262" y="224"/>
              </a:cxn>
              <a:cxn ang="0">
                <a:pos x="276" y="200"/>
              </a:cxn>
              <a:cxn ang="0">
                <a:pos x="284" y="174"/>
              </a:cxn>
              <a:cxn ang="0">
                <a:pos x="288" y="144"/>
              </a:cxn>
              <a:cxn ang="0">
                <a:pos x="286" y="130"/>
              </a:cxn>
              <a:cxn ang="0">
                <a:pos x="280" y="102"/>
              </a:cxn>
              <a:cxn ang="0">
                <a:pos x="270" y="76"/>
              </a:cxn>
              <a:cxn ang="0">
                <a:pos x="254" y="52"/>
              </a:cxn>
              <a:cxn ang="0">
                <a:pos x="234" y="32"/>
              </a:cxn>
              <a:cxn ang="0">
                <a:pos x="212" y="18"/>
              </a:cxn>
              <a:cxn ang="0">
                <a:pos x="186" y="6"/>
              </a:cxn>
              <a:cxn ang="0">
                <a:pos x="158" y="0"/>
              </a:cxn>
            </a:cxnLst>
            <a:rect l="0" t="0" r="r" b="b"/>
            <a:pathLst>
              <a:path w="288" h="288">
                <a:moveTo>
                  <a:pt x="144" y="0"/>
                </a:moveTo>
                <a:lnTo>
                  <a:pt x="144" y="0"/>
                </a:lnTo>
                <a:lnTo>
                  <a:pt x="128" y="0"/>
                </a:lnTo>
                <a:lnTo>
                  <a:pt x="114" y="2"/>
                </a:lnTo>
                <a:lnTo>
                  <a:pt x="100" y="6"/>
                </a:lnTo>
                <a:lnTo>
                  <a:pt x="88" y="12"/>
                </a:lnTo>
                <a:lnTo>
                  <a:pt x="74" y="18"/>
                </a:lnTo>
                <a:lnTo>
                  <a:pt x="62" y="24"/>
                </a:lnTo>
                <a:lnTo>
                  <a:pt x="52" y="32"/>
                </a:lnTo>
                <a:lnTo>
                  <a:pt x="42" y="42"/>
                </a:lnTo>
                <a:lnTo>
                  <a:pt x="32" y="52"/>
                </a:lnTo>
                <a:lnTo>
                  <a:pt x="24" y="64"/>
                </a:lnTo>
                <a:lnTo>
                  <a:pt x="16" y="76"/>
                </a:lnTo>
                <a:lnTo>
                  <a:pt x="10" y="88"/>
                </a:lnTo>
                <a:lnTo>
                  <a:pt x="6" y="102"/>
                </a:lnTo>
                <a:lnTo>
                  <a:pt x="2" y="114"/>
                </a:lnTo>
                <a:lnTo>
                  <a:pt x="0" y="130"/>
                </a:lnTo>
                <a:lnTo>
                  <a:pt x="0" y="144"/>
                </a:lnTo>
                <a:lnTo>
                  <a:pt x="0" y="144"/>
                </a:lnTo>
                <a:lnTo>
                  <a:pt x="0" y="158"/>
                </a:lnTo>
                <a:lnTo>
                  <a:pt x="2" y="174"/>
                </a:lnTo>
                <a:lnTo>
                  <a:pt x="6" y="186"/>
                </a:lnTo>
                <a:lnTo>
                  <a:pt x="10" y="200"/>
                </a:lnTo>
                <a:lnTo>
                  <a:pt x="16" y="212"/>
                </a:lnTo>
                <a:lnTo>
                  <a:pt x="24" y="224"/>
                </a:lnTo>
                <a:lnTo>
                  <a:pt x="32" y="236"/>
                </a:lnTo>
                <a:lnTo>
                  <a:pt x="42" y="246"/>
                </a:lnTo>
                <a:lnTo>
                  <a:pt x="52" y="256"/>
                </a:lnTo>
                <a:lnTo>
                  <a:pt x="62" y="264"/>
                </a:lnTo>
                <a:lnTo>
                  <a:pt x="74" y="270"/>
                </a:lnTo>
                <a:lnTo>
                  <a:pt x="88" y="276"/>
                </a:lnTo>
                <a:lnTo>
                  <a:pt x="100" y="282"/>
                </a:lnTo>
                <a:lnTo>
                  <a:pt x="114" y="286"/>
                </a:lnTo>
                <a:lnTo>
                  <a:pt x="128" y="288"/>
                </a:lnTo>
                <a:lnTo>
                  <a:pt x="144" y="288"/>
                </a:lnTo>
                <a:lnTo>
                  <a:pt x="144" y="288"/>
                </a:lnTo>
                <a:lnTo>
                  <a:pt x="158" y="288"/>
                </a:lnTo>
                <a:lnTo>
                  <a:pt x="172" y="286"/>
                </a:lnTo>
                <a:lnTo>
                  <a:pt x="186" y="282"/>
                </a:lnTo>
                <a:lnTo>
                  <a:pt x="200" y="276"/>
                </a:lnTo>
                <a:lnTo>
                  <a:pt x="212" y="270"/>
                </a:lnTo>
                <a:lnTo>
                  <a:pt x="224" y="264"/>
                </a:lnTo>
                <a:lnTo>
                  <a:pt x="234" y="256"/>
                </a:lnTo>
                <a:lnTo>
                  <a:pt x="246" y="246"/>
                </a:lnTo>
                <a:lnTo>
                  <a:pt x="254" y="236"/>
                </a:lnTo>
                <a:lnTo>
                  <a:pt x="262" y="224"/>
                </a:lnTo>
                <a:lnTo>
                  <a:pt x="270" y="212"/>
                </a:lnTo>
                <a:lnTo>
                  <a:pt x="276" y="200"/>
                </a:lnTo>
                <a:lnTo>
                  <a:pt x="280" y="186"/>
                </a:lnTo>
                <a:lnTo>
                  <a:pt x="284" y="174"/>
                </a:lnTo>
                <a:lnTo>
                  <a:pt x="286" y="158"/>
                </a:lnTo>
                <a:lnTo>
                  <a:pt x="288" y="144"/>
                </a:lnTo>
                <a:lnTo>
                  <a:pt x="288" y="144"/>
                </a:lnTo>
                <a:lnTo>
                  <a:pt x="286" y="130"/>
                </a:lnTo>
                <a:lnTo>
                  <a:pt x="284" y="114"/>
                </a:lnTo>
                <a:lnTo>
                  <a:pt x="280" y="102"/>
                </a:lnTo>
                <a:lnTo>
                  <a:pt x="276" y="88"/>
                </a:lnTo>
                <a:lnTo>
                  <a:pt x="270" y="76"/>
                </a:lnTo>
                <a:lnTo>
                  <a:pt x="262" y="64"/>
                </a:lnTo>
                <a:lnTo>
                  <a:pt x="254" y="52"/>
                </a:lnTo>
                <a:lnTo>
                  <a:pt x="246" y="42"/>
                </a:lnTo>
                <a:lnTo>
                  <a:pt x="234" y="32"/>
                </a:lnTo>
                <a:lnTo>
                  <a:pt x="224" y="24"/>
                </a:lnTo>
                <a:lnTo>
                  <a:pt x="212" y="18"/>
                </a:lnTo>
                <a:lnTo>
                  <a:pt x="200" y="12"/>
                </a:lnTo>
                <a:lnTo>
                  <a:pt x="186" y="6"/>
                </a:lnTo>
                <a:lnTo>
                  <a:pt x="172" y="2"/>
                </a:lnTo>
                <a:lnTo>
                  <a:pt x="158" y="0"/>
                </a:lnTo>
                <a:lnTo>
                  <a:pt x="144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98" name="Freeform 138"/>
          <p:cNvSpPr>
            <a:spLocks/>
          </p:cNvSpPr>
          <p:nvPr userDrawn="1"/>
        </p:nvSpPr>
        <p:spPr bwMode="auto">
          <a:xfrm>
            <a:off x="1095899" y="1781837"/>
            <a:ext cx="580179" cy="535550"/>
          </a:xfrm>
          <a:custGeom>
            <a:avLst/>
            <a:gdLst/>
            <a:ahLst/>
            <a:cxnLst>
              <a:cxn ang="0">
                <a:pos x="144" y="0"/>
              </a:cxn>
              <a:cxn ang="0">
                <a:pos x="114" y="2"/>
              </a:cxn>
              <a:cxn ang="0">
                <a:pos x="88" y="12"/>
              </a:cxn>
              <a:cxn ang="0">
                <a:pos x="62" y="24"/>
              </a:cxn>
              <a:cxn ang="0">
                <a:pos x="42" y="42"/>
              </a:cxn>
              <a:cxn ang="0">
                <a:pos x="24" y="64"/>
              </a:cxn>
              <a:cxn ang="0">
                <a:pos x="10" y="88"/>
              </a:cxn>
              <a:cxn ang="0">
                <a:pos x="2" y="114"/>
              </a:cxn>
              <a:cxn ang="0">
                <a:pos x="0" y="144"/>
              </a:cxn>
              <a:cxn ang="0">
                <a:pos x="0" y="158"/>
              </a:cxn>
              <a:cxn ang="0">
                <a:pos x="6" y="186"/>
              </a:cxn>
              <a:cxn ang="0">
                <a:pos x="16" y="212"/>
              </a:cxn>
              <a:cxn ang="0">
                <a:pos x="32" y="236"/>
              </a:cxn>
              <a:cxn ang="0">
                <a:pos x="52" y="256"/>
              </a:cxn>
              <a:cxn ang="0">
                <a:pos x="74" y="270"/>
              </a:cxn>
              <a:cxn ang="0">
                <a:pos x="100" y="282"/>
              </a:cxn>
              <a:cxn ang="0">
                <a:pos x="128" y="288"/>
              </a:cxn>
              <a:cxn ang="0">
                <a:pos x="144" y="288"/>
              </a:cxn>
              <a:cxn ang="0">
                <a:pos x="172" y="286"/>
              </a:cxn>
              <a:cxn ang="0">
                <a:pos x="200" y="276"/>
              </a:cxn>
              <a:cxn ang="0">
                <a:pos x="224" y="264"/>
              </a:cxn>
              <a:cxn ang="0">
                <a:pos x="246" y="246"/>
              </a:cxn>
              <a:cxn ang="0">
                <a:pos x="262" y="224"/>
              </a:cxn>
              <a:cxn ang="0">
                <a:pos x="276" y="200"/>
              </a:cxn>
              <a:cxn ang="0">
                <a:pos x="284" y="174"/>
              </a:cxn>
              <a:cxn ang="0">
                <a:pos x="288" y="144"/>
              </a:cxn>
              <a:cxn ang="0">
                <a:pos x="286" y="130"/>
              </a:cxn>
              <a:cxn ang="0">
                <a:pos x="280" y="102"/>
              </a:cxn>
              <a:cxn ang="0">
                <a:pos x="270" y="76"/>
              </a:cxn>
              <a:cxn ang="0">
                <a:pos x="254" y="52"/>
              </a:cxn>
              <a:cxn ang="0">
                <a:pos x="234" y="32"/>
              </a:cxn>
              <a:cxn ang="0">
                <a:pos x="212" y="18"/>
              </a:cxn>
              <a:cxn ang="0">
                <a:pos x="186" y="6"/>
              </a:cxn>
              <a:cxn ang="0">
                <a:pos x="158" y="0"/>
              </a:cxn>
            </a:cxnLst>
            <a:rect l="0" t="0" r="r" b="b"/>
            <a:pathLst>
              <a:path w="288" h="288">
                <a:moveTo>
                  <a:pt x="144" y="0"/>
                </a:moveTo>
                <a:lnTo>
                  <a:pt x="144" y="0"/>
                </a:lnTo>
                <a:lnTo>
                  <a:pt x="128" y="0"/>
                </a:lnTo>
                <a:lnTo>
                  <a:pt x="114" y="2"/>
                </a:lnTo>
                <a:lnTo>
                  <a:pt x="100" y="6"/>
                </a:lnTo>
                <a:lnTo>
                  <a:pt x="88" y="12"/>
                </a:lnTo>
                <a:lnTo>
                  <a:pt x="74" y="18"/>
                </a:lnTo>
                <a:lnTo>
                  <a:pt x="62" y="24"/>
                </a:lnTo>
                <a:lnTo>
                  <a:pt x="52" y="32"/>
                </a:lnTo>
                <a:lnTo>
                  <a:pt x="42" y="42"/>
                </a:lnTo>
                <a:lnTo>
                  <a:pt x="32" y="52"/>
                </a:lnTo>
                <a:lnTo>
                  <a:pt x="24" y="64"/>
                </a:lnTo>
                <a:lnTo>
                  <a:pt x="16" y="76"/>
                </a:lnTo>
                <a:lnTo>
                  <a:pt x="10" y="88"/>
                </a:lnTo>
                <a:lnTo>
                  <a:pt x="6" y="102"/>
                </a:lnTo>
                <a:lnTo>
                  <a:pt x="2" y="114"/>
                </a:lnTo>
                <a:lnTo>
                  <a:pt x="0" y="130"/>
                </a:lnTo>
                <a:lnTo>
                  <a:pt x="0" y="144"/>
                </a:lnTo>
                <a:lnTo>
                  <a:pt x="0" y="144"/>
                </a:lnTo>
                <a:lnTo>
                  <a:pt x="0" y="158"/>
                </a:lnTo>
                <a:lnTo>
                  <a:pt x="2" y="174"/>
                </a:lnTo>
                <a:lnTo>
                  <a:pt x="6" y="186"/>
                </a:lnTo>
                <a:lnTo>
                  <a:pt x="10" y="200"/>
                </a:lnTo>
                <a:lnTo>
                  <a:pt x="16" y="212"/>
                </a:lnTo>
                <a:lnTo>
                  <a:pt x="24" y="224"/>
                </a:lnTo>
                <a:lnTo>
                  <a:pt x="32" y="236"/>
                </a:lnTo>
                <a:lnTo>
                  <a:pt x="42" y="246"/>
                </a:lnTo>
                <a:lnTo>
                  <a:pt x="52" y="256"/>
                </a:lnTo>
                <a:lnTo>
                  <a:pt x="62" y="264"/>
                </a:lnTo>
                <a:lnTo>
                  <a:pt x="74" y="270"/>
                </a:lnTo>
                <a:lnTo>
                  <a:pt x="88" y="276"/>
                </a:lnTo>
                <a:lnTo>
                  <a:pt x="100" y="282"/>
                </a:lnTo>
                <a:lnTo>
                  <a:pt x="114" y="286"/>
                </a:lnTo>
                <a:lnTo>
                  <a:pt x="128" y="288"/>
                </a:lnTo>
                <a:lnTo>
                  <a:pt x="144" y="288"/>
                </a:lnTo>
                <a:lnTo>
                  <a:pt x="144" y="288"/>
                </a:lnTo>
                <a:lnTo>
                  <a:pt x="158" y="288"/>
                </a:lnTo>
                <a:lnTo>
                  <a:pt x="172" y="286"/>
                </a:lnTo>
                <a:lnTo>
                  <a:pt x="186" y="282"/>
                </a:lnTo>
                <a:lnTo>
                  <a:pt x="200" y="276"/>
                </a:lnTo>
                <a:lnTo>
                  <a:pt x="212" y="270"/>
                </a:lnTo>
                <a:lnTo>
                  <a:pt x="224" y="264"/>
                </a:lnTo>
                <a:lnTo>
                  <a:pt x="234" y="256"/>
                </a:lnTo>
                <a:lnTo>
                  <a:pt x="246" y="246"/>
                </a:lnTo>
                <a:lnTo>
                  <a:pt x="254" y="236"/>
                </a:lnTo>
                <a:lnTo>
                  <a:pt x="262" y="224"/>
                </a:lnTo>
                <a:lnTo>
                  <a:pt x="270" y="212"/>
                </a:lnTo>
                <a:lnTo>
                  <a:pt x="276" y="200"/>
                </a:lnTo>
                <a:lnTo>
                  <a:pt x="280" y="186"/>
                </a:lnTo>
                <a:lnTo>
                  <a:pt x="284" y="174"/>
                </a:lnTo>
                <a:lnTo>
                  <a:pt x="286" y="158"/>
                </a:lnTo>
                <a:lnTo>
                  <a:pt x="288" y="144"/>
                </a:lnTo>
                <a:lnTo>
                  <a:pt x="288" y="144"/>
                </a:lnTo>
                <a:lnTo>
                  <a:pt x="286" y="130"/>
                </a:lnTo>
                <a:lnTo>
                  <a:pt x="284" y="114"/>
                </a:lnTo>
                <a:lnTo>
                  <a:pt x="280" y="102"/>
                </a:lnTo>
                <a:lnTo>
                  <a:pt x="276" y="88"/>
                </a:lnTo>
                <a:lnTo>
                  <a:pt x="270" y="76"/>
                </a:lnTo>
                <a:lnTo>
                  <a:pt x="262" y="64"/>
                </a:lnTo>
                <a:lnTo>
                  <a:pt x="254" y="52"/>
                </a:lnTo>
                <a:lnTo>
                  <a:pt x="246" y="42"/>
                </a:lnTo>
                <a:lnTo>
                  <a:pt x="234" y="32"/>
                </a:lnTo>
                <a:lnTo>
                  <a:pt x="224" y="24"/>
                </a:lnTo>
                <a:lnTo>
                  <a:pt x="212" y="18"/>
                </a:lnTo>
                <a:lnTo>
                  <a:pt x="200" y="12"/>
                </a:lnTo>
                <a:lnTo>
                  <a:pt x="186" y="6"/>
                </a:lnTo>
                <a:lnTo>
                  <a:pt x="172" y="2"/>
                </a:lnTo>
                <a:lnTo>
                  <a:pt x="158" y="0"/>
                </a:lnTo>
                <a:lnTo>
                  <a:pt x="144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399" name="Freeform 139"/>
          <p:cNvSpPr>
            <a:spLocks/>
          </p:cNvSpPr>
          <p:nvPr userDrawn="1"/>
        </p:nvSpPr>
        <p:spPr bwMode="auto">
          <a:xfrm>
            <a:off x="1047545" y="2666981"/>
            <a:ext cx="197422" cy="182236"/>
          </a:xfrm>
          <a:custGeom>
            <a:avLst/>
            <a:gdLst/>
            <a:ahLst/>
            <a:cxnLst>
              <a:cxn ang="0">
                <a:pos x="50" y="0"/>
              </a:cxn>
              <a:cxn ang="0">
                <a:pos x="50" y="0"/>
              </a:cxn>
              <a:cxn ang="0">
                <a:pos x="40" y="0"/>
              </a:cxn>
              <a:cxn ang="0">
                <a:pos x="30" y="4"/>
              </a:cxn>
              <a:cxn ang="0">
                <a:pos x="22" y="8"/>
              </a:cxn>
              <a:cxn ang="0">
                <a:pos x="14" y="14"/>
              </a:cxn>
              <a:cxn ang="0">
                <a:pos x="8" y="22"/>
              </a:cxn>
              <a:cxn ang="0">
                <a:pos x="4" y="30"/>
              </a:cxn>
              <a:cxn ang="0">
                <a:pos x="2" y="38"/>
              </a:cxn>
              <a:cxn ang="0">
                <a:pos x="0" y="48"/>
              </a:cxn>
              <a:cxn ang="0">
                <a:pos x="0" y="48"/>
              </a:cxn>
              <a:cxn ang="0">
                <a:pos x="2" y="58"/>
              </a:cxn>
              <a:cxn ang="0">
                <a:pos x="4" y="68"/>
              </a:cxn>
              <a:cxn ang="0">
                <a:pos x="8" y="76"/>
              </a:cxn>
              <a:cxn ang="0">
                <a:pos x="14" y="84"/>
              </a:cxn>
              <a:cxn ang="0">
                <a:pos x="22" y="90"/>
              </a:cxn>
              <a:cxn ang="0">
                <a:pos x="30" y="94"/>
              </a:cxn>
              <a:cxn ang="0">
                <a:pos x="40" y="96"/>
              </a:cxn>
              <a:cxn ang="0">
                <a:pos x="50" y="98"/>
              </a:cxn>
              <a:cxn ang="0">
                <a:pos x="50" y="98"/>
              </a:cxn>
              <a:cxn ang="0">
                <a:pos x="60" y="96"/>
              </a:cxn>
              <a:cxn ang="0">
                <a:pos x="68" y="94"/>
              </a:cxn>
              <a:cxn ang="0">
                <a:pos x="78" y="90"/>
              </a:cxn>
              <a:cxn ang="0">
                <a:pos x="84" y="84"/>
              </a:cxn>
              <a:cxn ang="0">
                <a:pos x="90" y="76"/>
              </a:cxn>
              <a:cxn ang="0">
                <a:pos x="94" y="68"/>
              </a:cxn>
              <a:cxn ang="0">
                <a:pos x="98" y="58"/>
              </a:cxn>
              <a:cxn ang="0">
                <a:pos x="98" y="48"/>
              </a:cxn>
              <a:cxn ang="0">
                <a:pos x="98" y="48"/>
              </a:cxn>
              <a:cxn ang="0">
                <a:pos x="98" y="38"/>
              </a:cxn>
              <a:cxn ang="0">
                <a:pos x="94" y="30"/>
              </a:cxn>
              <a:cxn ang="0">
                <a:pos x="90" y="22"/>
              </a:cxn>
              <a:cxn ang="0">
                <a:pos x="84" y="14"/>
              </a:cxn>
              <a:cxn ang="0">
                <a:pos x="78" y="8"/>
              </a:cxn>
              <a:cxn ang="0">
                <a:pos x="68" y="4"/>
              </a:cxn>
              <a:cxn ang="0">
                <a:pos x="60" y="0"/>
              </a:cxn>
              <a:cxn ang="0">
                <a:pos x="50" y="0"/>
              </a:cxn>
            </a:cxnLst>
            <a:rect l="0" t="0" r="r" b="b"/>
            <a:pathLst>
              <a:path w="98" h="98">
                <a:moveTo>
                  <a:pt x="50" y="0"/>
                </a:moveTo>
                <a:lnTo>
                  <a:pt x="50" y="0"/>
                </a:lnTo>
                <a:lnTo>
                  <a:pt x="40" y="0"/>
                </a:lnTo>
                <a:lnTo>
                  <a:pt x="30" y="4"/>
                </a:lnTo>
                <a:lnTo>
                  <a:pt x="22" y="8"/>
                </a:lnTo>
                <a:lnTo>
                  <a:pt x="14" y="14"/>
                </a:lnTo>
                <a:lnTo>
                  <a:pt x="8" y="22"/>
                </a:lnTo>
                <a:lnTo>
                  <a:pt x="4" y="30"/>
                </a:lnTo>
                <a:lnTo>
                  <a:pt x="2" y="38"/>
                </a:lnTo>
                <a:lnTo>
                  <a:pt x="0" y="48"/>
                </a:lnTo>
                <a:lnTo>
                  <a:pt x="0" y="48"/>
                </a:lnTo>
                <a:lnTo>
                  <a:pt x="2" y="58"/>
                </a:lnTo>
                <a:lnTo>
                  <a:pt x="4" y="68"/>
                </a:lnTo>
                <a:lnTo>
                  <a:pt x="8" y="76"/>
                </a:lnTo>
                <a:lnTo>
                  <a:pt x="14" y="84"/>
                </a:lnTo>
                <a:lnTo>
                  <a:pt x="22" y="90"/>
                </a:lnTo>
                <a:lnTo>
                  <a:pt x="30" y="94"/>
                </a:lnTo>
                <a:lnTo>
                  <a:pt x="40" y="96"/>
                </a:lnTo>
                <a:lnTo>
                  <a:pt x="50" y="98"/>
                </a:lnTo>
                <a:lnTo>
                  <a:pt x="50" y="98"/>
                </a:lnTo>
                <a:lnTo>
                  <a:pt x="60" y="96"/>
                </a:lnTo>
                <a:lnTo>
                  <a:pt x="68" y="94"/>
                </a:lnTo>
                <a:lnTo>
                  <a:pt x="78" y="90"/>
                </a:lnTo>
                <a:lnTo>
                  <a:pt x="84" y="84"/>
                </a:lnTo>
                <a:lnTo>
                  <a:pt x="90" y="76"/>
                </a:lnTo>
                <a:lnTo>
                  <a:pt x="94" y="68"/>
                </a:lnTo>
                <a:lnTo>
                  <a:pt x="98" y="58"/>
                </a:lnTo>
                <a:lnTo>
                  <a:pt x="98" y="48"/>
                </a:lnTo>
                <a:lnTo>
                  <a:pt x="98" y="48"/>
                </a:lnTo>
                <a:lnTo>
                  <a:pt x="98" y="38"/>
                </a:lnTo>
                <a:lnTo>
                  <a:pt x="94" y="30"/>
                </a:lnTo>
                <a:lnTo>
                  <a:pt x="90" y="22"/>
                </a:lnTo>
                <a:lnTo>
                  <a:pt x="84" y="14"/>
                </a:lnTo>
                <a:lnTo>
                  <a:pt x="78" y="8"/>
                </a:lnTo>
                <a:lnTo>
                  <a:pt x="68" y="4"/>
                </a:lnTo>
                <a:lnTo>
                  <a:pt x="60" y="0"/>
                </a:lnTo>
                <a:lnTo>
                  <a:pt x="50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400" name="Freeform 140"/>
          <p:cNvSpPr>
            <a:spLocks/>
          </p:cNvSpPr>
          <p:nvPr userDrawn="1"/>
        </p:nvSpPr>
        <p:spPr bwMode="auto">
          <a:xfrm>
            <a:off x="1047545" y="2666981"/>
            <a:ext cx="197422" cy="182236"/>
          </a:xfrm>
          <a:custGeom>
            <a:avLst/>
            <a:gdLst/>
            <a:ahLst/>
            <a:cxnLst>
              <a:cxn ang="0">
                <a:pos x="50" y="0"/>
              </a:cxn>
              <a:cxn ang="0">
                <a:pos x="50" y="0"/>
              </a:cxn>
              <a:cxn ang="0">
                <a:pos x="40" y="0"/>
              </a:cxn>
              <a:cxn ang="0">
                <a:pos x="30" y="4"/>
              </a:cxn>
              <a:cxn ang="0">
                <a:pos x="22" y="8"/>
              </a:cxn>
              <a:cxn ang="0">
                <a:pos x="14" y="14"/>
              </a:cxn>
              <a:cxn ang="0">
                <a:pos x="8" y="22"/>
              </a:cxn>
              <a:cxn ang="0">
                <a:pos x="4" y="30"/>
              </a:cxn>
              <a:cxn ang="0">
                <a:pos x="2" y="38"/>
              </a:cxn>
              <a:cxn ang="0">
                <a:pos x="0" y="48"/>
              </a:cxn>
              <a:cxn ang="0">
                <a:pos x="0" y="48"/>
              </a:cxn>
              <a:cxn ang="0">
                <a:pos x="2" y="58"/>
              </a:cxn>
              <a:cxn ang="0">
                <a:pos x="4" y="68"/>
              </a:cxn>
              <a:cxn ang="0">
                <a:pos x="8" y="76"/>
              </a:cxn>
              <a:cxn ang="0">
                <a:pos x="14" y="84"/>
              </a:cxn>
              <a:cxn ang="0">
                <a:pos x="22" y="90"/>
              </a:cxn>
              <a:cxn ang="0">
                <a:pos x="30" y="94"/>
              </a:cxn>
              <a:cxn ang="0">
                <a:pos x="40" y="96"/>
              </a:cxn>
              <a:cxn ang="0">
                <a:pos x="50" y="98"/>
              </a:cxn>
              <a:cxn ang="0">
                <a:pos x="50" y="98"/>
              </a:cxn>
              <a:cxn ang="0">
                <a:pos x="60" y="96"/>
              </a:cxn>
              <a:cxn ang="0">
                <a:pos x="68" y="94"/>
              </a:cxn>
              <a:cxn ang="0">
                <a:pos x="78" y="90"/>
              </a:cxn>
              <a:cxn ang="0">
                <a:pos x="84" y="84"/>
              </a:cxn>
              <a:cxn ang="0">
                <a:pos x="90" y="76"/>
              </a:cxn>
              <a:cxn ang="0">
                <a:pos x="94" y="68"/>
              </a:cxn>
              <a:cxn ang="0">
                <a:pos x="98" y="58"/>
              </a:cxn>
              <a:cxn ang="0">
                <a:pos x="98" y="48"/>
              </a:cxn>
              <a:cxn ang="0">
                <a:pos x="98" y="48"/>
              </a:cxn>
              <a:cxn ang="0">
                <a:pos x="98" y="38"/>
              </a:cxn>
              <a:cxn ang="0">
                <a:pos x="94" y="30"/>
              </a:cxn>
              <a:cxn ang="0">
                <a:pos x="90" y="22"/>
              </a:cxn>
              <a:cxn ang="0">
                <a:pos x="84" y="14"/>
              </a:cxn>
              <a:cxn ang="0">
                <a:pos x="78" y="8"/>
              </a:cxn>
              <a:cxn ang="0">
                <a:pos x="68" y="4"/>
              </a:cxn>
              <a:cxn ang="0">
                <a:pos x="60" y="0"/>
              </a:cxn>
              <a:cxn ang="0">
                <a:pos x="50" y="0"/>
              </a:cxn>
            </a:cxnLst>
            <a:rect l="0" t="0" r="r" b="b"/>
            <a:pathLst>
              <a:path w="98" h="98">
                <a:moveTo>
                  <a:pt x="50" y="0"/>
                </a:moveTo>
                <a:lnTo>
                  <a:pt x="50" y="0"/>
                </a:lnTo>
                <a:lnTo>
                  <a:pt x="40" y="0"/>
                </a:lnTo>
                <a:lnTo>
                  <a:pt x="30" y="4"/>
                </a:lnTo>
                <a:lnTo>
                  <a:pt x="22" y="8"/>
                </a:lnTo>
                <a:lnTo>
                  <a:pt x="14" y="14"/>
                </a:lnTo>
                <a:lnTo>
                  <a:pt x="8" y="22"/>
                </a:lnTo>
                <a:lnTo>
                  <a:pt x="4" y="30"/>
                </a:lnTo>
                <a:lnTo>
                  <a:pt x="2" y="38"/>
                </a:lnTo>
                <a:lnTo>
                  <a:pt x="0" y="48"/>
                </a:lnTo>
                <a:lnTo>
                  <a:pt x="0" y="48"/>
                </a:lnTo>
                <a:lnTo>
                  <a:pt x="2" y="58"/>
                </a:lnTo>
                <a:lnTo>
                  <a:pt x="4" y="68"/>
                </a:lnTo>
                <a:lnTo>
                  <a:pt x="8" y="76"/>
                </a:lnTo>
                <a:lnTo>
                  <a:pt x="14" y="84"/>
                </a:lnTo>
                <a:lnTo>
                  <a:pt x="22" y="90"/>
                </a:lnTo>
                <a:lnTo>
                  <a:pt x="30" y="94"/>
                </a:lnTo>
                <a:lnTo>
                  <a:pt x="40" y="96"/>
                </a:lnTo>
                <a:lnTo>
                  <a:pt x="50" y="98"/>
                </a:lnTo>
                <a:lnTo>
                  <a:pt x="50" y="98"/>
                </a:lnTo>
                <a:lnTo>
                  <a:pt x="60" y="96"/>
                </a:lnTo>
                <a:lnTo>
                  <a:pt x="68" y="94"/>
                </a:lnTo>
                <a:lnTo>
                  <a:pt x="78" y="90"/>
                </a:lnTo>
                <a:lnTo>
                  <a:pt x="84" y="84"/>
                </a:lnTo>
                <a:lnTo>
                  <a:pt x="90" y="76"/>
                </a:lnTo>
                <a:lnTo>
                  <a:pt x="94" y="68"/>
                </a:lnTo>
                <a:lnTo>
                  <a:pt x="98" y="58"/>
                </a:lnTo>
                <a:lnTo>
                  <a:pt x="98" y="48"/>
                </a:lnTo>
                <a:lnTo>
                  <a:pt x="98" y="48"/>
                </a:lnTo>
                <a:lnTo>
                  <a:pt x="98" y="38"/>
                </a:lnTo>
                <a:lnTo>
                  <a:pt x="94" y="30"/>
                </a:lnTo>
                <a:lnTo>
                  <a:pt x="90" y="22"/>
                </a:lnTo>
                <a:lnTo>
                  <a:pt x="84" y="14"/>
                </a:lnTo>
                <a:lnTo>
                  <a:pt x="78" y="8"/>
                </a:lnTo>
                <a:lnTo>
                  <a:pt x="68" y="4"/>
                </a:lnTo>
                <a:lnTo>
                  <a:pt x="60" y="0"/>
                </a:lnTo>
                <a:lnTo>
                  <a:pt x="50" y="0"/>
                </a:lnTo>
              </a:path>
            </a:pathLst>
          </a:custGeom>
          <a:solidFill>
            <a:srgbClr val="CC0066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401" name="Freeform 141"/>
          <p:cNvSpPr>
            <a:spLocks/>
          </p:cNvSpPr>
          <p:nvPr userDrawn="1"/>
        </p:nvSpPr>
        <p:spPr bwMode="auto">
          <a:xfrm>
            <a:off x="2183731" y="584288"/>
            <a:ext cx="80581" cy="74382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20" y="0"/>
              </a:cxn>
              <a:cxn ang="0">
                <a:pos x="12" y="2"/>
              </a:cxn>
              <a:cxn ang="0">
                <a:pos x="6" y="6"/>
              </a:cxn>
              <a:cxn ang="0">
                <a:pos x="2" y="12"/>
              </a:cxn>
              <a:cxn ang="0">
                <a:pos x="0" y="20"/>
              </a:cxn>
              <a:cxn ang="0">
                <a:pos x="0" y="20"/>
              </a:cxn>
              <a:cxn ang="0">
                <a:pos x="2" y="28"/>
              </a:cxn>
              <a:cxn ang="0">
                <a:pos x="6" y="34"/>
              </a:cxn>
              <a:cxn ang="0">
                <a:pos x="12" y="38"/>
              </a:cxn>
              <a:cxn ang="0">
                <a:pos x="20" y="40"/>
              </a:cxn>
              <a:cxn ang="0">
                <a:pos x="20" y="40"/>
              </a:cxn>
              <a:cxn ang="0">
                <a:pos x="28" y="38"/>
              </a:cxn>
              <a:cxn ang="0">
                <a:pos x="34" y="34"/>
              </a:cxn>
              <a:cxn ang="0">
                <a:pos x="38" y="28"/>
              </a:cxn>
              <a:cxn ang="0">
                <a:pos x="40" y="20"/>
              </a:cxn>
              <a:cxn ang="0">
                <a:pos x="40" y="20"/>
              </a:cxn>
              <a:cxn ang="0">
                <a:pos x="38" y="12"/>
              </a:cxn>
              <a:cxn ang="0">
                <a:pos x="34" y="6"/>
              </a:cxn>
              <a:cxn ang="0">
                <a:pos x="28" y="2"/>
              </a:cxn>
              <a:cxn ang="0">
                <a:pos x="20" y="0"/>
              </a:cxn>
            </a:cxnLst>
            <a:rect l="0" t="0" r="r" b="b"/>
            <a:pathLst>
              <a:path w="40" h="40">
                <a:moveTo>
                  <a:pt x="20" y="0"/>
                </a:moveTo>
                <a:lnTo>
                  <a:pt x="20" y="0"/>
                </a:lnTo>
                <a:lnTo>
                  <a:pt x="12" y="2"/>
                </a:lnTo>
                <a:lnTo>
                  <a:pt x="6" y="6"/>
                </a:lnTo>
                <a:lnTo>
                  <a:pt x="2" y="12"/>
                </a:lnTo>
                <a:lnTo>
                  <a:pt x="0" y="20"/>
                </a:lnTo>
                <a:lnTo>
                  <a:pt x="0" y="20"/>
                </a:lnTo>
                <a:lnTo>
                  <a:pt x="2" y="28"/>
                </a:lnTo>
                <a:lnTo>
                  <a:pt x="6" y="34"/>
                </a:lnTo>
                <a:lnTo>
                  <a:pt x="12" y="38"/>
                </a:lnTo>
                <a:lnTo>
                  <a:pt x="20" y="40"/>
                </a:lnTo>
                <a:lnTo>
                  <a:pt x="20" y="40"/>
                </a:lnTo>
                <a:lnTo>
                  <a:pt x="28" y="38"/>
                </a:lnTo>
                <a:lnTo>
                  <a:pt x="34" y="34"/>
                </a:lnTo>
                <a:lnTo>
                  <a:pt x="38" y="28"/>
                </a:lnTo>
                <a:lnTo>
                  <a:pt x="40" y="20"/>
                </a:lnTo>
                <a:lnTo>
                  <a:pt x="40" y="20"/>
                </a:lnTo>
                <a:lnTo>
                  <a:pt x="38" y="12"/>
                </a:lnTo>
                <a:lnTo>
                  <a:pt x="34" y="6"/>
                </a:lnTo>
                <a:lnTo>
                  <a:pt x="28" y="2"/>
                </a:lnTo>
                <a:lnTo>
                  <a:pt x="20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402" name="Freeform 142"/>
          <p:cNvSpPr>
            <a:spLocks/>
          </p:cNvSpPr>
          <p:nvPr userDrawn="1"/>
        </p:nvSpPr>
        <p:spPr bwMode="auto">
          <a:xfrm>
            <a:off x="2183731" y="584288"/>
            <a:ext cx="80581" cy="74382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20" y="0"/>
              </a:cxn>
              <a:cxn ang="0">
                <a:pos x="12" y="2"/>
              </a:cxn>
              <a:cxn ang="0">
                <a:pos x="6" y="6"/>
              </a:cxn>
              <a:cxn ang="0">
                <a:pos x="2" y="12"/>
              </a:cxn>
              <a:cxn ang="0">
                <a:pos x="0" y="20"/>
              </a:cxn>
              <a:cxn ang="0">
                <a:pos x="0" y="20"/>
              </a:cxn>
              <a:cxn ang="0">
                <a:pos x="2" y="28"/>
              </a:cxn>
              <a:cxn ang="0">
                <a:pos x="6" y="34"/>
              </a:cxn>
              <a:cxn ang="0">
                <a:pos x="12" y="38"/>
              </a:cxn>
              <a:cxn ang="0">
                <a:pos x="20" y="40"/>
              </a:cxn>
              <a:cxn ang="0">
                <a:pos x="20" y="40"/>
              </a:cxn>
              <a:cxn ang="0">
                <a:pos x="28" y="38"/>
              </a:cxn>
              <a:cxn ang="0">
                <a:pos x="34" y="34"/>
              </a:cxn>
              <a:cxn ang="0">
                <a:pos x="38" y="28"/>
              </a:cxn>
              <a:cxn ang="0">
                <a:pos x="40" y="20"/>
              </a:cxn>
              <a:cxn ang="0">
                <a:pos x="40" y="20"/>
              </a:cxn>
              <a:cxn ang="0">
                <a:pos x="38" y="12"/>
              </a:cxn>
              <a:cxn ang="0">
                <a:pos x="34" y="6"/>
              </a:cxn>
              <a:cxn ang="0">
                <a:pos x="28" y="2"/>
              </a:cxn>
              <a:cxn ang="0">
                <a:pos x="20" y="0"/>
              </a:cxn>
            </a:cxnLst>
            <a:rect l="0" t="0" r="r" b="b"/>
            <a:pathLst>
              <a:path w="40" h="40">
                <a:moveTo>
                  <a:pt x="20" y="0"/>
                </a:moveTo>
                <a:lnTo>
                  <a:pt x="20" y="0"/>
                </a:lnTo>
                <a:lnTo>
                  <a:pt x="12" y="2"/>
                </a:lnTo>
                <a:lnTo>
                  <a:pt x="6" y="6"/>
                </a:lnTo>
                <a:lnTo>
                  <a:pt x="2" y="12"/>
                </a:lnTo>
                <a:lnTo>
                  <a:pt x="0" y="20"/>
                </a:lnTo>
                <a:lnTo>
                  <a:pt x="0" y="20"/>
                </a:lnTo>
                <a:lnTo>
                  <a:pt x="2" y="28"/>
                </a:lnTo>
                <a:lnTo>
                  <a:pt x="6" y="34"/>
                </a:lnTo>
                <a:lnTo>
                  <a:pt x="12" y="38"/>
                </a:lnTo>
                <a:lnTo>
                  <a:pt x="20" y="40"/>
                </a:lnTo>
                <a:lnTo>
                  <a:pt x="20" y="40"/>
                </a:lnTo>
                <a:lnTo>
                  <a:pt x="28" y="38"/>
                </a:lnTo>
                <a:lnTo>
                  <a:pt x="34" y="34"/>
                </a:lnTo>
                <a:lnTo>
                  <a:pt x="38" y="28"/>
                </a:lnTo>
                <a:lnTo>
                  <a:pt x="40" y="20"/>
                </a:lnTo>
                <a:lnTo>
                  <a:pt x="40" y="20"/>
                </a:lnTo>
                <a:lnTo>
                  <a:pt x="38" y="12"/>
                </a:lnTo>
                <a:lnTo>
                  <a:pt x="34" y="6"/>
                </a:lnTo>
                <a:lnTo>
                  <a:pt x="28" y="2"/>
                </a:lnTo>
                <a:lnTo>
                  <a:pt x="2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403" name="Freeform 143"/>
          <p:cNvSpPr>
            <a:spLocks/>
          </p:cNvSpPr>
          <p:nvPr userDrawn="1"/>
        </p:nvSpPr>
        <p:spPr bwMode="auto">
          <a:xfrm>
            <a:off x="2" y="1056613"/>
            <a:ext cx="463337" cy="427696"/>
          </a:xfrm>
          <a:custGeom>
            <a:avLst/>
            <a:gdLst/>
            <a:ahLst/>
            <a:cxnLst>
              <a:cxn ang="0">
                <a:pos x="116" y="0"/>
              </a:cxn>
              <a:cxn ang="0">
                <a:pos x="116" y="0"/>
              </a:cxn>
              <a:cxn ang="0">
                <a:pos x="92" y="2"/>
              </a:cxn>
              <a:cxn ang="0">
                <a:pos x="70" y="8"/>
              </a:cxn>
              <a:cxn ang="0">
                <a:pos x="50" y="18"/>
              </a:cxn>
              <a:cxn ang="0">
                <a:pos x="34" y="34"/>
              </a:cxn>
              <a:cxn ang="0">
                <a:pos x="20" y="50"/>
              </a:cxn>
              <a:cxn ang="0">
                <a:pos x="10" y="70"/>
              </a:cxn>
              <a:cxn ang="0">
                <a:pos x="2" y="92"/>
              </a:cxn>
              <a:cxn ang="0">
                <a:pos x="0" y="114"/>
              </a:cxn>
              <a:cxn ang="0">
                <a:pos x="0" y="114"/>
              </a:cxn>
              <a:cxn ang="0">
                <a:pos x="2" y="138"/>
              </a:cxn>
              <a:cxn ang="0">
                <a:pos x="10" y="160"/>
              </a:cxn>
              <a:cxn ang="0">
                <a:pos x="20" y="178"/>
              </a:cxn>
              <a:cxn ang="0">
                <a:pos x="34" y="196"/>
              </a:cxn>
              <a:cxn ang="0">
                <a:pos x="50" y="210"/>
              </a:cxn>
              <a:cxn ang="0">
                <a:pos x="70" y="220"/>
              </a:cxn>
              <a:cxn ang="0">
                <a:pos x="92" y="228"/>
              </a:cxn>
              <a:cxn ang="0">
                <a:pos x="116" y="230"/>
              </a:cxn>
              <a:cxn ang="0">
                <a:pos x="116" y="230"/>
              </a:cxn>
              <a:cxn ang="0">
                <a:pos x="138" y="228"/>
              </a:cxn>
              <a:cxn ang="0">
                <a:pos x="160" y="220"/>
              </a:cxn>
              <a:cxn ang="0">
                <a:pos x="180" y="210"/>
              </a:cxn>
              <a:cxn ang="0">
                <a:pos x="196" y="196"/>
              </a:cxn>
              <a:cxn ang="0">
                <a:pos x="210" y="178"/>
              </a:cxn>
              <a:cxn ang="0">
                <a:pos x="222" y="160"/>
              </a:cxn>
              <a:cxn ang="0">
                <a:pos x="228" y="138"/>
              </a:cxn>
              <a:cxn ang="0">
                <a:pos x="230" y="114"/>
              </a:cxn>
              <a:cxn ang="0">
                <a:pos x="230" y="114"/>
              </a:cxn>
              <a:cxn ang="0">
                <a:pos x="228" y="92"/>
              </a:cxn>
              <a:cxn ang="0">
                <a:pos x="222" y="70"/>
              </a:cxn>
              <a:cxn ang="0">
                <a:pos x="210" y="50"/>
              </a:cxn>
              <a:cxn ang="0">
                <a:pos x="196" y="34"/>
              </a:cxn>
              <a:cxn ang="0">
                <a:pos x="180" y="18"/>
              </a:cxn>
              <a:cxn ang="0">
                <a:pos x="160" y="8"/>
              </a:cxn>
              <a:cxn ang="0">
                <a:pos x="138" y="2"/>
              </a:cxn>
              <a:cxn ang="0">
                <a:pos x="116" y="0"/>
              </a:cxn>
            </a:cxnLst>
            <a:rect l="0" t="0" r="r" b="b"/>
            <a:pathLst>
              <a:path w="230" h="230">
                <a:moveTo>
                  <a:pt x="116" y="0"/>
                </a:moveTo>
                <a:lnTo>
                  <a:pt x="116" y="0"/>
                </a:lnTo>
                <a:lnTo>
                  <a:pt x="92" y="2"/>
                </a:lnTo>
                <a:lnTo>
                  <a:pt x="70" y="8"/>
                </a:lnTo>
                <a:lnTo>
                  <a:pt x="50" y="18"/>
                </a:lnTo>
                <a:lnTo>
                  <a:pt x="34" y="34"/>
                </a:lnTo>
                <a:lnTo>
                  <a:pt x="20" y="50"/>
                </a:lnTo>
                <a:lnTo>
                  <a:pt x="10" y="70"/>
                </a:lnTo>
                <a:lnTo>
                  <a:pt x="2" y="92"/>
                </a:lnTo>
                <a:lnTo>
                  <a:pt x="0" y="114"/>
                </a:lnTo>
                <a:lnTo>
                  <a:pt x="0" y="114"/>
                </a:lnTo>
                <a:lnTo>
                  <a:pt x="2" y="138"/>
                </a:lnTo>
                <a:lnTo>
                  <a:pt x="10" y="160"/>
                </a:lnTo>
                <a:lnTo>
                  <a:pt x="20" y="178"/>
                </a:lnTo>
                <a:lnTo>
                  <a:pt x="34" y="196"/>
                </a:lnTo>
                <a:lnTo>
                  <a:pt x="50" y="210"/>
                </a:lnTo>
                <a:lnTo>
                  <a:pt x="70" y="220"/>
                </a:lnTo>
                <a:lnTo>
                  <a:pt x="92" y="228"/>
                </a:lnTo>
                <a:lnTo>
                  <a:pt x="116" y="230"/>
                </a:lnTo>
                <a:lnTo>
                  <a:pt x="116" y="230"/>
                </a:lnTo>
                <a:lnTo>
                  <a:pt x="138" y="228"/>
                </a:lnTo>
                <a:lnTo>
                  <a:pt x="160" y="220"/>
                </a:lnTo>
                <a:lnTo>
                  <a:pt x="180" y="210"/>
                </a:lnTo>
                <a:lnTo>
                  <a:pt x="196" y="196"/>
                </a:lnTo>
                <a:lnTo>
                  <a:pt x="210" y="178"/>
                </a:lnTo>
                <a:lnTo>
                  <a:pt x="222" y="160"/>
                </a:lnTo>
                <a:lnTo>
                  <a:pt x="228" y="138"/>
                </a:lnTo>
                <a:lnTo>
                  <a:pt x="230" y="114"/>
                </a:lnTo>
                <a:lnTo>
                  <a:pt x="230" y="114"/>
                </a:lnTo>
                <a:lnTo>
                  <a:pt x="228" y="92"/>
                </a:lnTo>
                <a:lnTo>
                  <a:pt x="222" y="70"/>
                </a:lnTo>
                <a:lnTo>
                  <a:pt x="210" y="50"/>
                </a:lnTo>
                <a:lnTo>
                  <a:pt x="196" y="34"/>
                </a:lnTo>
                <a:lnTo>
                  <a:pt x="180" y="18"/>
                </a:lnTo>
                <a:lnTo>
                  <a:pt x="160" y="8"/>
                </a:lnTo>
                <a:lnTo>
                  <a:pt x="138" y="2"/>
                </a:lnTo>
                <a:lnTo>
                  <a:pt x="116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404" name="Freeform 144"/>
          <p:cNvSpPr>
            <a:spLocks/>
          </p:cNvSpPr>
          <p:nvPr userDrawn="1"/>
        </p:nvSpPr>
        <p:spPr bwMode="auto">
          <a:xfrm>
            <a:off x="2" y="1056613"/>
            <a:ext cx="463337" cy="427696"/>
          </a:xfrm>
          <a:custGeom>
            <a:avLst/>
            <a:gdLst/>
            <a:ahLst/>
            <a:cxnLst>
              <a:cxn ang="0">
                <a:pos x="116" y="0"/>
              </a:cxn>
              <a:cxn ang="0">
                <a:pos x="116" y="0"/>
              </a:cxn>
              <a:cxn ang="0">
                <a:pos x="92" y="2"/>
              </a:cxn>
              <a:cxn ang="0">
                <a:pos x="70" y="8"/>
              </a:cxn>
              <a:cxn ang="0">
                <a:pos x="50" y="18"/>
              </a:cxn>
              <a:cxn ang="0">
                <a:pos x="34" y="34"/>
              </a:cxn>
              <a:cxn ang="0">
                <a:pos x="20" y="50"/>
              </a:cxn>
              <a:cxn ang="0">
                <a:pos x="10" y="70"/>
              </a:cxn>
              <a:cxn ang="0">
                <a:pos x="2" y="92"/>
              </a:cxn>
              <a:cxn ang="0">
                <a:pos x="0" y="114"/>
              </a:cxn>
              <a:cxn ang="0">
                <a:pos x="0" y="114"/>
              </a:cxn>
              <a:cxn ang="0">
                <a:pos x="2" y="138"/>
              </a:cxn>
              <a:cxn ang="0">
                <a:pos x="10" y="160"/>
              </a:cxn>
              <a:cxn ang="0">
                <a:pos x="20" y="178"/>
              </a:cxn>
              <a:cxn ang="0">
                <a:pos x="34" y="196"/>
              </a:cxn>
              <a:cxn ang="0">
                <a:pos x="50" y="210"/>
              </a:cxn>
              <a:cxn ang="0">
                <a:pos x="70" y="220"/>
              </a:cxn>
              <a:cxn ang="0">
                <a:pos x="92" y="228"/>
              </a:cxn>
              <a:cxn ang="0">
                <a:pos x="116" y="230"/>
              </a:cxn>
              <a:cxn ang="0">
                <a:pos x="116" y="230"/>
              </a:cxn>
              <a:cxn ang="0">
                <a:pos x="138" y="228"/>
              </a:cxn>
              <a:cxn ang="0">
                <a:pos x="160" y="220"/>
              </a:cxn>
              <a:cxn ang="0">
                <a:pos x="180" y="210"/>
              </a:cxn>
              <a:cxn ang="0">
                <a:pos x="196" y="196"/>
              </a:cxn>
              <a:cxn ang="0">
                <a:pos x="210" y="178"/>
              </a:cxn>
              <a:cxn ang="0">
                <a:pos x="222" y="160"/>
              </a:cxn>
              <a:cxn ang="0">
                <a:pos x="228" y="138"/>
              </a:cxn>
              <a:cxn ang="0">
                <a:pos x="230" y="114"/>
              </a:cxn>
              <a:cxn ang="0">
                <a:pos x="230" y="114"/>
              </a:cxn>
              <a:cxn ang="0">
                <a:pos x="228" y="92"/>
              </a:cxn>
              <a:cxn ang="0">
                <a:pos x="222" y="70"/>
              </a:cxn>
              <a:cxn ang="0">
                <a:pos x="210" y="50"/>
              </a:cxn>
              <a:cxn ang="0">
                <a:pos x="196" y="34"/>
              </a:cxn>
              <a:cxn ang="0">
                <a:pos x="180" y="18"/>
              </a:cxn>
              <a:cxn ang="0">
                <a:pos x="160" y="8"/>
              </a:cxn>
              <a:cxn ang="0">
                <a:pos x="138" y="2"/>
              </a:cxn>
              <a:cxn ang="0">
                <a:pos x="116" y="0"/>
              </a:cxn>
            </a:cxnLst>
            <a:rect l="0" t="0" r="r" b="b"/>
            <a:pathLst>
              <a:path w="230" h="230">
                <a:moveTo>
                  <a:pt x="116" y="0"/>
                </a:moveTo>
                <a:lnTo>
                  <a:pt x="116" y="0"/>
                </a:lnTo>
                <a:lnTo>
                  <a:pt x="92" y="2"/>
                </a:lnTo>
                <a:lnTo>
                  <a:pt x="70" y="8"/>
                </a:lnTo>
                <a:lnTo>
                  <a:pt x="50" y="18"/>
                </a:lnTo>
                <a:lnTo>
                  <a:pt x="34" y="34"/>
                </a:lnTo>
                <a:lnTo>
                  <a:pt x="20" y="50"/>
                </a:lnTo>
                <a:lnTo>
                  <a:pt x="10" y="70"/>
                </a:lnTo>
                <a:lnTo>
                  <a:pt x="2" y="92"/>
                </a:lnTo>
                <a:lnTo>
                  <a:pt x="0" y="114"/>
                </a:lnTo>
                <a:lnTo>
                  <a:pt x="0" y="114"/>
                </a:lnTo>
                <a:lnTo>
                  <a:pt x="2" y="138"/>
                </a:lnTo>
                <a:lnTo>
                  <a:pt x="10" y="160"/>
                </a:lnTo>
                <a:lnTo>
                  <a:pt x="20" y="178"/>
                </a:lnTo>
                <a:lnTo>
                  <a:pt x="34" y="196"/>
                </a:lnTo>
                <a:lnTo>
                  <a:pt x="50" y="210"/>
                </a:lnTo>
                <a:lnTo>
                  <a:pt x="70" y="220"/>
                </a:lnTo>
                <a:lnTo>
                  <a:pt x="92" y="228"/>
                </a:lnTo>
                <a:lnTo>
                  <a:pt x="116" y="230"/>
                </a:lnTo>
                <a:lnTo>
                  <a:pt x="116" y="230"/>
                </a:lnTo>
                <a:lnTo>
                  <a:pt x="138" y="228"/>
                </a:lnTo>
                <a:lnTo>
                  <a:pt x="160" y="220"/>
                </a:lnTo>
                <a:lnTo>
                  <a:pt x="180" y="210"/>
                </a:lnTo>
                <a:lnTo>
                  <a:pt x="196" y="196"/>
                </a:lnTo>
                <a:lnTo>
                  <a:pt x="210" y="178"/>
                </a:lnTo>
                <a:lnTo>
                  <a:pt x="222" y="160"/>
                </a:lnTo>
                <a:lnTo>
                  <a:pt x="228" y="138"/>
                </a:lnTo>
                <a:lnTo>
                  <a:pt x="230" y="114"/>
                </a:lnTo>
                <a:lnTo>
                  <a:pt x="230" y="114"/>
                </a:lnTo>
                <a:lnTo>
                  <a:pt x="228" y="92"/>
                </a:lnTo>
                <a:lnTo>
                  <a:pt x="222" y="70"/>
                </a:lnTo>
                <a:lnTo>
                  <a:pt x="210" y="50"/>
                </a:lnTo>
                <a:lnTo>
                  <a:pt x="196" y="34"/>
                </a:lnTo>
                <a:lnTo>
                  <a:pt x="180" y="18"/>
                </a:lnTo>
                <a:lnTo>
                  <a:pt x="160" y="8"/>
                </a:lnTo>
                <a:lnTo>
                  <a:pt x="138" y="2"/>
                </a:lnTo>
                <a:lnTo>
                  <a:pt x="116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405" name="Freeform 145"/>
          <p:cNvSpPr>
            <a:spLocks/>
          </p:cNvSpPr>
          <p:nvPr userDrawn="1"/>
        </p:nvSpPr>
        <p:spPr bwMode="auto">
          <a:xfrm>
            <a:off x="2832400" y="1469433"/>
            <a:ext cx="697020" cy="639684"/>
          </a:xfrm>
          <a:custGeom>
            <a:avLst/>
            <a:gdLst/>
            <a:ahLst/>
            <a:cxnLst>
              <a:cxn ang="0">
                <a:pos x="174" y="0"/>
              </a:cxn>
              <a:cxn ang="0">
                <a:pos x="138" y="4"/>
              </a:cxn>
              <a:cxn ang="0">
                <a:pos x="106" y="14"/>
              </a:cxn>
              <a:cxn ang="0">
                <a:pos x="76" y="30"/>
              </a:cxn>
              <a:cxn ang="0">
                <a:pos x="52" y="50"/>
              </a:cxn>
              <a:cxn ang="0">
                <a:pos x="30" y="76"/>
              </a:cxn>
              <a:cxn ang="0">
                <a:pos x="14" y="106"/>
              </a:cxn>
              <a:cxn ang="0">
                <a:pos x="4" y="138"/>
              </a:cxn>
              <a:cxn ang="0">
                <a:pos x="0" y="172"/>
              </a:cxn>
              <a:cxn ang="0">
                <a:pos x="2" y="190"/>
              </a:cxn>
              <a:cxn ang="0">
                <a:pos x="8" y="224"/>
              </a:cxn>
              <a:cxn ang="0">
                <a:pos x="22" y="254"/>
              </a:cxn>
              <a:cxn ang="0">
                <a:pos x="40" y="282"/>
              </a:cxn>
              <a:cxn ang="0">
                <a:pos x="64" y="306"/>
              </a:cxn>
              <a:cxn ang="0">
                <a:pos x="90" y="324"/>
              </a:cxn>
              <a:cxn ang="0">
                <a:pos x="122" y="338"/>
              </a:cxn>
              <a:cxn ang="0">
                <a:pos x="156" y="344"/>
              </a:cxn>
              <a:cxn ang="0">
                <a:pos x="174" y="344"/>
              </a:cxn>
              <a:cxn ang="0">
                <a:pos x="208" y="342"/>
              </a:cxn>
              <a:cxn ang="0">
                <a:pos x="240" y="332"/>
              </a:cxn>
              <a:cxn ang="0">
                <a:pos x="270" y="316"/>
              </a:cxn>
              <a:cxn ang="0">
                <a:pos x="296" y="294"/>
              </a:cxn>
              <a:cxn ang="0">
                <a:pos x="316" y="268"/>
              </a:cxn>
              <a:cxn ang="0">
                <a:pos x="332" y="240"/>
              </a:cxn>
              <a:cxn ang="0">
                <a:pos x="342" y="208"/>
              </a:cxn>
              <a:cxn ang="0">
                <a:pos x="346" y="172"/>
              </a:cxn>
              <a:cxn ang="0">
                <a:pos x="344" y="154"/>
              </a:cxn>
              <a:cxn ang="0">
                <a:pos x="338" y="122"/>
              </a:cxn>
              <a:cxn ang="0">
                <a:pos x="324" y="90"/>
              </a:cxn>
              <a:cxn ang="0">
                <a:pos x="306" y="62"/>
              </a:cxn>
              <a:cxn ang="0">
                <a:pos x="282" y="40"/>
              </a:cxn>
              <a:cxn ang="0">
                <a:pos x="256" y="20"/>
              </a:cxn>
              <a:cxn ang="0">
                <a:pos x="224" y="8"/>
              </a:cxn>
              <a:cxn ang="0">
                <a:pos x="190" y="0"/>
              </a:cxn>
            </a:cxnLst>
            <a:rect l="0" t="0" r="r" b="b"/>
            <a:pathLst>
              <a:path w="346" h="344">
                <a:moveTo>
                  <a:pt x="174" y="0"/>
                </a:moveTo>
                <a:lnTo>
                  <a:pt x="174" y="0"/>
                </a:lnTo>
                <a:lnTo>
                  <a:pt x="156" y="0"/>
                </a:lnTo>
                <a:lnTo>
                  <a:pt x="138" y="4"/>
                </a:lnTo>
                <a:lnTo>
                  <a:pt x="122" y="8"/>
                </a:lnTo>
                <a:lnTo>
                  <a:pt x="106" y="14"/>
                </a:lnTo>
                <a:lnTo>
                  <a:pt x="90" y="20"/>
                </a:lnTo>
                <a:lnTo>
                  <a:pt x="76" y="30"/>
                </a:lnTo>
                <a:lnTo>
                  <a:pt x="64" y="40"/>
                </a:lnTo>
                <a:lnTo>
                  <a:pt x="52" y="50"/>
                </a:lnTo>
                <a:lnTo>
                  <a:pt x="40" y="62"/>
                </a:lnTo>
                <a:lnTo>
                  <a:pt x="30" y="76"/>
                </a:lnTo>
                <a:lnTo>
                  <a:pt x="22" y="90"/>
                </a:lnTo>
                <a:lnTo>
                  <a:pt x="14" y="106"/>
                </a:lnTo>
                <a:lnTo>
                  <a:pt x="8" y="122"/>
                </a:lnTo>
                <a:lnTo>
                  <a:pt x="4" y="138"/>
                </a:lnTo>
                <a:lnTo>
                  <a:pt x="2" y="154"/>
                </a:lnTo>
                <a:lnTo>
                  <a:pt x="0" y="172"/>
                </a:lnTo>
                <a:lnTo>
                  <a:pt x="0" y="172"/>
                </a:lnTo>
                <a:lnTo>
                  <a:pt x="2" y="190"/>
                </a:lnTo>
                <a:lnTo>
                  <a:pt x="4" y="208"/>
                </a:lnTo>
                <a:lnTo>
                  <a:pt x="8" y="224"/>
                </a:lnTo>
                <a:lnTo>
                  <a:pt x="14" y="240"/>
                </a:lnTo>
                <a:lnTo>
                  <a:pt x="22" y="254"/>
                </a:lnTo>
                <a:lnTo>
                  <a:pt x="30" y="268"/>
                </a:lnTo>
                <a:lnTo>
                  <a:pt x="40" y="282"/>
                </a:lnTo>
                <a:lnTo>
                  <a:pt x="52" y="294"/>
                </a:lnTo>
                <a:lnTo>
                  <a:pt x="64" y="306"/>
                </a:lnTo>
                <a:lnTo>
                  <a:pt x="76" y="316"/>
                </a:lnTo>
                <a:lnTo>
                  <a:pt x="90" y="324"/>
                </a:lnTo>
                <a:lnTo>
                  <a:pt x="106" y="332"/>
                </a:lnTo>
                <a:lnTo>
                  <a:pt x="122" y="338"/>
                </a:lnTo>
                <a:lnTo>
                  <a:pt x="138" y="342"/>
                </a:lnTo>
                <a:lnTo>
                  <a:pt x="156" y="344"/>
                </a:lnTo>
                <a:lnTo>
                  <a:pt x="174" y="344"/>
                </a:lnTo>
                <a:lnTo>
                  <a:pt x="174" y="344"/>
                </a:lnTo>
                <a:lnTo>
                  <a:pt x="190" y="344"/>
                </a:lnTo>
                <a:lnTo>
                  <a:pt x="208" y="342"/>
                </a:lnTo>
                <a:lnTo>
                  <a:pt x="224" y="338"/>
                </a:lnTo>
                <a:lnTo>
                  <a:pt x="240" y="332"/>
                </a:lnTo>
                <a:lnTo>
                  <a:pt x="256" y="324"/>
                </a:lnTo>
                <a:lnTo>
                  <a:pt x="270" y="316"/>
                </a:lnTo>
                <a:lnTo>
                  <a:pt x="282" y="306"/>
                </a:lnTo>
                <a:lnTo>
                  <a:pt x="296" y="294"/>
                </a:lnTo>
                <a:lnTo>
                  <a:pt x="306" y="282"/>
                </a:lnTo>
                <a:lnTo>
                  <a:pt x="316" y="268"/>
                </a:lnTo>
                <a:lnTo>
                  <a:pt x="324" y="254"/>
                </a:lnTo>
                <a:lnTo>
                  <a:pt x="332" y="240"/>
                </a:lnTo>
                <a:lnTo>
                  <a:pt x="338" y="224"/>
                </a:lnTo>
                <a:lnTo>
                  <a:pt x="342" y="208"/>
                </a:lnTo>
                <a:lnTo>
                  <a:pt x="344" y="190"/>
                </a:lnTo>
                <a:lnTo>
                  <a:pt x="346" y="172"/>
                </a:lnTo>
                <a:lnTo>
                  <a:pt x="346" y="172"/>
                </a:lnTo>
                <a:lnTo>
                  <a:pt x="344" y="154"/>
                </a:lnTo>
                <a:lnTo>
                  <a:pt x="342" y="138"/>
                </a:lnTo>
                <a:lnTo>
                  <a:pt x="338" y="122"/>
                </a:lnTo>
                <a:lnTo>
                  <a:pt x="332" y="106"/>
                </a:lnTo>
                <a:lnTo>
                  <a:pt x="324" y="90"/>
                </a:lnTo>
                <a:lnTo>
                  <a:pt x="316" y="76"/>
                </a:lnTo>
                <a:lnTo>
                  <a:pt x="306" y="62"/>
                </a:lnTo>
                <a:lnTo>
                  <a:pt x="296" y="50"/>
                </a:lnTo>
                <a:lnTo>
                  <a:pt x="282" y="40"/>
                </a:lnTo>
                <a:lnTo>
                  <a:pt x="270" y="30"/>
                </a:lnTo>
                <a:lnTo>
                  <a:pt x="256" y="20"/>
                </a:lnTo>
                <a:lnTo>
                  <a:pt x="240" y="14"/>
                </a:lnTo>
                <a:lnTo>
                  <a:pt x="224" y="8"/>
                </a:lnTo>
                <a:lnTo>
                  <a:pt x="208" y="4"/>
                </a:lnTo>
                <a:lnTo>
                  <a:pt x="190" y="0"/>
                </a:lnTo>
                <a:lnTo>
                  <a:pt x="174" y="0"/>
                </a:lnTo>
                <a:close/>
              </a:path>
            </a:pathLst>
          </a:custGeom>
          <a:solidFill>
            <a:srgbClr val="CC0066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406" name="Freeform 146"/>
          <p:cNvSpPr>
            <a:spLocks/>
          </p:cNvSpPr>
          <p:nvPr userDrawn="1"/>
        </p:nvSpPr>
        <p:spPr bwMode="auto">
          <a:xfrm>
            <a:off x="2832400" y="1469433"/>
            <a:ext cx="697020" cy="639684"/>
          </a:xfrm>
          <a:custGeom>
            <a:avLst/>
            <a:gdLst/>
            <a:ahLst/>
            <a:cxnLst>
              <a:cxn ang="0">
                <a:pos x="174" y="0"/>
              </a:cxn>
              <a:cxn ang="0">
                <a:pos x="138" y="4"/>
              </a:cxn>
              <a:cxn ang="0">
                <a:pos x="106" y="14"/>
              </a:cxn>
              <a:cxn ang="0">
                <a:pos x="76" y="30"/>
              </a:cxn>
              <a:cxn ang="0">
                <a:pos x="52" y="50"/>
              </a:cxn>
              <a:cxn ang="0">
                <a:pos x="30" y="76"/>
              </a:cxn>
              <a:cxn ang="0">
                <a:pos x="14" y="106"/>
              </a:cxn>
              <a:cxn ang="0">
                <a:pos x="4" y="138"/>
              </a:cxn>
              <a:cxn ang="0">
                <a:pos x="0" y="172"/>
              </a:cxn>
              <a:cxn ang="0">
                <a:pos x="2" y="190"/>
              </a:cxn>
              <a:cxn ang="0">
                <a:pos x="8" y="224"/>
              </a:cxn>
              <a:cxn ang="0">
                <a:pos x="22" y="254"/>
              </a:cxn>
              <a:cxn ang="0">
                <a:pos x="40" y="282"/>
              </a:cxn>
              <a:cxn ang="0">
                <a:pos x="64" y="306"/>
              </a:cxn>
              <a:cxn ang="0">
                <a:pos x="90" y="324"/>
              </a:cxn>
              <a:cxn ang="0">
                <a:pos x="122" y="338"/>
              </a:cxn>
              <a:cxn ang="0">
                <a:pos x="156" y="344"/>
              </a:cxn>
              <a:cxn ang="0">
                <a:pos x="174" y="344"/>
              </a:cxn>
              <a:cxn ang="0">
                <a:pos x="208" y="342"/>
              </a:cxn>
              <a:cxn ang="0">
                <a:pos x="240" y="332"/>
              </a:cxn>
              <a:cxn ang="0">
                <a:pos x="270" y="316"/>
              </a:cxn>
              <a:cxn ang="0">
                <a:pos x="296" y="294"/>
              </a:cxn>
              <a:cxn ang="0">
                <a:pos x="316" y="268"/>
              </a:cxn>
              <a:cxn ang="0">
                <a:pos x="332" y="240"/>
              </a:cxn>
              <a:cxn ang="0">
                <a:pos x="342" y="208"/>
              </a:cxn>
              <a:cxn ang="0">
                <a:pos x="346" y="172"/>
              </a:cxn>
              <a:cxn ang="0">
                <a:pos x="344" y="154"/>
              </a:cxn>
              <a:cxn ang="0">
                <a:pos x="338" y="122"/>
              </a:cxn>
              <a:cxn ang="0">
                <a:pos x="324" y="90"/>
              </a:cxn>
              <a:cxn ang="0">
                <a:pos x="306" y="62"/>
              </a:cxn>
              <a:cxn ang="0">
                <a:pos x="282" y="40"/>
              </a:cxn>
              <a:cxn ang="0">
                <a:pos x="256" y="20"/>
              </a:cxn>
              <a:cxn ang="0">
                <a:pos x="224" y="8"/>
              </a:cxn>
              <a:cxn ang="0">
                <a:pos x="190" y="0"/>
              </a:cxn>
            </a:cxnLst>
            <a:rect l="0" t="0" r="r" b="b"/>
            <a:pathLst>
              <a:path w="346" h="344">
                <a:moveTo>
                  <a:pt x="174" y="0"/>
                </a:moveTo>
                <a:lnTo>
                  <a:pt x="174" y="0"/>
                </a:lnTo>
                <a:lnTo>
                  <a:pt x="156" y="0"/>
                </a:lnTo>
                <a:lnTo>
                  <a:pt x="138" y="4"/>
                </a:lnTo>
                <a:lnTo>
                  <a:pt x="122" y="8"/>
                </a:lnTo>
                <a:lnTo>
                  <a:pt x="106" y="14"/>
                </a:lnTo>
                <a:lnTo>
                  <a:pt x="90" y="20"/>
                </a:lnTo>
                <a:lnTo>
                  <a:pt x="76" y="30"/>
                </a:lnTo>
                <a:lnTo>
                  <a:pt x="64" y="40"/>
                </a:lnTo>
                <a:lnTo>
                  <a:pt x="52" y="50"/>
                </a:lnTo>
                <a:lnTo>
                  <a:pt x="40" y="62"/>
                </a:lnTo>
                <a:lnTo>
                  <a:pt x="30" y="76"/>
                </a:lnTo>
                <a:lnTo>
                  <a:pt x="22" y="90"/>
                </a:lnTo>
                <a:lnTo>
                  <a:pt x="14" y="106"/>
                </a:lnTo>
                <a:lnTo>
                  <a:pt x="8" y="122"/>
                </a:lnTo>
                <a:lnTo>
                  <a:pt x="4" y="138"/>
                </a:lnTo>
                <a:lnTo>
                  <a:pt x="2" y="154"/>
                </a:lnTo>
                <a:lnTo>
                  <a:pt x="0" y="172"/>
                </a:lnTo>
                <a:lnTo>
                  <a:pt x="0" y="172"/>
                </a:lnTo>
                <a:lnTo>
                  <a:pt x="2" y="190"/>
                </a:lnTo>
                <a:lnTo>
                  <a:pt x="4" y="208"/>
                </a:lnTo>
                <a:lnTo>
                  <a:pt x="8" y="224"/>
                </a:lnTo>
                <a:lnTo>
                  <a:pt x="14" y="240"/>
                </a:lnTo>
                <a:lnTo>
                  <a:pt x="22" y="254"/>
                </a:lnTo>
                <a:lnTo>
                  <a:pt x="30" y="268"/>
                </a:lnTo>
                <a:lnTo>
                  <a:pt x="40" y="282"/>
                </a:lnTo>
                <a:lnTo>
                  <a:pt x="52" y="294"/>
                </a:lnTo>
                <a:lnTo>
                  <a:pt x="64" y="306"/>
                </a:lnTo>
                <a:lnTo>
                  <a:pt x="76" y="316"/>
                </a:lnTo>
                <a:lnTo>
                  <a:pt x="90" y="324"/>
                </a:lnTo>
                <a:lnTo>
                  <a:pt x="106" y="332"/>
                </a:lnTo>
                <a:lnTo>
                  <a:pt x="122" y="338"/>
                </a:lnTo>
                <a:lnTo>
                  <a:pt x="138" y="342"/>
                </a:lnTo>
                <a:lnTo>
                  <a:pt x="156" y="344"/>
                </a:lnTo>
                <a:lnTo>
                  <a:pt x="174" y="344"/>
                </a:lnTo>
                <a:lnTo>
                  <a:pt x="174" y="344"/>
                </a:lnTo>
                <a:lnTo>
                  <a:pt x="190" y="344"/>
                </a:lnTo>
                <a:lnTo>
                  <a:pt x="208" y="342"/>
                </a:lnTo>
                <a:lnTo>
                  <a:pt x="224" y="338"/>
                </a:lnTo>
                <a:lnTo>
                  <a:pt x="240" y="332"/>
                </a:lnTo>
                <a:lnTo>
                  <a:pt x="256" y="324"/>
                </a:lnTo>
                <a:lnTo>
                  <a:pt x="270" y="316"/>
                </a:lnTo>
                <a:lnTo>
                  <a:pt x="282" y="306"/>
                </a:lnTo>
                <a:lnTo>
                  <a:pt x="296" y="294"/>
                </a:lnTo>
                <a:lnTo>
                  <a:pt x="306" y="282"/>
                </a:lnTo>
                <a:lnTo>
                  <a:pt x="316" y="268"/>
                </a:lnTo>
                <a:lnTo>
                  <a:pt x="324" y="254"/>
                </a:lnTo>
                <a:lnTo>
                  <a:pt x="332" y="240"/>
                </a:lnTo>
                <a:lnTo>
                  <a:pt x="338" y="224"/>
                </a:lnTo>
                <a:lnTo>
                  <a:pt x="342" y="208"/>
                </a:lnTo>
                <a:lnTo>
                  <a:pt x="344" y="190"/>
                </a:lnTo>
                <a:lnTo>
                  <a:pt x="346" y="172"/>
                </a:lnTo>
                <a:lnTo>
                  <a:pt x="346" y="172"/>
                </a:lnTo>
                <a:lnTo>
                  <a:pt x="344" y="154"/>
                </a:lnTo>
                <a:lnTo>
                  <a:pt x="342" y="138"/>
                </a:lnTo>
                <a:lnTo>
                  <a:pt x="338" y="122"/>
                </a:lnTo>
                <a:lnTo>
                  <a:pt x="332" y="106"/>
                </a:lnTo>
                <a:lnTo>
                  <a:pt x="324" y="90"/>
                </a:lnTo>
                <a:lnTo>
                  <a:pt x="316" y="76"/>
                </a:lnTo>
                <a:lnTo>
                  <a:pt x="306" y="62"/>
                </a:lnTo>
                <a:lnTo>
                  <a:pt x="296" y="50"/>
                </a:lnTo>
                <a:lnTo>
                  <a:pt x="282" y="40"/>
                </a:lnTo>
                <a:lnTo>
                  <a:pt x="270" y="30"/>
                </a:lnTo>
                <a:lnTo>
                  <a:pt x="256" y="20"/>
                </a:lnTo>
                <a:lnTo>
                  <a:pt x="240" y="14"/>
                </a:lnTo>
                <a:lnTo>
                  <a:pt x="224" y="8"/>
                </a:lnTo>
                <a:lnTo>
                  <a:pt x="208" y="4"/>
                </a:lnTo>
                <a:lnTo>
                  <a:pt x="190" y="0"/>
                </a:lnTo>
                <a:lnTo>
                  <a:pt x="174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407" name="Freeform 147"/>
          <p:cNvSpPr>
            <a:spLocks/>
          </p:cNvSpPr>
          <p:nvPr userDrawn="1"/>
        </p:nvSpPr>
        <p:spPr bwMode="auto">
          <a:xfrm>
            <a:off x="842067" y="1413647"/>
            <a:ext cx="410960" cy="379348"/>
          </a:xfrm>
          <a:custGeom>
            <a:avLst/>
            <a:gdLst/>
            <a:ahLst/>
            <a:cxnLst>
              <a:cxn ang="0">
                <a:pos x="102" y="0"/>
              </a:cxn>
              <a:cxn ang="0">
                <a:pos x="102" y="0"/>
              </a:cxn>
              <a:cxn ang="0">
                <a:pos x="82" y="2"/>
              </a:cxn>
              <a:cxn ang="0">
                <a:pos x="62" y="8"/>
              </a:cxn>
              <a:cxn ang="0">
                <a:pos x="46" y="16"/>
              </a:cxn>
              <a:cxn ang="0">
                <a:pos x="30" y="30"/>
              </a:cxn>
              <a:cxn ang="0">
                <a:pos x="18" y="44"/>
              </a:cxn>
              <a:cxn ang="0">
                <a:pos x="8" y="62"/>
              </a:cxn>
              <a:cxn ang="0">
                <a:pos x="2" y="80"/>
              </a:cxn>
              <a:cxn ang="0">
                <a:pos x="0" y="102"/>
              </a:cxn>
              <a:cxn ang="0">
                <a:pos x="0" y="102"/>
              </a:cxn>
              <a:cxn ang="0">
                <a:pos x="2" y="122"/>
              </a:cxn>
              <a:cxn ang="0">
                <a:pos x="8" y="142"/>
              </a:cxn>
              <a:cxn ang="0">
                <a:pos x="18" y="158"/>
              </a:cxn>
              <a:cxn ang="0">
                <a:pos x="30" y="174"/>
              </a:cxn>
              <a:cxn ang="0">
                <a:pos x="46" y="186"/>
              </a:cxn>
              <a:cxn ang="0">
                <a:pos x="62" y="196"/>
              </a:cxn>
              <a:cxn ang="0">
                <a:pos x="82" y="202"/>
              </a:cxn>
              <a:cxn ang="0">
                <a:pos x="102" y="204"/>
              </a:cxn>
              <a:cxn ang="0">
                <a:pos x="102" y="204"/>
              </a:cxn>
              <a:cxn ang="0">
                <a:pos x="122" y="202"/>
              </a:cxn>
              <a:cxn ang="0">
                <a:pos x="142" y="196"/>
              </a:cxn>
              <a:cxn ang="0">
                <a:pos x="160" y="186"/>
              </a:cxn>
              <a:cxn ang="0">
                <a:pos x="174" y="174"/>
              </a:cxn>
              <a:cxn ang="0">
                <a:pos x="188" y="158"/>
              </a:cxn>
              <a:cxn ang="0">
                <a:pos x="196" y="142"/>
              </a:cxn>
              <a:cxn ang="0">
                <a:pos x="202" y="122"/>
              </a:cxn>
              <a:cxn ang="0">
                <a:pos x="204" y="102"/>
              </a:cxn>
              <a:cxn ang="0">
                <a:pos x="204" y="102"/>
              </a:cxn>
              <a:cxn ang="0">
                <a:pos x="202" y="80"/>
              </a:cxn>
              <a:cxn ang="0">
                <a:pos x="196" y="62"/>
              </a:cxn>
              <a:cxn ang="0">
                <a:pos x="188" y="44"/>
              </a:cxn>
              <a:cxn ang="0">
                <a:pos x="174" y="30"/>
              </a:cxn>
              <a:cxn ang="0">
                <a:pos x="160" y="16"/>
              </a:cxn>
              <a:cxn ang="0">
                <a:pos x="142" y="8"/>
              </a:cxn>
              <a:cxn ang="0">
                <a:pos x="122" y="2"/>
              </a:cxn>
              <a:cxn ang="0">
                <a:pos x="102" y="0"/>
              </a:cxn>
            </a:cxnLst>
            <a:rect l="0" t="0" r="r" b="b"/>
            <a:pathLst>
              <a:path w="204" h="204">
                <a:moveTo>
                  <a:pt x="102" y="0"/>
                </a:moveTo>
                <a:lnTo>
                  <a:pt x="102" y="0"/>
                </a:lnTo>
                <a:lnTo>
                  <a:pt x="82" y="2"/>
                </a:lnTo>
                <a:lnTo>
                  <a:pt x="62" y="8"/>
                </a:lnTo>
                <a:lnTo>
                  <a:pt x="46" y="16"/>
                </a:lnTo>
                <a:lnTo>
                  <a:pt x="30" y="30"/>
                </a:lnTo>
                <a:lnTo>
                  <a:pt x="18" y="44"/>
                </a:lnTo>
                <a:lnTo>
                  <a:pt x="8" y="62"/>
                </a:lnTo>
                <a:lnTo>
                  <a:pt x="2" y="80"/>
                </a:lnTo>
                <a:lnTo>
                  <a:pt x="0" y="102"/>
                </a:lnTo>
                <a:lnTo>
                  <a:pt x="0" y="102"/>
                </a:lnTo>
                <a:lnTo>
                  <a:pt x="2" y="122"/>
                </a:lnTo>
                <a:lnTo>
                  <a:pt x="8" y="142"/>
                </a:lnTo>
                <a:lnTo>
                  <a:pt x="18" y="158"/>
                </a:lnTo>
                <a:lnTo>
                  <a:pt x="30" y="174"/>
                </a:lnTo>
                <a:lnTo>
                  <a:pt x="46" y="186"/>
                </a:lnTo>
                <a:lnTo>
                  <a:pt x="62" y="196"/>
                </a:lnTo>
                <a:lnTo>
                  <a:pt x="82" y="202"/>
                </a:lnTo>
                <a:lnTo>
                  <a:pt x="102" y="204"/>
                </a:lnTo>
                <a:lnTo>
                  <a:pt x="102" y="204"/>
                </a:lnTo>
                <a:lnTo>
                  <a:pt x="122" y="202"/>
                </a:lnTo>
                <a:lnTo>
                  <a:pt x="142" y="196"/>
                </a:lnTo>
                <a:lnTo>
                  <a:pt x="160" y="186"/>
                </a:lnTo>
                <a:lnTo>
                  <a:pt x="174" y="174"/>
                </a:lnTo>
                <a:lnTo>
                  <a:pt x="188" y="158"/>
                </a:lnTo>
                <a:lnTo>
                  <a:pt x="196" y="142"/>
                </a:lnTo>
                <a:lnTo>
                  <a:pt x="202" y="122"/>
                </a:lnTo>
                <a:lnTo>
                  <a:pt x="204" y="102"/>
                </a:lnTo>
                <a:lnTo>
                  <a:pt x="204" y="102"/>
                </a:lnTo>
                <a:lnTo>
                  <a:pt x="202" y="80"/>
                </a:lnTo>
                <a:lnTo>
                  <a:pt x="196" y="62"/>
                </a:lnTo>
                <a:lnTo>
                  <a:pt x="188" y="44"/>
                </a:lnTo>
                <a:lnTo>
                  <a:pt x="174" y="30"/>
                </a:lnTo>
                <a:lnTo>
                  <a:pt x="160" y="16"/>
                </a:lnTo>
                <a:lnTo>
                  <a:pt x="142" y="8"/>
                </a:lnTo>
                <a:lnTo>
                  <a:pt x="122" y="2"/>
                </a:lnTo>
                <a:lnTo>
                  <a:pt x="102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408" name="Freeform 148"/>
          <p:cNvSpPr>
            <a:spLocks/>
          </p:cNvSpPr>
          <p:nvPr userDrawn="1"/>
        </p:nvSpPr>
        <p:spPr bwMode="auto">
          <a:xfrm>
            <a:off x="842067" y="1413647"/>
            <a:ext cx="410960" cy="379348"/>
          </a:xfrm>
          <a:custGeom>
            <a:avLst/>
            <a:gdLst/>
            <a:ahLst/>
            <a:cxnLst>
              <a:cxn ang="0">
                <a:pos x="102" y="0"/>
              </a:cxn>
              <a:cxn ang="0">
                <a:pos x="102" y="0"/>
              </a:cxn>
              <a:cxn ang="0">
                <a:pos x="82" y="2"/>
              </a:cxn>
              <a:cxn ang="0">
                <a:pos x="62" y="8"/>
              </a:cxn>
              <a:cxn ang="0">
                <a:pos x="46" y="16"/>
              </a:cxn>
              <a:cxn ang="0">
                <a:pos x="30" y="30"/>
              </a:cxn>
              <a:cxn ang="0">
                <a:pos x="18" y="44"/>
              </a:cxn>
              <a:cxn ang="0">
                <a:pos x="8" y="62"/>
              </a:cxn>
              <a:cxn ang="0">
                <a:pos x="2" y="80"/>
              </a:cxn>
              <a:cxn ang="0">
                <a:pos x="0" y="102"/>
              </a:cxn>
              <a:cxn ang="0">
                <a:pos x="0" y="102"/>
              </a:cxn>
              <a:cxn ang="0">
                <a:pos x="2" y="122"/>
              </a:cxn>
              <a:cxn ang="0">
                <a:pos x="8" y="142"/>
              </a:cxn>
              <a:cxn ang="0">
                <a:pos x="18" y="158"/>
              </a:cxn>
              <a:cxn ang="0">
                <a:pos x="30" y="174"/>
              </a:cxn>
              <a:cxn ang="0">
                <a:pos x="46" y="186"/>
              </a:cxn>
              <a:cxn ang="0">
                <a:pos x="62" y="196"/>
              </a:cxn>
              <a:cxn ang="0">
                <a:pos x="82" y="202"/>
              </a:cxn>
              <a:cxn ang="0">
                <a:pos x="102" y="204"/>
              </a:cxn>
              <a:cxn ang="0">
                <a:pos x="102" y="204"/>
              </a:cxn>
              <a:cxn ang="0">
                <a:pos x="122" y="202"/>
              </a:cxn>
              <a:cxn ang="0">
                <a:pos x="142" y="196"/>
              </a:cxn>
              <a:cxn ang="0">
                <a:pos x="160" y="186"/>
              </a:cxn>
              <a:cxn ang="0">
                <a:pos x="174" y="174"/>
              </a:cxn>
              <a:cxn ang="0">
                <a:pos x="188" y="158"/>
              </a:cxn>
              <a:cxn ang="0">
                <a:pos x="196" y="142"/>
              </a:cxn>
              <a:cxn ang="0">
                <a:pos x="202" y="122"/>
              </a:cxn>
              <a:cxn ang="0">
                <a:pos x="204" y="102"/>
              </a:cxn>
              <a:cxn ang="0">
                <a:pos x="204" y="102"/>
              </a:cxn>
              <a:cxn ang="0">
                <a:pos x="202" y="80"/>
              </a:cxn>
              <a:cxn ang="0">
                <a:pos x="196" y="62"/>
              </a:cxn>
              <a:cxn ang="0">
                <a:pos x="188" y="44"/>
              </a:cxn>
              <a:cxn ang="0">
                <a:pos x="174" y="30"/>
              </a:cxn>
              <a:cxn ang="0">
                <a:pos x="160" y="16"/>
              </a:cxn>
              <a:cxn ang="0">
                <a:pos x="142" y="8"/>
              </a:cxn>
              <a:cxn ang="0">
                <a:pos x="122" y="2"/>
              </a:cxn>
              <a:cxn ang="0">
                <a:pos x="102" y="0"/>
              </a:cxn>
            </a:cxnLst>
            <a:rect l="0" t="0" r="r" b="b"/>
            <a:pathLst>
              <a:path w="204" h="204">
                <a:moveTo>
                  <a:pt x="102" y="0"/>
                </a:moveTo>
                <a:lnTo>
                  <a:pt x="102" y="0"/>
                </a:lnTo>
                <a:lnTo>
                  <a:pt x="82" y="2"/>
                </a:lnTo>
                <a:lnTo>
                  <a:pt x="62" y="8"/>
                </a:lnTo>
                <a:lnTo>
                  <a:pt x="46" y="16"/>
                </a:lnTo>
                <a:lnTo>
                  <a:pt x="30" y="30"/>
                </a:lnTo>
                <a:lnTo>
                  <a:pt x="18" y="44"/>
                </a:lnTo>
                <a:lnTo>
                  <a:pt x="8" y="62"/>
                </a:lnTo>
                <a:lnTo>
                  <a:pt x="2" y="80"/>
                </a:lnTo>
                <a:lnTo>
                  <a:pt x="0" y="102"/>
                </a:lnTo>
                <a:lnTo>
                  <a:pt x="0" y="102"/>
                </a:lnTo>
                <a:lnTo>
                  <a:pt x="2" y="122"/>
                </a:lnTo>
                <a:lnTo>
                  <a:pt x="8" y="142"/>
                </a:lnTo>
                <a:lnTo>
                  <a:pt x="18" y="158"/>
                </a:lnTo>
                <a:lnTo>
                  <a:pt x="30" y="174"/>
                </a:lnTo>
                <a:lnTo>
                  <a:pt x="46" y="186"/>
                </a:lnTo>
                <a:lnTo>
                  <a:pt x="62" y="196"/>
                </a:lnTo>
                <a:lnTo>
                  <a:pt x="82" y="202"/>
                </a:lnTo>
                <a:lnTo>
                  <a:pt x="102" y="204"/>
                </a:lnTo>
                <a:lnTo>
                  <a:pt x="102" y="204"/>
                </a:lnTo>
                <a:lnTo>
                  <a:pt x="122" y="202"/>
                </a:lnTo>
                <a:lnTo>
                  <a:pt x="142" y="196"/>
                </a:lnTo>
                <a:lnTo>
                  <a:pt x="160" y="186"/>
                </a:lnTo>
                <a:lnTo>
                  <a:pt x="174" y="174"/>
                </a:lnTo>
                <a:lnTo>
                  <a:pt x="188" y="158"/>
                </a:lnTo>
                <a:lnTo>
                  <a:pt x="196" y="142"/>
                </a:lnTo>
                <a:lnTo>
                  <a:pt x="202" y="122"/>
                </a:lnTo>
                <a:lnTo>
                  <a:pt x="204" y="102"/>
                </a:lnTo>
                <a:lnTo>
                  <a:pt x="204" y="102"/>
                </a:lnTo>
                <a:lnTo>
                  <a:pt x="202" y="80"/>
                </a:lnTo>
                <a:lnTo>
                  <a:pt x="196" y="62"/>
                </a:lnTo>
                <a:lnTo>
                  <a:pt x="188" y="44"/>
                </a:lnTo>
                <a:lnTo>
                  <a:pt x="174" y="30"/>
                </a:lnTo>
                <a:lnTo>
                  <a:pt x="160" y="16"/>
                </a:lnTo>
                <a:lnTo>
                  <a:pt x="142" y="8"/>
                </a:lnTo>
                <a:lnTo>
                  <a:pt x="122" y="2"/>
                </a:lnTo>
                <a:lnTo>
                  <a:pt x="10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409" name="Freeform 149"/>
          <p:cNvSpPr>
            <a:spLocks/>
          </p:cNvSpPr>
          <p:nvPr userDrawn="1"/>
        </p:nvSpPr>
        <p:spPr bwMode="auto">
          <a:xfrm>
            <a:off x="1921843" y="2499622"/>
            <a:ext cx="153103" cy="141326"/>
          </a:xfrm>
          <a:custGeom>
            <a:avLst/>
            <a:gdLst/>
            <a:ahLst/>
            <a:cxnLst>
              <a:cxn ang="0">
                <a:pos x="38" y="0"/>
              </a:cxn>
              <a:cxn ang="0">
                <a:pos x="38" y="0"/>
              </a:cxn>
              <a:cxn ang="0">
                <a:pos x="30" y="2"/>
              </a:cxn>
              <a:cxn ang="0">
                <a:pos x="24" y="4"/>
              </a:cxn>
              <a:cxn ang="0">
                <a:pos x="18" y="6"/>
              </a:cxn>
              <a:cxn ang="0">
                <a:pos x="12" y="12"/>
              </a:cxn>
              <a:cxn ang="0">
                <a:pos x="6" y="18"/>
              </a:cxn>
              <a:cxn ang="0">
                <a:pos x="4" y="24"/>
              </a:cxn>
              <a:cxn ang="0">
                <a:pos x="2" y="30"/>
              </a:cxn>
              <a:cxn ang="0">
                <a:pos x="0" y="38"/>
              </a:cxn>
              <a:cxn ang="0">
                <a:pos x="0" y="38"/>
              </a:cxn>
              <a:cxn ang="0">
                <a:pos x="2" y="46"/>
              </a:cxn>
              <a:cxn ang="0">
                <a:pos x="4" y="54"/>
              </a:cxn>
              <a:cxn ang="0">
                <a:pos x="6" y="60"/>
              </a:cxn>
              <a:cxn ang="0">
                <a:pos x="12" y="66"/>
              </a:cxn>
              <a:cxn ang="0">
                <a:pos x="18" y="70"/>
              </a:cxn>
              <a:cxn ang="0">
                <a:pos x="24" y="74"/>
              </a:cxn>
              <a:cxn ang="0">
                <a:pos x="30" y="76"/>
              </a:cxn>
              <a:cxn ang="0">
                <a:pos x="38" y="76"/>
              </a:cxn>
              <a:cxn ang="0">
                <a:pos x="38" y="76"/>
              </a:cxn>
              <a:cxn ang="0">
                <a:pos x="46" y="76"/>
              </a:cxn>
              <a:cxn ang="0">
                <a:pos x="54" y="74"/>
              </a:cxn>
              <a:cxn ang="0">
                <a:pos x="60" y="70"/>
              </a:cxn>
              <a:cxn ang="0">
                <a:pos x="66" y="66"/>
              </a:cxn>
              <a:cxn ang="0">
                <a:pos x="70" y="60"/>
              </a:cxn>
              <a:cxn ang="0">
                <a:pos x="74" y="54"/>
              </a:cxn>
              <a:cxn ang="0">
                <a:pos x="76" y="46"/>
              </a:cxn>
              <a:cxn ang="0">
                <a:pos x="76" y="38"/>
              </a:cxn>
              <a:cxn ang="0">
                <a:pos x="76" y="38"/>
              </a:cxn>
              <a:cxn ang="0">
                <a:pos x="76" y="30"/>
              </a:cxn>
              <a:cxn ang="0">
                <a:pos x="74" y="24"/>
              </a:cxn>
              <a:cxn ang="0">
                <a:pos x="70" y="18"/>
              </a:cxn>
              <a:cxn ang="0">
                <a:pos x="66" y="12"/>
              </a:cxn>
              <a:cxn ang="0">
                <a:pos x="60" y="6"/>
              </a:cxn>
              <a:cxn ang="0">
                <a:pos x="54" y="4"/>
              </a:cxn>
              <a:cxn ang="0">
                <a:pos x="46" y="2"/>
              </a:cxn>
              <a:cxn ang="0">
                <a:pos x="38" y="0"/>
              </a:cxn>
            </a:cxnLst>
            <a:rect l="0" t="0" r="r" b="b"/>
            <a:pathLst>
              <a:path w="76" h="76">
                <a:moveTo>
                  <a:pt x="38" y="0"/>
                </a:moveTo>
                <a:lnTo>
                  <a:pt x="38" y="0"/>
                </a:lnTo>
                <a:lnTo>
                  <a:pt x="30" y="2"/>
                </a:lnTo>
                <a:lnTo>
                  <a:pt x="24" y="4"/>
                </a:lnTo>
                <a:lnTo>
                  <a:pt x="18" y="6"/>
                </a:lnTo>
                <a:lnTo>
                  <a:pt x="12" y="12"/>
                </a:lnTo>
                <a:lnTo>
                  <a:pt x="6" y="18"/>
                </a:lnTo>
                <a:lnTo>
                  <a:pt x="4" y="24"/>
                </a:lnTo>
                <a:lnTo>
                  <a:pt x="2" y="30"/>
                </a:lnTo>
                <a:lnTo>
                  <a:pt x="0" y="38"/>
                </a:lnTo>
                <a:lnTo>
                  <a:pt x="0" y="38"/>
                </a:lnTo>
                <a:lnTo>
                  <a:pt x="2" y="46"/>
                </a:lnTo>
                <a:lnTo>
                  <a:pt x="4" y="54"/>
                </a:lnTo>
                <a:lnTo>
                  <a:pt x="6" y="60"/>
                </a:lnTo>
                <a:lnTo>
                  <a:pt x="12" y="66"/>
                </a:lnTo>
                <a:lnTo>
                  <a:pt x="18" y="70"/>
                </a:lnTo>
                <a:lnTo>
                  <a:pt x="24" y="74"/>
                </a:lnTo>
                <a:lnTo>
                  <a:pt x="30" y="76"/>
                </a:lnTo>
                <a:lnTo>
                  <a:pt x="38" y="76"/>
                </a:lnTo>
                <a:lnTo>
                  <a:pt x="38" y="76"/>
                </a:lnTo>
                <a:lnTo>
                  <a:pt x="46" y="76"/>
                </a:lnTo>
                <a:lnTo>
                  <a:pt x="54" y="74"/>
                </a:lnTo>
                <a:lnTo>
                  <a:pt x="60" y="70"/>
                </a:lnTo>
                <a:lnTo>
                  <a:pt x="66" y="66"/>
                </a:lnTo>
                <a:lnTo>
                  <a:pt x="70" y="60"/>
                </a:lnTo>
                <a:lnTo>
                  <a:pt x="74" y="54"/>
                </a:lnTo>
                <a:lnTo>
                  <a:pt x="76" y="46"/>
                </a:lnTo>
                <a:lnTo>
                  <a:pt x="76" y="38"/>
                </a:lnTo>
                <a:lnTo>
                  <a:pt x="76" y="38"/>
                </a:lnTo>
                <a:lnTo>
                  <a:pt x="76" y="30"/>
                </a:lnTo>
                <a:lnTo>
                  <a:pt x="74" y="24"/>
                </a:lnTo>
                <a:lnTo>
                  <a:pt x="70" y="18"/>
                </a:lnTo>
                <a:lnTo>
                  <a:pt x="66" y="12"/>
                </a:lnTo>
                <a:lnTo>
                  <a:pt x="60" y="6"/>
                </a:lnTo>
                <a:lnTo>
                  <a:pt x="54" y="4"/>
                </a:lnTo>
                <a:lnTo>
                  <a:pt x="46" y="2"/>
                </a:lnTo>
                <a:lnTo>
                  <a:pt x="38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410" name="Freeform 150"/>
          <p:cNvSpPr>
            <a:spLocks/>
          </p:cNvSpPr>
          <p:nvPr userDrawn="1"/>
        </p:nvSpPr>
        <p:spPr bwMode="auto">
          <a:xfrm>
            <a:off x="1921843" y="2499622"/>
            <a:ext cx="153103" cy="141326"/>
          </a:xfrm>
          <a:custGeom>
            <a:avLst/>
            <a:gdLst/>
            <a:ahLst/>
            <a:cxnLst>
              <a:cxn ang="0">
                <a:pos x="38" y="0"/>
              </a:cxn>
              <a:cxn ang="0">
                <a:pos x="38" y="0"/>
              </a:cxn>
              <a:cxn ang="0">
                <a:pos x="30" y="2"/>
              </a:cxn>
              <a:cxn ang="0">
                <a:pos x="24" y="4"/>
              </a:cxn>
              <a:cxn ang="0">
                <a:pos x="18" y="6"/>
              </a:cxn>
              <a:cxn ang="0">
                <a:pos x="12" y="12"/>
              </a:cxn>
              <a:cxn ang="0">
                <a:pos x="6" y="18"/>
              </a:cxn>
              <a:cxn ang="0">
                <a:pos x="4" y="24"/>
              </a:cxn>
              <a:cxn ang="0">
                <a:pos x="2" y="30"/>
              </a:cxn>
              <a:cxn ang="0">
                <a:pos x="0" y="38"/>
              </a:cxn>
              <a:cxn ang="0">
                <a:pos x="0" y="38"/>
              </a:cxn>
              <a:cxn ang="0">
                <a:pos x="2" y="46"/>
              </a:cxn>
              <a:cxn ang="0">
                <a:pos x="4" y="54"/>
              </a:cxn>
              <a:cxn ang="0">
                <a:pos x="6" y="60"/>
              </a:cxn>
              <a:cxn ang="0">
                <a:pos x="12" y="66"/>
              </a:cxn>
              <a:cxn ang="0">
                <a:pos x="18" y="70"/>
              </a:cxn>
              <a:cxn ang="0">
                <a:pos x="24" y="74"/>
              </a:cxn>
              <a:cxn ang="0">
                <a:pos x="30" y="76"/>
              </a:cxn>
              <a:cxn ang="0">
                <a:pos x="38" y="76"/>
              </a:cxn>
              <a:cxn ang="0">
                <a:pos x="38" y="76"/>
              </a:cxn>
              <a:cxn ang="0">
                <a:pos x="46" y="76"/>
              </a:cxn>
              <a:cxn ang="0">
                <a:pos x="54" y="74"/>
              </a:cxn>
              <a:cxn ang="0">
                <a:pos x="60" y="70"/>
              </a:cxn>
              <a:cxn ang="0">
                <a:pos x="66" y="66"/>
              </a:cxn>
              <a:cxn ang="0">
                <a:pos x="70" y="60"/>
              </a:cxn>
              <a:cxn ang="0">
                <a:pos x="74" y="54"/>
              </a:cxn>
              <a:cxn ang="0">
                <a:pos x="76" y="46"/>
              </a:cxn>
              <a:cxn ang="0">
                <a:pos x="76" y="38"/>
              </a:cxn>
              <a:cxn ang="0">
                <a:pos x="76" y="38"/>
              </a:cxn>
              <a:cxn ang="0">
                <a:pos x="76" y="30"/>
              </a:cxn>
              <a:cxn ang="0">
                <a:pos x="74" y="24"/>
              </a:cxn>
              <a:cxn ang="0">
                <a:pos x="70" y="18"/>
              </a:cxn>
              <a:cxn ang="0">
                <a:pos x="66" y="12"/>
              </a:cxn>
              <a:cxn ang="0">
                <a:pos x="60" y="6"/>
              </a:cxn>
              <a:cxn ang="0">
                <a:pos x="54" y="4"/>
              </a:cxn>
              <a:cxn ang="0">
                <a:pos x="46" y="2"/>
              </a:cxn>
              <a:cxn ang="0">
                <a:pos x="38" y="0"/>
              </a:cxn>
            </a:cxnLst>
            <a:rect l="0" t="0" r="r" b="b"/>
            <a:pathLst>
              <a:path w="76" h="76">
                <a:moveTo>
                  <a:pt x="38" y="0"/>
                </a:moveTo>
                <a:lnTo>
                  <a:pt x="38" y="0"/>
                </a:lnTo>
                <a:lnTo>
                  <a:pt x="30" y="2"/>
                </a:lnTo>
                <a:lnTo>
                  <a:pt x="24" y="4"/>
                </a:lnTo>
                <a:lnTo>
                  <a:pt x="18" y="6"/>
                </a:lnTo>
                <a:lnTo>
                  <a:pt x="12" y="12"/>
                </a:lnTo>
                <a:lnTo>
                  <a:pt x="6" y="18"/>
                </a:lnTo>
                <a:lnTo>
                  <a:pt x="4" y="24"/>
                </a:lnTo>
                <a:lnTo>
                  <a:pt x="2" y="30"/>
                </a:lnTo>
                <a:lnTo>
                  <a:pt x="0" y="38"/>
                </a:lnTo>
                <a:lnTo>
                  <a:pt x="0" y="38"/>
                </a:lnTo>
                <a:lnTo>
                  <a:pt x="2" y="46"/>
                </a:lnTo>
                <a:lnTo>
                  <a:pt x="4" y="54"/>
                </a:lnTo>
                <a:lnTo>
                  <a:pt x="6" y="60"/>
                </a:lnTo>
                <a:lnTo>
                  <a:pt x="12" y="66"/>
                </a:lnTo>
                <a:lnTo>
                  <a:pt x="18" y="70"/>
                </a:lnTo>
                <a:lnTo>
                  <a:pt x="24" y="74"/>
                </a:lnTo>
                <a:lnTo>
                  <a:pt x="30" y="76"/>
                </a:lnTo>
                <a:lnTo>
                  <a:pt x="38" y="76"/>
                </a:lnTo>
                <a:lnTo>
                  <a:pt x="38" y="76"/>
                </a:lnTo>
                <a:lnTo>
                  <a:pt x="46" y="76"/>
                </a:lnTo>
                <a:lnTo>
                  <a:pt x="54" y="74"/>
                </a:lnTo>
                <a:lnTo>
                  <a:pt x="60" y="70"/>
                </a:lnTo>
                <a:lnTo>
                  <a:pt x="66" y="66"/>
                </a:lnTo>
                <a:lnTo>
                  <a:pt x="70" y="60"/>
                </a:lnTo>
                <a:lnTo>
                  <a:pt x="74" y="54"/>
                </a:lnTo>
                <a:lnTo>
                  <a:pt x="76" y="46"/>
                </a:lnTo>
                <a:lnTo>
                  <a:pt x="76" y="38"/>
                </a:lnTo>
                <a:lnTo>
                  <a:pt x="76" y="38"/>
                </a:lnTo>
                <a:lnTo>
                  <a:pt x="76" y="30"/>
                </a:lnTo>
                <a:lnTo>
                  <a:pt x="74" y="24"/>
                </a:lnTo>
                <a:lnTo>
                  <a:pt x="70" y="18"/>
                </a:lnTo>
                <a:lnTo>
                  <a:pt x="66" y="12"/>
                </a:lnTo>
                <a:lnTo>
                  <a:pt x="60" y="6"/>
                </a:lnTo>
                <a:lnTo>
                  <a:pt x="54" y="4"/>
                </a:lnTo>
                <a:lnTo>
                  <a:pt x="46" y="2"/>
                </a:lnTo>
                <a:lnTo>
                  <a:pt x="38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grpSp>
        <p:nvGrpSpPr>
          <p:cNvPr id="2" name="그룹 410"/>
          <p:cNvGrpSpPr/>
          <p:nvPr userDrawn="1"/>
        </p:nvGrpSpPr>
        <p:grpSpPr>
          <a:xfrm>
            <a:off x="7489630" y="4572508"/>
            <a:ext cx="2260904" cy="2132856"/>
            <a:chOff x="6913504" y="4572508"/>
            <a:chExt cx="2086988" cy="2132856"/>
          </a:xfrm>
        </p:grpSpPr>
        <p:sp>
          <p:nvSpPr>
            <p:cNvPr id="412" name="Freeform 154"/>
            <p:cNvSpPr>
              <a:spLocks/>
            </p:cNvSpPr>
            <p:nvPr/>
          </p:nvSpPr>
          <p:spPr bwMode="auto">
            <a:xfrm>
              <a:off x="7601522" y="4609202"/>
              <a:ext cx="98616" cy="98616"/>
            </a:xfrm>
            <a:custGeom>
              <a:avLst/>
              <a:gdLst/>
              <a:ahLst/>
              <a:cxnLst>
                <a:cxn ang="0">
                  <a:pos x="44" y="0"/>
                </a:cxn>
                <a:cxn ang="0">
                  <a:pos x="44" y="0"/>
                </a:cxn>
                <a:cxn ang="0">
                  <a:pos x="34" y="2"/>
                </a:cxn>
                <a:cxn ang="0">
                  <a:pos x="26" y="4"/>
                </a:cxn>
                <a:cxn ang="0">
                  <a:pos x="20" y="8"/>
                </a:cxn>
                <a:cxn ang="0">
                  <a:pos x="14" y="14"/>
                </a:cxn>
                <a:cxn ang="0">
                  <a:pos x="8" y="20"/>
                </a:cxn>
                <a:cxn ang="0">
                  <a:pos x="4" y="28"/>
                </a:cxn>
                <a:cxn ang="0">
                  <a:pos x="2" y="36"/>
                </a:cxn>
                <a:cxn ang="0">
                  <a:pos x="0" y="44"/>
                </a:cxn>
                <a:cxn ang="0">
                  <a:pos x="0" y="44"/>
                </a:cxn>
                <a:cxn ang="0">
                  <a:pos x="2" y="52"/>
                </a:cxn>
                <a:cxn ang="0">
                  <a:pos x="4" y="60"/>
                </a:cxn>
                <a:cxn ang="0">
                  <a:pos x="8" y="68"/>
                </a:cxn>
                <a:cxn ang="0">
                  <a:pos x="14" y="74"/>
                </a:cxn>
                <a:cxn ang="0">
                  <a:pos x="20" y="80"/>
                </a:cxn>
                <a:cxn ang="0">
                  <a:pos x="26" y="84"/>
                </a:cxn>
                <a:cxn ang="0">
                  <a:pos x="34" y="86"/>
                </a:cxn>
                <a:cxn ang="0">
                  <a:pos x="44" y="86"/>
                </a:cxn>
                <a:cxn ang="0">
                  <a:pos x="44" y="86"/>
                </a:cxn>
                <a:cxn ang="0">
                  <a:pos x="52" y="86"/>
                </a:cxn>
                <a:cxn ang="0">
                  <a:pos x="60" y="84"/>
                </a:cxn>
                <a:cxn ang="0">
                  <a:pos x="68" y="80"/>
                </a:cxn>
                <a:cxn ang="0">
                  <a:pos x="74" y="74"/>
                </a:cxn>
                <a:cxn ang="0">
                  <a:pos x="80" y="68"/>
                </a:cxn>
                <a:cxn ang="0">
                  <a:pos x="84" y="60"/>
                </a:cxn>
                <a:cxn ang="0">
                  <a:pos x="86" y="52"/>
                </a:cxn>
                <a:cxn ang="0">
                  <a:pos x="86" y="44"/>
                </a:cxn>
                <a:cxn ang="0">
                  <a:pos x="86" y="44"/>
                </a:cxn>
                <a:cxn ang="0">
                  <a:pos x="86" y="36"/>
                </a:cxn>
                <a:cxn ang="0">
                  <a:pos x="84" y="28"/>
                </a:cxn>
                <a:cxn ang="0">
                  <a:pos x="80" y="20"/>
                </a:cxn>
                <a:cxn ang="0">
                  <a:pos x="74" y="14"/>
                </a:cxn>
                <a:cxn ang="0">
                  <a:pos x="68" y="8"/>
                </a:cxn>
                <a:cxn ang="0">
                  <a:pos x="60" y="4"/>
                </a:cxn>
                <a:cxn ang="0">
                  <a:pos x="52" y="2"/>
                </a:cxn>
                <a:cxn ang="0">
                  <a:pos x="44" y="0"/>
                </a:cxn>
              </a:cxnLst>
              <a:rect l="0" t="0" r="r" b="b"/>
              <a:pathLst>
                <a:path w="86" h="86">
                  <a:moveTo>
                    <a:pt x="44" y="0"/>
                  </a:moveTo>
                  <a:lnTo>
                    <a:pt x="44" y="0"/>
                  </a:lnTo>
                  <a:lnTo>
                    <a:pt x="34" y="2"/>
                  </a:lnTo>
                  <a:lnTo>
                    <a:pt x="26" y="4"/>
                  </a:lnTo>
                  <a:lnTo>
                    <a:pt x="20" y="8"/>
                  </a:lnTo>
                  <a:lnTo>
                    <a:pt x="14" y="14"/>
                  </a:lnTo>
                  <a:lnTo>
                    <a:pt x="8" y="20"/>
                  </a:lnTo>
                  <a:lnTo>
                    <a:pt x="4" y="28"/>
                  </a:lnTo>
                  <a:lnTo>
                    <a:pt x="2" y="36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2" y="52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4" y="74"/>
                  </a:lnTo>
                  <a:lnTo>
                    <a:pt x="20" y="80"/>
                  </a:lnTo>
                  <a:lnTo>
                    <a:pt x="26" y="84"/>
                  </a:lnTo>
                  <a:lnTo>
                    <a:pt x="34" y="86"/>
                  </a:lnTo>
                  <a:lnTo>
                    <a:pt x="44" y="86"/>
                  </a:lnTo>
                  <a:lnTo>
                    <a:pt x="44" y="86"/>
                  </a:lnTo>
                  <a:lnTo>
                    <a:pt x="52" y="86"/>
                  </a:lnTo>
                  <a:lnTo>
                    <a:pt x="60" y="84"/>
                  </a:lnTo>
                  <a:lnTo>
                    <a:pt x="68" y="80"/>
                  </a:lnTo>
                  <a:lnTo>
                    <a:pt x="74" y="74"/>
                  </a:lnTo>
                  <a:lnTo>
                    <a:pt x="80" y="68"/>
                  </a:lnTo>
                  <a:lnTo>
                    <a:pt x="84" y="60"/>
                  </a:lnTo>
                  <a:lnTo>
                    <a:pt x="86" y="52"/>
                  </a:lnTo>
                  <a:lnTo>
                    <a:pt x="86" y="44"/>
                  </a:lnTo>
                  <a:lnTo>
                    <a:pt x="86" y="44"/>
                  </a:lnTo>
                  <a:lnTo>
                    <a:pt x="86" y="36"/>
                  </a:lnTo>
                  <a:lnTo>
                    <a:pt x="84" y="28"/>
                  </a:lnTo>
                  <a:lnTo>
                    <a:pt x="80" y="20"/>
                  </a:lnTo>
                  <a:lnTo>
                    <a:pt x="74" y="14"/>
                  </a:lnTo>
                  <a:lnTo>
                    <a:pt x="68" y="8"/>
                  </a:lnTo>
                  <a:lnTo>
                    <a:pt x="60" y="4"/>
                  </a:lnTo>
                  <a:lnTo>
                    <a:pt x="52" y="2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13" name="Freeform 155"/>
            <p:cNvSpPr>
              <a:spLocks/>
            </p:cNvSpPr>
            <p:nvPr/>
          </p:nvSpPr>
          <p:spPr bwMode="auto">
            <a:xfrm>
              <a:off x="7601522" y="4609202"/>
              <a:ext cx="98616" cy="98616"/>
            </a:xfrm>
            <a:custGeom>
              <a:avLst/>
              <a:gdLst/>
              <a:ahLst/>
              <a:cxnLst>
                <a:cxn ang="0">
                  <a:pos x="44" y="0"/>
                </a:cxn>
                <a:cxn ang="0">
                  <a:pos x="44" y="0"/>
                </a:cxn>
                <a:cxn ang="0">
                  <a:pos x="34" y="2"/>
                </a:cxn>
                <a:cxn ang="0">
                  <a:pos x="26" y="4"/>
                </a:cxn>
                <a:cxn ang="0">
                  <a:pos x="20" y="8"/>
                </a:cxn>
                <a:cxn ang="0">
                  <a:pos x="14" y="14"/>
                </a:cxn>
                <a:cxn ang="0">
                  <a:pos x="8" y="20"/>
                </a:cxn>
                <a:cxn ang="0">
                  <a:pos x="4" y="28"/>
                </a:cxn>
                <a:cxn ang="0">
                  <a:pos x="2" y="36"/>
                </a:cxn>
                <a:cxn ang="0">
                  <a:pos x="0" y="44"/>
                </a:cxn>
                <a:cxn ang="0">
                  <a:pos x="0" y="44"/>
                </a:cxn>
                <a:cxn ang="0">
                  <a:pos x="2" y="52"/>
                </a:cxn>
                <a:cxn ang="0">
                  <a:pos x="4" y="60"/>
                </a:cxn>
                <a:cxn ang="0">
                  <a:pos x="8" y="68"/>
                </a:cxn>
                <a:cxn ang="0">
                  <a:pos x="14" y="74"/>
                </a:cxn>
                <a:cxn ang="0">
                  <a:pos x="20" y="80"/>
                </a:cxn>
                <a:cxn ang="0">
                  <a:pos x="26" y="84"/>
                </a:cxn>
                <a:cxn ang="0">
                  <a:pos x="34" y="86"/>
                </a:cxn>
                <a:cxn ang="0">
                  <a:pos x="44" y="86"/>
                </a:cxn>
                <a:cxn ang="0">
                  <a:pos x="44" y="86"/>
                </a:cxn>
                <a:cxn ang="0">
                  <a:pos x="52" y="86"/>
                </a:cxn>
                <a:cxn ang="0">
                  <a:pos x="60" y="84"/>
                </a:cxn>
                <a:cxn ang="0">
                  <a:pos x="68" y="80"/>
                </a:cxn>
                <a:cxn ang="0">
                  <a:pos x="74" y="74"/>
                </a:cxn>
                <a:cxn ang="0">
                  <a:pos x="80" y="68"/>
                </a:cxn>
                <a:cxn ang="0">
                  <a:pos x="84" y="60"/>
                </a:cxn>
                <a:cxn ang="0">
                  <a:pos x="86" y="52"/>
                </a:cxn>
                <a:cxn ang="0">
                  <a:pos x="86" y="44"/>
                </a:cxn>
                <a:cxn ang="0">
                  <a:pos x="86" y="44"/>
                </a:cxn>
                <a:cxn ang="0">
                  <a:pos x="86" y="36"/>
                </a:cxn>
                <a:cxn ang="0">
                  <a:pos x="84" y="28"/>
                </a:cxn>
                <a:cxn ang="0">
                  <a:pos x="80" y="20"/>
                </a:cxn>
                <a:cxn ang="0">
                  <a:pos x="74" y="14"/>
                </a:cxn>
                <a:cxn ang="0">
                  <a:pos x="68" y="8"/>
                </a:cxn>
                <a:cxn ang="0">
                  <a:pos x="60" y="4"/>
                </a:cxn>
                <a:cxn ang="0">
                  <a:pos x="52" y="2"/>
                </a:cxn>
                <a:cxn ang="0">
                  <a:pos x="44" y="0"/>
                </a:cxn>
              </a:cxnLst>
              <a:rect l="0" t="0" r="r" b="b"/>
              <a:pathLst>
                <a:path w="86" h="86">
                  <a:moveTo>
                    <a:pt x="44" y="0"/>
                  </a:moveTo>
                  <a:lnTo>
                    <a:pt x="44" y="0"/>
                  </a:lnTo>
                  <a:lnTo>
                    <a:pt x="34" y="2"/>
                  </a:lnTo>
                  <a:lnTo>
                    <a:pt x="26" y="4"/>
                  </a:lnTo>
                  <a:lnTo>
                    <a:pt x="20" y="8"/>
                  </a:lnTo>
                  <a:lnTo>
                    <a:pt x="14" y="14"/>
                  </a:lnTo>
                  <a:lnTo>
                    <a:pt x="8" y="20"/>
                  </a:lnTo>
                  <a:lnTo>
                    <a:pt x="4" y="28"/>
                  </a:lnTo>
                  <a:lnTo>
                    <a:pt x="2" y="36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2" y="52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4" y="74"/>
                  </a:lnTo>
                  <a:lnTo>
                    <a:pt x="20" y="80"/>
                  </a:lnTo>
                  <a:lnTo>
                    <a:pt x="26" y="84"/>
                  </a:lnTo>
                  <a:lnTo>
                    <a:pt x="34" y="86"/>
                  </a:lnTo>
                  <a:lnTo>
                    <a:pt x="44" y="86"/>
                  </a:lnTo>
                  <a:lnTo>
                    <a:pt x="44" y="86"/>
                  </a:lnTo>
                  <a:lnTo>
                    <a:pt x="52" y="86"/>
                  </a:lnTo>
                  <a:lnTo>
                    <a:pt x="60" y="84"/>
                  </a:lnTo>
                  <a:lnTo>
                    <a:pt x="68" y="80"/>
                  </a:lnTo>
                  <a:lnTo>
                    <a:pt x="74" y="74"/>
                  </a:lnTo>
                  <a:lnTo>
                    <a:pt x="80" y="68"/>
                  </a:lnTo>
                  <a:lnTo>
                    <a:pt x="84" y="60"/>
                  </a:lnTo>
                  <a:lnTo>
                    <a:pt x="86" y="52"/>
                  </a:lnTo>
                  <a:lnTo>
                    <a:pt x="86" y="44"/>
                  </a:lnTo>
                  <a:lnTo>
                    <a:pt x="86" y="44"/>
                  </a:lnTo>
                  <a:lnTo>
                    <a:pt x="86" y="36"/>
                  </a:lnTo>
                  <a:lnTo>
                    <a:pt x="84" y="28"/>
                  </a:lnTo>
                  <a:lnTo>
                    <a:pt x="80" y="20"/>
                  </a:lnTo>
                  <a:lnTo>
                    <a:pt x="74" y="14"/>
                  </a:lnTo>
                  <a:lnTo>
                    <a:pt x="68" y="8"/>
                  </a:lnTo>
                  <a:lnTo>
                    <a:pt x="60" y="4"/>
                  </a:lnTo>
                  <a:lnTo>
                    <a:pt x="52" y="2"/>
                  </a:lnTo>
                  <a:lnTo>
                    <a:pt x="44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14" name="Freeform 156"/>
            <p:cNvSpPr>
              <a:spLocks/>
            </p:cNvSpPr>
            <p:nvPr/>
          </p:nvSpPr>
          <p:spPr bwMode="auto">
            <a:xfrm>
              <a:off x="8204684" y="4895876"/>
              <a:ext cx="98616" cy="98616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42" y="0"/>
                </a:cxn>
                <a:cxn ang="0">
                  <a:pos x="34" y="0"/>
                </a:cxn>
                <a:cxn ang="0">
                  <a:pos x="26" y="2"/>
                </a:cxn>
                <a:cxn ang="0">
                  <a:pos x="18" y="6"/>
                </a:cxn>
                <a:cxn ang="0">
                  <a:pos x="12" y="12"/>
                </a:cxn>
                <a:cxn ang="0">
                  <a:pos x="8" y="18"/>
                </a:cxn>
                <a:cxn ang="0">
                  <a:pos x="4" y="26"/>
                </a:cxn>
                <a:cxn ang="0">
                  <a:pos x="0" y="34"/>
                </a:cxn>
                <a:cxn ang="0">
                  <a:pos x="0" y="42"/>
                </a:cxn>
                <a:cxn ang="0">
                  <a:pos x="0" y="42"/>
                </a:cxn>
                <a:cxn ang="0">
                  <a:pos x="0" y="50"/>
                </a:cxn>
                <a:cxn ang="0">
                  <a:pos x="4" y="58"/>
                </a:cxn>
                <a:cxn ang="0">
                  <a:pos x="8" y="66"/>
                </a:cxn>
                <a:cxn ang="0">
                  <a:pos x="12" y="72"/>
                </a:cxn>
                <a:cxn ang="0">
                  <a:pos x="18" y="78"/>
                </a:cxn>
                <a:cxn ang="0">
                  <a:pos x="26" y="82"/>
                </a:cxn>
                <a:cxn ang="0">
                  <a:pos x="34" y="84"/>
                </a:cxn>
                <a:cxn ang="0">
                  <a:pos x="42" y="86"/>
                </a:cxn>
                <a:cxn ang="0">
                  <a:pos x="42" y="86"/>
                </a:cxn>
                <a:cxn ang="0">
                  <a:pos x="52" y="84"/>
                </a:cxn>
                <a:cxn ang="0">
                  <a:pos x="60" y="82"/>
                </a:cxn>
                <a:cxn ang="0">
                  <a:pos x="66" y="78"/>
                </a:cxn>
                <a:cxn ang="0">
                  <a:pos x="74" y="72"/>
                </a:cxn>
                <a:cxn ang="0">
                  <a:pos x="78" y="66"/>
                </a:cxn>
                <a:cxn ang="0">
                  <a:pos x="82" y="58"/>
                </a:cxn>
                <a:cxn ang="0">
                  <a:pos x="84" y="50"/>
                </a:cxn>
                <a:cxn ang="0">
                  <a:pos x="86" y="42"/>
                </a:cxn>
                <a:cxn ang="0">
                  <a:pos x="86" y="42"/>
                </a:cxn>
                <a:cxn ang="0">
                  <a:pos x="84" y="34"/>
                </a:cxn>
                <a:cxn ang="0">
                  <a:pos x="82" y="26"/>
                </a:cxn>
                <a:cxn ang="0">
                  <a:pos x="78" y="18"/>
                </a:cxn>
                <a:cxn ang="0">
                  <a:pos x="74" y="12"/>
                </a:cxn>
                <a:cxn ang="0">
                  <a:pos x="66" y="6"/>
                </a:cxn>
                <a:cxn ang="0">
                  <a:pos x="60" y="2"/>
                </a:cxn>
                <a:cxn ang="0">
                  <a:pos x="52" y="0"/>
                </a:cxn>
                <a:cxn ang="0">
                  <a:pos x="42" y="0"/>
                </a:cxn>
              </a:cxnLst>
              <a:rect l="0" t="0" r="r" b="b"/>
              <a:pathLst>
                <a:path w="86" h="86">
                  <a:moveTo>
                    <a:pt x="42" y="0"/>
                  </a:moveTo>
                  <a:lnTo>
                    <a:pt x="42" y="0"/>
                  </a:lnTo>
                  <a:lnTo>
                    <a:pt x="34" y="0"/>
                  </a:lnTo>
                  <a:lnTo>
                    <a:pt x="26" y="2"/>
                  </a:lnTo>
                  <a:lnTo>
                    <a:pt x="18" y="6"/>
                  </a:lnTo>
                  <a:lnTo>
                    <a:pt x="12" y="12"/>
                  </a:lnTo>
                  <a:lnTo>
                    <a:pt x="8" y="18"/>
                  </a:lnTo>
                  <a:lnTo>
                    <a:pt x="4" y="26"/>
                  </a:lnTo>
                  <a:lnTo>
                    <a:pt x="0" y="34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50"/>
                  </a:lnTo>
                  <a:lnTo>
                    <a:pt x="4" y="58"/>
                  </a:lnTo>
                  <a:lnTo>
                    <a:pt x="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26" y="82"/>
                  </a:lnTo>
                  <a:lnTo>
                    <a:pt x="34" y="84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52" y="84"/>
                  </a:lnTo>
                  <a:lnTo>
                    <a:pt x="60" y="82"/>
                  </a:lnTo>
                  <a:lnTo>
                    <a:pt x="66" y="78"/>
                  </a:lnTo>
                  <a:lnTo>
                    <a:pt x="74" y="72"/>
                  </a:lnTo>
                  <a:lnTo>
                    <a:pt x="78" y="66"/>
                  </a:lnTo>
                  <a:lnTo>
                    <a:pt x="82" y="58"/>
                  </a:lnTo>
                  <a:lnTo>
                    <a:pt x="84" y="50"/>
                  </a:lnTo>
                  <a:lnTo>
                    <a:pt x="86" y="42"/>
                  </a:lnTo>
                  <a:lnTo>
                    <a:pt x="86" y="42"/>
                  </a:lnTo>
                  <a:lnTo>
                    <a:pt x="84" y="34"/>
                  </a:lnTo>
                  <a:lnTo>
                    <a:pt x="82" y="26"/>
                  </a:lnTo>
                  <a:lnTo>
                    <a:pt x="78" y="18"/>
                  </a:lnTo>
                  <a:lnTo>
                    <a:pt x="74" y="12"/>
                  </a:lnTo>
                  <a:lnTo>
                    <a:pt x="66" y="6"/>
                  </a:lnTo>
                  <a:lnTo>
                    <a:pt x="60" y="2"/>
                  </a:lnTo>
                  <a:lnTo>
                    <a:pt x="52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15" name="Freeform 157"/>
            <p:cNvSpPr>
              <a:spLocks/>
            </p:cNvSpPr>
            <p:nvPr/>
          </p:nvSpPr>
          <p:spPr bwMode="auto">
            <a:xfrm>
              <a:off x="8204684" y="4895876"/>
              <a:ext cx="98616" cy="98616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42" y="0"/>
                </a:cxn>
                <a:cxn ang="0">
                  <a:pos x="34" y="0"/>
                </a:cxn>
                <a:cxn ang="0">
                  <a:pos x="26" y="2"/>
                </a:cxn>
                <a:cxn ang="0">
                  <a:pos x="18" y="6"/>
                </a:cxn>
                <a:cxn ang="0">
                  <a:pos x="12" y="12"/>
                </a:cxn>
                <a:cxn ang="0">
                  <a:pos x="8" y="18"/>
                </a:cxn>
                <a:cxn ang="0">
                  <a:pos x="4" y="26"/>
                </a:cxn>
                <a:cxn ang="0">
                  <a:pos x="0" y="34"/>
                </a:cxn>
                <a:cxn ang="0">
                  <a:pos x="0" y="42"/>
                </a:cxn>
                <a:cxn ang="0">
                  <a:pos x="0" y="42"/>
                </a:cxn>
                <a:cxn ang="0">
                  <a:pos x="0" y="50"/>
                </a:cxn>
                <a:cxn ang="0">
                  <a:pos x="4" y="58"/>
                </a:cxn>
                <a:cxn ang="0">
                  <a:pos x="8" y="66"/>
                </a:cxn>
                <a:cxn ang="0">
                  <a:pos x="12" y="72"/>
                </a:cxn>
                <a:cxn ang="0">
                  <a:pos x="18" y="78"/>
                </a:cxn>
                <a:cxn ang="0">
                  <a:pos x="26" y="82"/>
                </a:cxn>
                <a:cxn ang="0">
                  <a:pos x="34" y="84"/>
                </a:cxn>
                <a:cxn ang="0">
                  <a:pos x="42" y="86"/>
                </a:cxn>
                <a:cxn ang="0">
                  <a:pos x="42" y="86"/>
                </a:cxn>
                <a:cxn ang="0">
                  <a:pos x="52" y="84"/>
                </a:cxn>
                <a:cxn ang="0">
                  <a:pos x="60" y="82"/>
                </a:cxn>
                <a:cxn ang="0">
                  <a:pos x="66" y="78"/>
                </a:cxn>
                <a:cxn ang="0">
                  <a:pos x="74" y="72"/>
                </a:cxn>
                <a:cxn ang="0">
                  <a:pos x="78" y="66"/>
                </a:cxn>
                <a:cxn ang="0">
                  <a:pos x="82" y="58"/>
                </a:cxn>
                <a:cxn ang="0">
                  <a:pos x="84" y="50"/>
                </a:cxn>
                <a:cxn ang="0">
                  <a:pos x="86" y="42"/>
                </a:cxn>
                <a:cxn ang="0">
                  <a:pos x="86" y="42"/>
                </a:cxn>
                <a:cxn ang="0">
                  <a:pos x="84" y="34"/>
                </a:cxn>
                <a:cxn ang="0">
                  <a:pos x="82" y="26"/>
                </a:cxn>
                <a:cxn ang="0">
                  <a:pos x="78" y="18"/>
                </a:cxn>
                <a:cxn ang="0">
                  <a:pos x="74" y="12"/>
                </a:cxn>
                <a:cxn ang="0">
                  <a:pos x="66" y="6"/>
                </a:cxn>
                <a:cxn ang="0">
                  <a:pos x="60" y="2"/>
                </a:cxn>
                <a:cxn ang="0">
                  <a:pos x="52" y="0"/>
                </a:cxn>
                <a:cxn ang="0">
                  <a:pos x="42" y="0"/>
                </a:cxn>
              </a:cxnLst>
              <a:rect l="0" t="0" r="r" b="b"/>
              <a:pathLst>
                <a:path w="86" h="86">
                  <a:moveTo>
                    <a:pt x="42" y="0"/>
                  </a:moveTo>
                  <a:lnTo>
                    <a:pt x="42" y="0"/>
                  </a:lnTo>
                  <a:lnTo>
                    <a:pt x="34" y="0"/>
                  </a:lnTo>
                  <a:lnTo>
                    <a:pt x="26" y="2"/>
                  </a:lnTo>
                  <a:lnTo>
                    <a:pt x="18" y="6"/>
                  </a:lnTo>
                  <a:lnTo>
                    <a:pt x="12" y="12"/>
                  </a:lnTo>
                  <a:lnTo>
                    <a:pt x="8" y="18"/>
                  </a:lnTo>
                  <a:lnTo>
                    <a:pt x="4" y="26"/>
                  </a:lnTo>
                  <a:lnTo>
                    <a:pt x="0" y="34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50"/>
                  </a:lnTo>
                  <a:lnTo>
                    <a:pt x="4" y="58"/>
                  </a:lnTo>
                  <a:lnTo>
                    <a:pt x="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26" y="82"/>
                  </a:lnTo>
                  <a:lnTo>
                    <a:pt x="34" y="84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52" y="84"/>
                  </a:lnTo>
                  <a:lnTo>
                    <a:pt x="60" y="82"/>
                  </a:lnTo>
                  <a:lnTo>
                    <a:pt x="66" y="78"/>
                  </a:lnTo>
                  <a:lnTo>
                    <a:pt x="74" y="72"/>
                  </a:lnTo>
                  <a:lnTo>
                    <a:pt x="78" y="66"/>
                  </a:lnTo>
                  <a:lnTo>
                    <a:pt x="82" y="58"/>
                  </a:lnTo>
                  <a:lnTo>
                    <a:pt x="84" y="50"/>
                  </a:lnTo>
                  <a:lnTo>
                    <a:pt x="86" y="42"/>
                  </a:lnTo>
                  <a:lnTo>
                    <a:pt x="86" y="42"/>
                  </a:lnTo>
                  <a:lnTo>
                    <a:pt x="84" y="34"/>
                  </a:lnTo>
                  <a:lnTo>
                    <a:pt x="82" y="26"/>
                  </a:lnTo>
                  <a:lnTo>
                    <a:pt x="78" y="18"/>
                  </a:lnTo>
                  <a:lnTo>
                    <a:pt x="74" y="12"/>
                  </a:lnTo>
                  <a:lnTo>
                    <a:pt x="66" y="6"/>
                  </a:lnTo>
                  <a:lnTo>
                    <a:pt x="60" y="2"/>
                  </a:lnTo>
                  <a:lnTo>
                    <a:pt x="52" y="0"/>
                  </a:lnTo>
                  <a:lnTo>
                    <a:pt x="42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16" name="Freeform 158"/>
            <p:cNvSpPr>
              <a:spLocks/>
            </p:cNvSpPr>
            <p:nvPr/>
          </p:nvSpPr>
          <p:spPr bwMode="auto">
            <a:xfrm>
              <a:off x="8257433" y="5409597"/>
              <a:ext cx="98616" cy="98616"/>
            </a:xfrm>
            <a:custGeom>
              <a:avLst/>
              <a:gdLst/>
              <a:ahLst/>
              <a:cxnLst>
                <a:cxn ang="0">
                  <a:pos x="44" y="0"/>
                </a:cxn>
                <a:cxn ang="0">
                  <a:pos x="44" y="0"/>
                </a:cxn>
                <a:cxn ang="0">
                  <a:pos x="34" y="0"/>
                </a:cxn>
                <a:cxn ang="0">
                  <a:pos x="26" y="2"/>
                </a:cxn>
                <a:cxn ang="0">
                  <a:pos x="20" y="6"/>
                </a:cxn>
                <a:cxn ang="0">
                  <a:pos x="14" y="12"/>
                </a:cxn>
                <a:cxn ang="0">
                  <a:pos x="8" y="18"/>
                </a:cxn>
                <a:cxn ang="0">
                  <a:pos x="4" y="26"/>
                </a:cxn>
                <a:cxn ang="0">
                  <a:pos x="2" y="34"/>
                </a:cxn>
                <a:cxn ang="0">
                  <a:pos x="0" y="42"/>
                </a:cxn>
                <a:cxn ang="0">
                  <a:pos x="0" y="42"/>
                </a:cxn>
                <a:cxn ang="0">
                  <a:pos x="2" y="52"/>
                </a:cxn>
                <a:cxn ang="0">
                  <a:pos x="4" y="60"/>
                </a:cxn>
                <a:cxn ang="0">
                  <a:pos x="8" y="66"/>
                </a:cxn>
                <a:cxn ang="0">
                  <a:pos x="14" y="74"/>
                </a:cxn>
                <a:cxn ang="0">
                  <a:pos x="20" y="78"/>
                </a:cxn>
                <a:cxn ang="0">
                  <a:pos x="26" y="82"/>
                </a:cxn>
                <a:cxn ang="0">
                  <a:pos x="34" y="84"/>
                </a:cxn>
                <a:cxn ang="0">
                  <a:pos x="44" y="86"/>
                </a:cxn>
                <a:cxn ang="0">
                  <a:pos x="44" y="86"/>
                </a:cxn>
                <a:cxn ang="0">
                  <a:pos x="52" y="84"/>
                </a:cxn>
                <a:cxn ang="0">
                  <a:pos x="60" y="82"/>
                </a:cxn>
                <a:cxn ang="0">
                  <a:pos x="68" y="78"/>
                </a:cxn>
                <a:cxn ang="0">
                  <a:pos x="74" y="74"/>
                </a:cxn>
                <a:cxn ang="0">
                  <a:pos x="80" y="66"/>
                </a:cxn>
                <a:cxn ang="0">
                  <a:pos x="84" y="60"/>
                </a:cxn>
                <a:cxn ang="0">
                  <a:pos x="86" y="52"/>
                </a:cxn>
                <a:cxn ang="0">
                  <a:pos x="86" y="42"/>
                </a:cxn>
                <a:cxn ang="0">
                  <a:pos x="86" y="42"/>
                </a:cxn>
                <a:cxn ang="0">
                  <a:pos x="86" y="34"/>
                </a:cxn>
                <a:cxn ang="0">
                  <a:pos x="84" y="26"/>
                </a:cxn>
                <a:cxn ang="0">
                  <a:pos x="80" y="18"/>
                </a:cxn>
                <a:cxn ang="0">
                  <a:pos x="74" y="12"/>
                </a:cxn>
                <a:cxn ang="0">
                  <a:pos x="68" y="6"/>
                </a:cxn>
                <a:cxn ang="0">
                  <a:pos x="60" y="2"/>
                </a:cxn>
                <a:cxn ang="0">
                  <a:pos x="52" y="0"/>
                </a:cxn>
                <a:cxn ang="0">
                  <a:pos x="44" y="0"/>
                </a:cxn>
              </a:cxnLst>
              <a:rect l="0" t="0" r="r" b="b"/>
              <a:pathLst>
                <a:path w="86" h="86">
                  <a:moveTo>
                    <a:pt x="44" y="0"/>
                  </a:moveTo>
                  <a:lnTo>
                    <a:pt x="44" y="0"/>
                  </a:lnTo>
                  <a:lnTo>
                    <a:pt x="34" y="0"/>
                  </a:lnTo>
                  <a:lnTo>
                    <a:pt x="26" y="2"/>
                  </a:lnTo>
                  <a:lnTo>
                    <a:pt x="20" y="6"/>
                  </a:lnTo>
                  <a:lnTo>
                    <a:pt x="14" y="12"/>
                  </a:lnTo>
                  <a:lnTo>
                    <a:pt x="8" y="18"/>
                  </a:lnTo>
                  <a:lnTo>
                    <a:pt x="4" y="26"/>
                  </a:lnTo>
                  <a:lnTo>
                    <a:pt x="2" y="34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2" y="52"/>
                  </a:lnTo>
                  <a:lnTo>
                    <a:pt x="4" y="60"/>
                  </a:lnTo>
                  <a:lnTo>
                    <a:pt x="8" y="66"/>
                  </a:lnTo>
                  <a:lnTo>
                    <a:pt x="14" y="74"/>
                  </a:lnTo>
                  <a:lnTo>
                    <a:pt x="20" y="78"/>
                  </a:lnTo>
                  <a:lnTo>
                    <a:pt x="26" y="82"/>
                  </a:lnTo>
                  <a:lnTo>
                    <a:pt x="34" y="84"/>
                  </a:lnTo>
                  <a:lnTo>
                    <a:pt x="44" y="86"/>
                  </a:lnTo>
                  <a:lnTo>
                    <a:pt x="44" y="86"/>
                  </a:lnTo>
                  <a:lnTo>
                    <a:pt x="52" y="84"/>
                  </a:lnTo>
                  <a:lnTo>
                    <a:pt x="60" y="82"/>
                  </a:lnTo>
                  <a:lnTo>
                    <a:pt x="68" y="78"/>
                  </a:lnTo>
                  <a:lnTo>
                    <a:pt x="74" y="74"/>
                  </a:lnTo>
                  <a:lnTo>
                    <a:pt x="80" y="66"/>
                  </a:lnTo>
                  <a:lnTo>
                    <a:pt x="84" y="60"/>
                  </a:lnTo>
                  <a:lnTo>
                    <a:pt x="86" y="52"/>
                  </a:lnTo>
                  <a:lnTo>
                    <a:pt x="86" y="42"/>
                  </a:lnTo>
                  <a:lnTo>
                    <a:pt x="86" y="42"/>
                  </a:lnTo>
                  <a:lnTo>
                    <a:pt x="86" y="34"/>
                  </a:lnTo>
                  <a:lnTo>
                    <a:pt x="84" y="26"/>
                  </a:lnTo>
                  <a:lnTo>
                    <a:pt x="80" y="18"/>
                  </a:lnTo>
                  <a:lnTo>
                    <a:pt x="74" y="12"/>
                  </a:lnTo>
                  <a:lnTo>
                    <a:pt x="68" y="6"/>
                  </a:lnTo>
                  <a:lnTo>
                    <a:pt x="60" y="2"/>
                  </a:lnTo>
                  <a:lnTo>
                    <a:pt x="52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17" name="Freeform 159"/>
            <p:cNvSpPr>
              <a:spLocks/>
            </p:cNvSpPr>
            <p:nvPr/>
          </p:nvSpPr>
          <p:spPr bwMode="auto">
            <a:xfrm>
              <a:off x="8257433" y="5409597"/>
              <a:ext cx="98616" cy="98616"/>
            </a:xfrm>
            <a:custGeom>
              <a:avLst/>
              <a:gdLst/>
              <a:ahLst/>
              <a:cxnLst>
                <a:cxn ang="0">
                  <a:pos x="44" y="0"/>
                </a:cxn>
                <a:cxn ang="0">
                  <a:pos x="44" y="0"/>
                </a:cxn>
                <a:cxn ang="0">
                  <a:pos x="34" y="0"/>
                </a:cxn>
                <a:cxn ang="0">
                  <a:pos x="26" y="2"/>
                </a:cxn>
                <a:cxn ang="0">
                  <a:pos x="20" y="6"/>
                </a:cxn>
                <a:cxn ang="0">
                  <a:pos x="14" y="12"/>
                </a:cxn>
                <a:cxn ang="0">
                  <a:pos x="8" y="18"/>
                </a:cxn>
                <a:cxn ang="0">
                  <a:pos x="4" y="26"/>
                </a:cxn>
                <a:cxn ang="0">
                  <a:pos x="2" y="34"/>
                </a:cxn>
                <a:cxn ang="0">
                  <a:pos x="0" y="42"/>
                </a:cxn>
                <a:cxn ang="0">
                  <a:pos x="0" y="42"/>
                </a:cxn>
                <a:cxn ang="0">
                  <a:pos x="2" y="52"/>
                </a:cxn>
                <a:cxn ang="0">
                  <a:pos x="4" y="60"/>
                </a:cxn>
                <a:cxn ang="0">
                  <a:pos x="8" y="66"/>
                </a:cxn>
                <a:cxn ang="0">
                  <a:pos x="14" y="74"/>
                </a:cxn>
                <a:cxn ang="0">
                  <a:pos x="20" y="78"/>
                </a:cxn>
                <a:cxn ang="0">
                  <a:pos x="26" y="82"/>
                </a:cxn>
                <a:cxn ang="0">
                  <a:pos x="34" y="84"/>
                </a:cxn>
                <a:cxn ang="0">
                  <a:pos x="44" y="86"/>
                </a:cxn>
                <a:cxn ang="0">
                  <a:pos x="44" y="86"/>
                </a:cxn>
                <a:cxn ang="0">
                  <a:pos x="52" y="84"/>
                </a:cxn>
                <a:cxn ang="0">
                  <a:pos x="60" y="82"/>
                </a:cxn>
                <a:cxn ang="0">
                  <a:pos x="68" y="78"/>
                </a:cxn>
                <a:cxn ang="0">
                  <a:pos x="74" y="74"/>
                </a:cxn>
                <a:cxn ang="0">
                  <a:pos x="80" y="66"/>
                </a:cxn>
                <a:cxn ang="0">
                  <a:pos x="84" y="60"/>
                </a:cxn>
                <a:cxn ang="0">
                  <a:pos x="86" y="52"/>
                </a:cxn>
                <a:cxn ang="0">
                  <a:pos x="86" y="42"/>
                </a:cxn>
                <a:cxn ang="0">
                  <a:pos x="86" y="42"/>
                </a:cxn>
                <a:cxn ang="0">
                  <a:pos x="86" y="34"/>
                </a:cxn>
                <a:cxn ang="0">
                  <a:pos x="84" y="26"/>
                </a:cxn>
                <a:cxn ang="0">
                  <a:pos x="80" y="18"/>
                </a:cxn>
                <a:cxn ang="0">
                  <a:pos x="74" y="12"/>
                </a:cxn>
                <a:cxn ang="0">
                  <a:pos x="68" y="6"/>
                </a:cxn>
                <a:cxn ang="0">
                  <a:pos x="60" y="2"/>
                </a:cxn>
                <a:cxn ang="0">
                  <a:pos x="52" y="0"/>
                </a:cxn>
                <a:cxn ang="0">
                  <a:pos x="44" y="0"/>
                </a:cxn>
              </a:cxnLst>
              <a:rect l="0" t="0" r="r" b="b"/>
              <a:pathLst>
                <a:path w="86" h="86">
                  <a:moveTo>
                    <a:pt x="44" y="0"/>
                  </a:moveTo>
                  <a:lnTo>
                    <a:pt x="44" y="0"/>
                  </a:lnTo>
                  <a:lnTo>
                    <a:pt x="34" y="0"/>
                  </a:lnTo>
                  <a:lnTo>
                    <a:pt x="26" y="2"/>
                  </a:lnTo>
                  <a:lnTo>
                    <a:pt x="20" y="6"/>
                  </a:lnTo>
                  <a:lnTo>
                    <a:pt x="14" y="12"/>
                  </a:lnTo>
                  <a:lnTo>
                    <a:pt x="8" y="18"/>
                  </a:lnTo>
                  <a:lnTo>
                    <a:pt x="4" y="26"/>
                  </a:lnTo>
                  <a:lnTo>
                    <a:pt x="2" y="34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2" y="52"/>
                  </a:lnTo>
                  <a:lnTo>
                    <a:pt x="4" y="60"/>
                  </a:lnTo>
                  <a:lnTo>
                    <a:pt x="8" y="66"/>
                  </a:lnTo>
                  <a:lnTo>
                    <a:pt x="14" y="74"/>
                  </a:lnTo>
                  <a:lnTo>
                    <a:pt x="20" y="78"/>
                  </a:lnTo>
                  <a:lnTo>
                    <a:pt x="26" y="82"/>
                  </a:lnTo>
                  <a:lnTo>
                    <a:pt x="34" y="84"/>
                  </a:lnTo>
                  <a:lnTo>
                    <a:pt x="44" y="86"/>
                  </a:lnTo>
                  <a:lnTo>
                    <a:pt x="44" y="86"/>
                  </a:lnTo>
                  <a:lnTo>
                    <a:pt x="52" y="84"/>
                  </a:lnTo>
                  <a:lnTo>
                    <a:pt x="60" y="82"/>
                  </a:lnTo>
                  <a:lnTo>
                    <a:pt x="68" y="78"/>
                  </a:lnTo>
                  <a:lnTo>
                    <a:pt x="74" y="74"/>
                  </a:lnTo>
                  <a:lnTo>
                    <a:pt x="80" y="66"/>
                  </a:lnTo>
                  <a:lnTo>
                    <a:pt x="84" y="60"/>
                  </a:lnTo>
                  <a:lnTo>
                    <a:pt x="86" y="52"/>
                  </a:lnTo>
                  <a:lnTo>
                    <a:pt x="86" y="42"/>
                  </a:lnTo>
                  <a:lnTo>
                    <a:pt x="86" y="42"/>
                  </a:lnTo>
                  <a:lnTo>
                    <a:pt x="86" y="34"/>
                  </a:lnTo>
                  <a:lnTo>
                    <a:pt x="84" y="26"/>
                  </a:lnTo>
                  <a:lnTo>
                    <a:pt x="80" y="18"/>
                  </a:lnTo>
                  <a:lnTo>
                    <a:pt x="74" y="12"/>
                  </a:lnTo>
                  <a:lnTo>
                    <a:pt x="68" y="6"/>
                  </a:lnTo>
                  <a:lnTo>
                    <a:pt x="60" y="2"/>
                  </a:lnTo>
                  <a:lnTo>
                    <a:pt x="52" y="0"/>
                  </a:lnTo>
                  <a:lnTo>
                    <a:pt x="44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18" name="Freeform 160"/>
            <p:cNvSpPr>
              <a:spLocks/>
            </p:cNvSpPr>
            <p:nvPr/>
          </p:nvSpPr>
          <p:spPr bwMode="auto">
            <a:xfrm>
              <a:off x="8388156" y="5882036"/>
              <a:ext cx="98616" cy="98616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42" y="0"/>
                </a:cxn>
                <a:cxn ang="0">
                  <a:pos x="34" y="0"/>
                </a:cxn>
                <a:cxn ang="0">
                  <a:pos x="26" y="4"/>
                </a:cxn>
                <a:cxn ang="0">
                  <a:pos x="18" y="8"/>
                </a:cxn>
                <a:cxn ang="0">
                  <a:pos x="12" y="12"/>
                </a:cxn>
                <a:cxn ang="0">
                  <a:pos x="6" y="18"/>
                </a:cxn>
                <a:cxn ang="0">
                  <a:pos x="2" y="26"/>
                </a:cxn>
                <a:cxn ang="0">
                  <a:pos x="0" y="34"/>
                </a:cxn>
                <a:cxn ang="0">
                  <a:pos x="0" y="42"/>
                </a:cxn>
                <a:cxn ang="0">
                  <a:pos x="0" y="42"/>
                </a:cxn>
                <a:cxn ang="0">
                  <a:pos x="0" y="52"/>
                </a:cxn>
                <a:cxn ang="0">
                  <a:pos x="2" y="60"/>
                </a:cxn>
                <a:cxn ang="0">
                  <a:pos x="6" y="66"/>
                </a:cxn>
                <a:cxn ang="0">
                  <a:pos x="12" y="74"/>
                </a:cxn>
                <a:cxn ang="0">
                  <a:pos x="18" y="78"/>
                </a:cxn>
                <a:cxn ang="0">
                  <a:pos x="26" y="82"/>
                </a:cxn>
                <a:cxn ang="0">
                  <a:pos x="34" y="84"/>
                </a:cxn>
                <a:cxn ang="0">
                  <a:pos x="42" y="86"/>
                </a:cxn>
                <a:cxn ang="0">
                  <a:pos x="42" y="86"/>
                </a:cxn>
                <a:cxn ang="0">
                  <a:pos x="50" y="84"/>
                </a:cxn>
                <a:cxn ang="0">
                  <a:pos x="58" y="82"/>
                </a:cxn>
                <a:cxn ang="0">
                  <a:pos x="66" y="78"/>
                </a:cxn>
                <a:cxn ang="0">
                  <a:pos x="72" y="74"/>
                </a:cxn>
                <a:cxn ang="0">
                  <a:pos x="78" y="66"/>
                </a:cxn>
                <a:cxn ang="0">
                  <a:pos x="82" y="60"/>
                </a:cxn>
                <a:cxn ang="0">
                  <a:pos x="84" y="52"/>
                </a:cxn>
                <a:cxn ang="0">
                  <a:pos x="86" y="42"/>
                </a:cxn>
                <a:cxn ang="0">
                  <a:pos x="86" y="42"/>
                </a:cxn>
                <a:cxn ang="0">
                  <a:pos x="84" y="34"/>
                </a:cxn>
                <a:cxn ang="0">
                  <a:pos x="82" y="26"/>
                </a:cxn>
                <a:cxn ang="0">
                  <a:pos x="78" y="18"/>
                </a:cxn>
                <a:cxn ang="0">
                  <a:pos x="72" y="12"/>
                </a:cxn>
                <a:cxn ang="0">
                  <a:pos x="66" y="8"/>
                </a:cxn>
                <a:cxn ang="0">
                  <a:pos x="58" y="4"/>
                </a:cxn>
                <a:cxn ang="0">
                  <a:pos x="50" y="0"/>
                </a:cxn>
                <a:cxn ang="0">
                  <a:pos x="42" y="0"/>
                </a:cxn>
              </a:cxnLst>
              <a:rect l="0" t="0" r="r" b="b"/>
              <a:pathLst>
                <a:path w="86" h="86">
                  <a:moveTo>
                    <a:pt x="42" y="0"/>
                  </a:moveTo>
                  <a:lnTo>
                    <a:pt x="42" y="0"/>
                  </a:lnTo>
                  <a:lnTo>
                    <a:pt x="34" y="0"/>
                  </a:lnTo>
                  <a:lnTo>
                    <a:pt x="26" y="4"/>
                  </a:lnTo>
                  <a:lnTo>
                    <a:pt x="18" y="8"/>
                  </a:lnTo>
                  <a:lnTo>
                    <a:pt x="12" y="12"/>
                  </a:lnTo>
                  <a:lnTo>
                    <a:pt x="6" y="18"/>
                  </a:lnTo>
                  <a:lnTo>
                    <a:pt x="2" y="26"/>
                  </a:lnTo>
                  <a:lnTo>
                    <a:pt x="0" y="34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52"/>
                  </a:lnTo>
                  <a:lnTo>
                    <a:pt x="2" y="60"/>
                  </a:lnTo>
                  <a:lnTo>
                    <a:pt x="6" y="66"/>
                  </a:lnTo>
                  <a:lnTo>
                    <a:pt x="12" y="74"/>
                  </a:lnTo>
                  <a:lnTo>
                    <a:pt x="18" y="78"/>
                  </a:lnTo>
                  <a:lnTo>
                    <a:pt x="26" y="82"/>
                  </a:lnTo>
                  <a:lnTo>
                    <a:pt x="34" y="84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50" y="84"/>
                  </a:lnTo>
                  <a:lnTo>
                    <a:pt x="58" y="82"/>
                  </a:lnTo>
                  <a:lnTo>
                    <a:pt x="66" y="78"/>
                  </a:lnTo>
                  <a:lnTo>
                    <a:pt x="72" y="74"/>
                  </a:lnTo>
                  <a:lnTo>
                    <a:pt x="78" y="66"/>
                  </a:lnTo>
                  <a:lnTo>
                    <a:pt x="82" y="60"/>
                  </a:lnTo>
                  <a:lnTo>
                    <a:pt x="84" y="52"/>
                  </a:lnTo>
                  <a:lnTo>
                    <a:pt x="86" y="42"/>
                  </a:lnTo>
                  <a:lnTo>
                    <a:pt x="86" y="42"/>
                  </a:lnTo>
                  <a:lnTo>
                    <a:pt x="84" y="34"/>
                  </a:lnTo>
                  <a:lnTo>
                    <a:pt x="82" y="26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6" y="8"/>
                  </a:lnTo>
                  <a:lnTo>
                    <a:pt x="58" y="4"/>
                  </a:lnTo>
                  <a:lnTo>
                    <a:pt x="50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19" name="Freeform 161"/>
            <p:cNvSpPr>
              <a:spLocks/>
            </p:cNvSpPr>
            <p:nvPr/>
          </p:nvSpPr>
          <p:spPr bwMode="auto">
            <a:xfrm>
              <a:off x="8388156" y="5882036"/>
              <a:ext cx="98616" cy="98616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42" y="0"/>
                </a:cxn>
                <a:cxn ang="0">
                  <a:pos x="34" y="0"/>
                </a:cxn>
                <a:cxn ang="0">
                  <a:pos x="26" y="4"/>
                </a:cxn>
                <a:cxn ang="0">
                  <a:pos x="18" y="8"/>
                </a:cxn>
                <a:cxn ang="0">
                  <a:pos x="12" y="12"/>
                </a:cxn>
                <a:cxn ang="0">
                  <a:pos x="6" y="18"/>
                </a:cxn>
                <a:cxn ang="0">
                  <a:pos x="2" y="26"/>
                </a:cxn>
                <a:cxn ang="0">
                  <a:pos x="0" y="34"/>
                </a:cxn>
                <a:cxn ang="0">
                  <a:pos x="0" y="42"/>
                </a:cxn>
                <a:cxn ang="0">
                  <a:pos x="0" y="42"/>
                </a:cxn>
                <a:cxn ang="0">
                  <a:pos x="0" y="52"/>
                </a:cxn>
                <a:cxn ang="0">
                  <a:pos x="2" y="60"/>
                </a:cxn>
                <a:cxn ang="0">
                  <a:pos x="6" y="66"/>
                </a:cxn>
                <a:cxn ang="0">
                  <a:pos x="12" y="74"/>
                </a:cxn>
                <a:cxn ang="0">
                  <a:pos x="18" y="78"/>
                </a:cxn>
                <a:cxn ang="0">
                  <a:pos x="26" y="82"/>
                </a:cxn>
                <a:cxn ang="0">
                  <a:pos x="34" y="84"/>
                </a:cxn>
                <a:cxn ang="0">
                  <a:pos x="42" y="86"/>
                </a:cxn>
                <a:cxn ang="0">
                  <a:pos x="42" y="86"/>
                </a:cxn>
                <a:cxn ang="0">
                  <a:pos x="50" y="84"/>
                </a:cxn>
                <a:cxn ang="0">
                  <a:pos x="58" y="82"/>
                </a:cxn>
                <a:cxn ang="0">
                  <a:pos x="66" y="78"/>
                </a:cxn>
                <a:cxn ang="0">
                  <a:pos x="72" y="74"/>
                </a:cxn>
                <a:cxn ang="0">
                  <a:pos x="78" y="66"/>
                </a:cxn>
                <a:cxn ang="0">
                  <a:pos x="82" y="60"/>
                </a:cxn>
                <a:cxn ang="0">
                  <a:pos x="84" y="52"/>
                </a:cxn>
                <a:cxn ang="0">
                  <a:pos x="86" y="42"/>
                </a:cxn>
                <a:cxn ang="0">
                  <a:pos x="86" y="42"/>
                </a:cxn>
                <a:cxn ang="0">
                  <a:pos x="84" y="34"/>
                </a:cxn>
                <a:cxn ang="0">
                  <a:pos x="82" y="26"/>
                </a:cxn>
                <a:cxn ang="0">
                  <a:pos x="78" y="18"/>
                </a:cxn>
                <a:cxn ang="0">
                  <a:pos x="72" y="12"/>
                </a:cxn>
                <a:cxn ang="0">
                  <a:pos x="66" y="8"/>
                </a:cxn>
                <a:cxn ang="0">
                  <a:pos x="58" y="4"/>
                </a:cxn>
                <a:cxn ang="0">
                  <a:pos x="50" y="0"/>
                </a:cxn>
                <a:cxn ang="0">
                  <a:pos x="42" y="0"/>
                </a:cxn>
              </a:cxnLst>
              <a:rect l="0" t="0" r="r" b="b"/>
              <a:pathLst>
                <a:path w="86" h="86">
                  <a:moveTo>
                    <a:pt x="42" y="0"/>
                  </a:moveTo>
                  <a:lnTo>
                    <a:pt x="42" y="0"/>
                  </a:lnTo>
                  <a:lnTo>
                    <a:pt x="34" y="0"/>
                  </a:lnTo>
                  <a:lnTo>
                    <a:pt x="26" y="4"/>
                  </a:lnTo>
                  <a:lnTo>
                    <a:pt x="18" y="8"/>
                  </a:lnTo>
                  <a:lnTo>
                    <a:pt x="12" y="12"/>
                  </a:lnTo>
                  <a:lnTo>
                    <a:pt x="6" y="18"/>
                  </a:lnTo>
                  <a:lnTo>
                    <a:pt x="2" y="26"/>
                  </a:lnTo>
                  <a:lnTo>
                    <a:pt x="0" y="34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52"/>
                  </a:lnTo>
                  <a:lnTo>
                    <a:pt x="2" y="60"/>
                  </a:lnTo>
                  <a:lnTo>
                    <a:pt x="6" y="66"/>
                  </a:lnTo>
                  <a:lnTo>
                    <a:pt x="12" y="74"/>
                  </a:lnTo>
                  <a:lnTo>
                    <a:pt x="18" y="78"/>
                  </a:lnTo>
                  <a:lnTo>
                    <a:pt x="26" y="82"/>
                  </a:lnTo>
                  <a:lnTo>
                    <a:pt x="34" y="84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50" y="84"/>
                  </a:lnTo>
                  <a:lnTo>
                    <a:pt x="58" y="82"/>
                  </a:lnTo>
                  <a:lnTo>
                    <a:pt x="66" y="78"/>
                  </a:lnTo>
                  <a:lnTo>
                    <a:pt x="72" y="74"/>
                  </a:lnTo>
                  <a:lnTo>
                    <a:pt x="78" y="66"/>
                  </a:lnTo>
                  <a:lnTo>
                    <a:pt x="82" y="60"/>
                  </a:lnTo>
                  <a:lnTo>
                    <a:pt x="84" y="52"/>
                  </a:lnTo>
                  <a:lnTo>
                    <a:pt x="86" y="42"/>
                  </a:lnTo>
                  <a:lnTo>
                    <a:pt x="86" y="42"/>
                  </a:lnTo>
                  <a:lnTo>
                    <a:pt x="84" y="34"/>
                  </a:lnTo>
                  <a:lnTo>
                    <a:pt x="82" y="26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6" y="8"/>
                  </a:lnTo>
                  <a:lnTo>
                    <a:pt x="58" y="4"/>
                  </a:lnTo>
                  <a:lnTo>
                    <a:pt x="50" y="0"/>
                  </a:lnTo>
                  <a:lnTo>
                    <a:pt x="42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20" name="Freeform 162"/>
            <p:cNvSpPr>
              <a:spLocks/>
            </p:cNvSpPr>
            <p:nvPr/>
          </p:nvSpPr>
          <p:spPr bwMode="auto">
            <a:xfrm>
              <a:off x="7564828" y="5313274"/>
              <a:ext cx="96323" cy="98616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42" y="0"/>
                </a:cxn>
                <a:cxn ang="0">
                  <a:pos x="34" y="0"/>
                </a:cxn>
                <a:cxn ang="0">
                  <a:pos x="26" y="4"/>
                </a:cxn>
                <a:cxn ang="0">
                  <a:pos x="18" y="8"/>
                </a:cxn>
                <a:cxn ang="0">
                  <a:pos x="12" y="12"/>
                </a:cxn>
                <a:cxn ang="0">
                  <a:pos x="6" y="18"/>
                </a:cxn>
                <a:cxn ang="0">
                  <a:pos x="2" y="26"/>
                </a:cxn>
                <a:cxn ang="0">
                  <a:pos x="0" y="34"/>
                </a:cxn>
                <a:cxn ang="0">
                  <a:pos x="0" y="42"/>
                </a:cxn>
                <a:cxn ang="0">
                  <a:pos x="0" y="42"/>
                </a:cxn>
                <a:cxn ang="0">
                  <a:pos x="0" y="52"/>
                </a:cxn>
                <a:cxn ang="0">
                  <a:pos x="2" y="60"/>
                </a:cxn>
                <a:cxn ang="0">
                  <a:pos x="6" y="66"/>
                </a:cxn>
                <a:cxn ang="0">
                  <a:pos x="12" y="74"/>
                </a:cxn>
                <a:cxn ang="0">
                  <a:pos x="18" y="78"/>
                </a:cxn>
                <a:cxn ang="0">
                  <a:pos x="26" y="82"/>
                </a:cxn>
                <a:cxn ang="0">
                  <a:pos x="34" y="84"/>
                </a:cxn>
                <a:cxn ang="0">
                  <a:pos x="42" y="86"/>
                </a:cxn>
                <a:cxn ang="0">
                  <a:pos x="42" y="86"/>
                </a:cxn>
                <a:cxn ang="0">
                  <a:pos x="50" y="84"/>
                </a:cxn>
                <a:cxn ang="0">
                  <a:pos x="58" y="82"/>
                </a:cxn>
                <a:cxn ang="0">
                  <a:pos x="66" y="78"/>
                </a:cxn>
                <a:cxn ang="0">
                  <a:pos x="72" y="74"/>
                </a:cxn>
                <a:cxn ang="0">
                  <a:pos x="78" y="66"/>
                </a:cxn>
                <a:cxn ang="0">
                  <a:pos x="82" y="60"/>
                </a:cxn>
                <a:cxn ang="0">
                  <a:pos x="84" y="52"/>
                </a:cxn>
                <a:cxn ang="0">
                  <a:pos x="84" y="42"/>
                </a:cxn>
                <a:cxn ang="0">
                  <a:pos x="84" y="42"/>
                </a:cxn>
                <a:cxn ang="0">
                  <a:pos x="84" y="34"/>
                </a:cxn>
                <a:cxn ang="0">
                  <a:pos x="82" y="26"/>
                </a:cxn>
                <a:cxn ang="0">
                  <a:pos x="78" y="18"/>
                </a:cxn>
                <a:cxn ang="0">
                  <a:pos x="72" y="12"/>
                </a:cxn>
                <a:cxn ang="0">
                  <a:pos x="66" y="8"/>
                </a:cxn>
                <a:cxn ang="0">
                  <a:pos x="58" y="4"/>
                </a:cxn>
                <a:cxn ang="0">
                  <a:pos x="50" y="0"/>
                </a:cxn>
                <a:cxn ang="0">
                  <a:pos x="42" y="0"/>
                </a:cxn>
              </a:cxnLst>
              <a:rect l="0" t="0" r="r" b="b"/>
              <a:pathLst>
                <a:path w="84" h="86">
                  <a:moveTo>
                    <a:pt x="42" y="0"/>
                  </a:moveTo>
                  <a:lnTo>
                    <a:pt x="42" y="0"/>
                  </a:lnTo>
                  <a:lnTo>
                    <a:pt x="34" y="0"/>
                  </a:lnTo>
                  <a:lnTo>
                    <a:pt x="26" y="4"/>
                  </a:lnTo>
                  <a:lnTo>
                    <a:pt x="18" y="8"/>
                  </a:lnTo>
                  <a:lnTo>
                    <a:pt x="12" y="12"/>
                  </a:lnTo>
                  <a:lnTo>
                    <a:pt x="6" y="18"/>
                  </a:lnTo>
                  <a:lnTo>
                    <a:pt x="2" y="26"/>
                  </a:lnTo>
                  <a:lnTo>
                    <a:pt x="0" y="34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52"/>
                  </a:lnTo>
                  <a:lnTo>
                    <a:pt x="2" y="60"/>
                  </a:lnTo>
                  <a:lnTo>
                    <a:pt x="6" y="66"/>
                  </a:lnTo>
                  <a:lnTo>
                    <a:pt x="12" y="74"/>
                  </a:lnTo>
                  <a:lnTo>
                    <a:pt x="18" y="78"/>
                  </a:lnTo>
                  <a:lnTo>
                    <a:pt x="26" y="82"/>
                  </a:lnTo>
                  <a:lnTo>
                    <a:pt x="34" y="84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50" y="84"/>
                  </a:lnTo>
                  <a:lnTo>
                    <a:pt x="58" y="82"/>
                  </a:lnTo>
                  <a:lnTo>
                    <a:pt x="66" y="78"/>
                  </a:lnTo>
                  <a:lnTo>
                    <a:pt x="72" y="74"/>
                  </a:lnTo>
                  <a:lnTo>
                    <a:pt x="78" y="66"/>
                  </a:lnTo>
                  <a:lnTo>
                    <a:pt x="82" y="60"/>
                  </a:lnTo>
                  <a:lnTo>
                    <a:pt x="84" y="5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34"/>
                  </a:lnTo>
                  <a:lnTo>
                    <a:pt x="82" y="26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6" y="8"/>
                  </a:lnTo>
                  <a:lnTo>
                    <a:pt x="58" y="4"/>
                  </a:lnTo>
                  <a:lnTo>
                    <a:pt x="50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21" name="Freeform 163"/>
            <p:cNvSpPr>
              <a:spLocks/>
            </p:cNvSpPr>
            <p:nvPr/>
          </p:nvSpPr>
          <p:spPr bwMode="auto">
            <a:xfrm>
              <a:off x="7564828" y="5313274"/>
              <a:ext cx="96323" cy="98616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42" y="0"/>
                </a:cxn>
                <a:cxn ang="0">
                  <a:pos x="34" y="0"/>
                </a:cxn>
                <a:cxn ang="0">
                  <a:pos x="26" y="4"/>
                </a:cxn>
                <a:cxn ang="0">
                  <a:pos x="18" y="8"/>
                </a:cxn>
                <a:cxn ang="0">
                  <a:pos x="12" y="12"/>
                </a:cxn>
                <a:cxn ang="0">
                  <a:pos x="6" y="18"/>
                </a:cxn>
                <a:cxn ang="0">
                  <a:pos x="2" y="26"/>
                </a:cxn>
                <a:cxn ang="0">
                  <a:pos x="0" y="34"/>
                </a:cxn>
                <a:cxn ang="0">
                  <a:pos x="0" y="42"/>
                </a:cxn>
                <a:cxn ang="0">
                  <a:pos x="0" y="42"/>
                </a:cxn>
                <a:cxn ang="0">
                  <a:pos x="0" y="52"/>
                </a:cxn>
                <a:cxn ang="0">
                  <a:pos x="2" y="60"/>
                </a:cxn>
                <a:cxn ang="0">
                  <a:pos x="6" y="66"/>
                </a:cxn>
                <a:cxn ang="0">
                  <a:pos x="12" y="74"/>
                </a:cxn>
                <a:cxn ang="0">
                  <a:pos x="18" y="78"/>
                </a:cxn>
                <a:cxn ang="0">
                  <a:pos x="26" y="82"/>
                </a:cxn>
                <a:cxn ang="0">
                  <a:pos x="34" y="84"/>
                </a:cxn>
                <a:cxn ang="0">
                  <a:pos x="42" y="86"/>
                </a:cxn>
                <a:cxn ang="0">
                  <a:pos x="42" y="86"/>
                </a:cxn>
                <a:cxn ang="0">
                  <a:pos x="50" y="84"/>
                </a:cxn>
                <a:cxn ang="0">
                  <a:pos x="58" y="82"/>
                </a:cxn>
                <a:cxn ang="0">
                  <a:pos x="66" y="78"/>
                </a:cxn>
                <a:cxn ang="0">
                  <a:pos x="72" y="74"/>
                </a:cxn>
                <a:cxn ang="0">
                  <a:pos x="78" y="66"/>
                </a:cxn>
                <a:cxn ang="0">
                  <a:pos x="82" y="60"/>
                </a:cxn>
                <a:cxn ang="0">
                  <a:pos x="84" y="52"/>
                </a:cxn>
                <a:cxn ang="0">
                  <a:pos x="84" y="42"/>
                </a:cxn>
                <a:cxn ang="0">
                  <a:pos x="84" y="42"/>
                </a:cxn>
                <a:cxn ang="0">
                  <a:pos x="84" y="34"/>
                </a:cxn>
                <a:cxn ang="0">
                  <a:pos x="82" y="26"/>
                </a:cxn>
                <a:cxn ang="0">
                  <a:pos x="78" y="18"/>
                </a:cxn>
                <a:cxn ang="0">
                  <a:pos x="72" y="12"/>
                </a:cxn>
                <a:cxn ang="0">
                  <a:pos x="66" y="8"/>
                </a:cxn>
                <a:cxn ang="0">
                  <a:pos x="58" y="4"/>
                </a:cxn>
                <a:cxn ang="0">
                  <a:pos x="50" y="0"/>
                </a:cxn>
                <a:cxn ang="0">
                  <a:pos x="42" y="0"/>
                </a:cxn>
              </a:cxnLst>
              <a:rect l="0" t="0" r="r" b="b"/>
              <a:pathLst>
                <a:path w="84" h="86">
                  <a:moveTo>
                    <a:pt x="42" y="0"/>
                  </a:moveTo>
                  <a:lnTo>
                    <a:pt x="42" y="0"/>
                  </a:lnTo>
                  <a:lnTo>
                    <a:pt x="34" y="0"/>
                  </a:lnTo>
                  <a:lnTo>
                    <a:pt x="26" y="4"/>
                  </a:lnTo>
                  <a:lnTo>
                    <a:pt x="18" y="8"/>
                  </a:lnTo>
                  <a:lnTo>
                    <a:pt x="12" y="12"/>
                  </a:lnTo>
                  <a:lnTo>
                    <a:pt x="6" y="18"/>
                  </a:lnTo>
                  <a:lnTo>
                    <a:pt x="2" y="26"/>
                  </a:lnTo>
                  <a:lnTo>
                    <a:pt x="0" y="34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52"/>
                  </a:lnTo>
                  <a:lnTo>
                    <a:pt x="2" y="60"/>
                  </a:lnTo>
                  <a:lnTo>
                    <a:pt x="6" y="66"/>
                  </a:lnTo>
                  <a:lnTo>
                    <a:pt x="12" y="74"/>
                  </a:lnTo>
                  <a:lnTo>
                    <a:pt x="18" y="78"/>
                  </a:lnTo>
                  <a:lnTo>
                    <a:pt x="26" y="82"/>
                  </a:lnTo>
                  <a:lnTo>
                    <a:pt x="34" y="84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50" y="84"/>
                  </a:lnTo>
                  <a:lnTo>
                    <a:pt x="58" y="82"/>
                  </a:lnTo>
                  <a:lnTo>
                    <a:pt x="66" y="78"/>
                  </a:lnTo>
                  <a:lnTo>
                    <a:pt x="72" y="74"/>
                  </a:lnTo>
                  <a:lnTo>
                    <a:pt x="78" y="66"/>
                  </a:lnTo>
                  <a:lnTo>
                    <a:pt x="82" y="60"/>
                  </a:lnTo>
                  <a:lnTo>
                    <a:pt x="84" y="5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34"/>
                  </a:lnTo>
                  <a:lnTo>
                    <a:pt x="82" y="26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6" y="8"/>
                  </a:lnTo>
                  <a:lnTo>
                    <a:pt x="58" y="4"/>
                  </a:lnTo>
                  <a:lnTo>
                    <a:pt x="50" y="0"/>
                  </a:lnTo>
                  <a:lnTo>
                    <a:pt x="42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22" name="Freeform 164"/>
            <p:cNvSpPr>
              <a:spLocks/>
            </p:cNvSpPr>
            <p:nvPr/>
          </p:nvSpPr>
          <p:spPr bwMode="auto">
            <a:xfrm>
              <a:off x="7138257" y="5792593"/>
              <a:ext cx="123843" cy="126137"/>
            </a:xfrm>
            <a:custGeom>
              <a:avLst/>
              <a:gdLst/>
              <a:ahLst/>
              <a:cxnLst>
                <a:cxn ang="0">
                  <a:pos x="54" y="0"/>
                </a:cxn>
                <a:cxn ang="0">
                  <a:pos x="54" y="0"/>
                </a:cxn>
                <a:cxn ang="0">
                  <a:pos x="42" y="2"/>
                </a:cxn>
                <a:cxn ang="0">
                  <a:pos x="32" y="4"/>
                </a:cxn>
                <a:cxn ang="0">
                  <a:pos x="22" y="10"/>
                </a:cxn>
                <a:cxn ang="0">
                  <a:pos x="14" y="16"/>
                </a:cxn>
                <a:cxn ang="0">
                  <a:pos x="8" y="24"/>
                </a:cxn>
                <a:cxn ang="0">
                  <a:pos x="4" y="34"/>
                </a:cxn>
                <a:cxn ang="0">
                  <a:pos x="0" y="44"/>
                </a:cxn>
                <a:cxn ang="0">
                  <a:pos x="0" y="54"/>
                </a:cxn>
                <a:cxn ang="0">
                  <a:pos x="0" y="54"/>
                </a:cxn>
                <a:cxn ang="0">
                  <a:pos x="0" y="66"/>
                </a:cxn>
                <a:cxn ang="0">
                  <a:pos x="4" y="76"/>
                </a:cxn>
                <a:cxn ang="0">
                  <a:pos x="8" y="86"/>
                </a:cxn>
                <a:cxn ang="0">
                  <a:pos x="14" y="94"/>
                </a:cxn>
                <a:cxn ang="0">
                  <a:pos x="22" y="100"/>
                </a:cxn>
                <a:cxn ang="0">
                  <a:pos x="32" y="104"/>
                </a:cxn>
                <a:cxn ang="0">
                  <a:pos x="42" y="108"/>
                </a:cxn>
                <a:cxn ang="0">
                  <a:pos x="54" y="110"/>
                </a:cxn>
                <a:cxn ang="0">
                  <a:pos x="54" y="110"/>
                </a:cxn>
                <a:cxn ang="0">
                  <a:pos x="64" y="108"/>
                </a:cxn>
                <a:cxn ang="0">
                  <a:pos x="74" y="104"/>
                </a:cxn>
                <a:cxn ang="0">
                  <a:pos x="84" y="100"/>
                </a:cxn>
                <a:cxn ang="0">
                  <a:pos x="92" y="94"/>
                </a:cxn>
                <a:cxn ang="0">
                  <a:pos x="98" y="86"/>
                </a:cxn>
                <a:cxn ang="0">
                  <a:pos x="104" y="76"/>
                </a:cxn>
                <a:cxn ang="0">
                  <a:pos x="106" y="66"/>
                </a:cxn>
                <a:cxn ang="0">
                  <a:pos x="108" y="54"/>
                </a:cxn>
                <a:cxn ang="0">
                  <a:pos x="108" y="54"/>
                </a:cxn>
                <a:cxn ang="0">
                  <a:pos x="106" y="44"/>
                </a:cxn>
                <a:cxn ang="0">
                  <a:pos x="104" y="34"/>
                </a:cxn>
                <a:cxn ang="0">
                  <a:pos x="98" y="24"/>
                </a:cxn>
                <a:cxn ang="0">
                  <a:pos x="92" y="16"/>
                </a:cxn>
                <a:cxn ang="0">
                  <a:pos x="84" y="10"/>
                </a:cxn>
                <a:cxn ang="0">
                  <a:pos x="74" y="4"/>
                </a:cxn>
                <a:cxn ang="0">
                  <a:pos x="64" y="2"/>
                </a:cxn>
                <a:cxn ang="0">
                  <a:pos x="54" y="0"/>
                </a:cxn>
              </a:cxnLst>
              <a:rect l="0" t="0" r="r" b="b"/>
              <a:pathLst>
                <a:path w="108" h="110">
                  <a:moveTo>
                    <a:pt x="54" y="0"/>
                  </a:moveTo>
                  <a:lnTo>
                    <a:pt x="54" y="0"/>
                  </a:lnTo>
                  <a:lnTo>
                    <a:pt x="42" y="2"/>
                  </a:lnTo>
                  <a:lnTo>
                    <a:pt x="32" y="4"/>
                  </a:lnTo>
                  <a:lnTo>
                    <a:pt x="22" y="10"/>
                  </a:lnTo>
                  <a:lnTo>
                    <a:pt x="14" y="16"/>
                  </a:lnTo>
                  <a:lnTo>
                    <a:pt x="8" y="24"/>
                  </a:lnTo>
                  <a:lnTo>
                    <a:pt x="4" y="34"/>
                  </a:lnTo>
                  <a:lnTo>
                    <a:pt x="0" y="4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4" y="76"/>
                  </a:lnTo>
                  <a:lnTo>
                    <a:pt x="8" y="86"/>
                  </a:lnTo>
                  <a:lnTo>
                    <a:pt x="14" y="94"/>
                  </a:lnTo>
                  <a:lnTo>
                    <a:pt x="22" y="100"/>
                  </a:lnTo>
                  <a:lnTo>
                    <a:pt x="32" y="104"/>
                  </a:lnTo>
                  <a:lnTo>
                    <a:pt x="42" y="108"/>
                  </a:lnTo>
                  <a:lnTo>
                    <a:pt x="54" y="110"/>
                  </a:lnTo>
                  <a:lnTo>
                    <a:pt x="54" y="110"/>
                  </a:lnTo>
                  <a:lnTo>
                    <a:pt x="64" y="108"/>
                  </a:lnTo>
                  <a:lnTo>
                    <a:pt x="74" y="104"/>
                  </a:lnTo>
                  <a:lnTo>
                    <a:pt x="84" y="100"/>
                  </a:lnTo>
                  <a:lnTo>
                    <a:pt x="92" y="94"/>
                  </a:lnTo>
                  <a:lnTo>
                    <a:pt x="98" y="86"/>
                  </a:lnTo>
                  <a:lnTo>
                    <a:pt x="104" y="76"/>
                  </a:lnTo>
                  <a:lnTo>
                    <a:pt x="106" y="66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6" y="44"/>
                  </a:lnTo>
                  <a:lnTo>
                    <a:pt x="104" y="34"/>
                  </a:lnTo>
                  <a:lnTo>
                    <a:pt x="98" y="24"/>
                  </a:lnTo>
                  <a:lnTo>
                    <a:pt x="92" y="16"/>
                  </a:lnTo>
                  <a:lnTo>
                    <a:pt x="84" y="10"/>
                  </a:lnTo>
                  <a:lnTo>
                    <a:pt x="74" y="4"/>
                  </a:lnTo>
                  <a:lnTo>
                    <a:pt x="64" y="2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23" name="Freeform 165"/>
            <p:cNvSpPr>
              <a:spLocks/>
            </p:cNvSpPr>
            <p:nvPr/>
          </p:nvSpPr>
          <p:spPr bwMode="auto">
            <a:xfrm>
              <a:off x="7138257" y="5792593"/>
              <a:ext cx="123843" cy="126137"/>
            </a:xfrm>
            <a:custGeom>
              <a:avLst/>
              <a:gdLst/>
              <a:ahLst/>
              <a:cxnLst>
                <a:cxn ang="0">
                  <a:pos x="54" y="0"/>
                </a:cxn>
                <a:cxn ang="0">
                  <a:pos x="54" y="0"/>
                </a:cxn>
                <a:cxn ang="0">
                  <a:pos x="42" y="2"/>
                </a:cxn>
                <a:cxn ang="0">
                  <a:pos x="32" y="4"/>
                </a:cxn>
                <a:cxn ang="0">
                  <a:pos x="22" y="10"/>
                </a:cxn>
                <a:cxn ang="0">
                  <a:pos x="14" y="16"/>
                </a:cxn>
                <a:cxn ang="0">
                  <a:pos x="8" y="24"/>
                </a:cxn>
                <a:cxn ang="0">
                  <a:pos x="4" y="34"/>
                </a:cxn>
                <a:cxn ang="0">
                  <a:pos x="0" y="44"/>
                </a:cxn>
                <a:cxn ang="0">
                  <a:pos x="0" y="54"/>
                </a:cxn>
                <a:cxn ang="0">
                  <a:pos x="0" y="54"/>
                </a:cxn>
                <a:cxn ang="0">
                  <a:pos x="0" y="66"/>
                </a:cxn>
                <a:cxn ang="0">
                  <a:pos x="4" y="76"/>
                </a:cxn>
                <a:cxn ang="0">
                  <a:pos x="8" y="86"/>
                </a:cxn>
                <a:cxn ang="0">
                  <a:pos x="14" y="94"/>
                </a:cxn>
                <a:cxn ang="0">
                  <a:pos x="22" y="100"/>
                </a:cxn>
                <a:cxn ang="0">
                  <a:pos x="32" y="104"/>
                </a:cxn>
                <a:cxn ang="0">
                  <a:pos x="42" y="108"/>
                </a:cxn>
                <a:cxn ang="0">
                  <a:pos x="54" y="110"/>
                </a:cxn>
                <a:cxn ang="0">
                  <a:pos x="54" y="110"/>
                </a:cxn>
                <a:cxn ang="0">
                  <a:pos x="64" y="108"/>
                </a:cxn>
                <a:cxn ang="0">
                  <a:pos x="74" y="104"/>
                </a:cxn>
                <a:cxn ang="0">
                  <a:pos x="84" y="100"/>
                </a:cxn>
                <a:cxn ang="0">
                  <a:pos x="92" y="94"/>
                </a:cxn>
                <a:cxn ang="0">
                  <a:pos x="98" y="86"/>
                </a:cxn>
                <a:cxn ang="0">
                  <a:pos x="104" y="76"/>
                </a:cxn>
                <a:cxn ang="0">
                  <a:pos x="106" y="66"/>
                </a:cxn>
                <a:cxn ang="0">
                  <a:pos x="108" y="54"/>
                </a:cxn>
                <a:cxn ang="0">
                  <a:pos x="108" y="54"/>
                </a:cxn>
                <a:cxn ang="0">
                  <a:pos x="106" y="44"/>
                </a:cxn>
                <a:cxn ang="0">
                  <a:pos x="104" y="34"/>
                </a:cxn>
                <a:cxn ang="0">
                  <a:pos x="98" y="24"/>
                </a:cxn>
                <a:cxn ang="0">
                  <a:pos x="92" y="16"/>
                </a:cxn>
                <a:cxn ang="0">
                  <a:pos x="84" y="10"/>
                </a:cxn>
                <a:cxn ang="0">
                  <a:pos x="74" y="4"/>
                </a:cxn>
                <a:cxn ang="0">
                  <a:pos x="64" y="2"/>
                </a:cxn>
                <a:cxn ang="0">
                  <a:pos x="54" y="0"/>
                </a:cxn>
              </a:cxnLst>
              <a:rect l="0" t="0" r="r" b="b"/>
              <a:pathLst>
                <a:path w="108" h="110">
                  <a:moveTo>
                    <a:pt x="54" y="0"/>
                  </a:moveTo>
                  <a:lnTo>
                    <a:pt x="54" y="0"/>
                  </a:lnTo>
                  <a:lnTo>
                    <a:pt x="42" y="2"/>
                  </a:lnTo>
                  <a:lnTo>
                    <a:pt x="32" y="4"/>
                  </a:lnTo>
                  <a:lnTo>
                    <a:pt x="22" y="10"/>
                  </a:lnTo>
                  <a:lnTo>
                    <a:pt x="14" y="16"/>
                  </a:lnTo>
                  <a:lnTo>
                    <a:pt x="8" y="24"/>
                  </a:lnTo>
                  <a:lnTo>
                    <a:pt x="4" y="34"/>
                  </a:lnTo>
                  <a:lnTo>
                    <a:pt x="0" y="4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4" y="76"/>
                  </a:lnTo>
                  <a:lnTo>
                    <a:pt x="8" y="86"/>
                  </a:lnTo>
                  <a:lnTo>
                    <a:pt x="14" y="94"/>
                  </a:lnTo>
                  <a:lnTo>
                    <a:pt x="22" y="100"/>
                  </a:lnTo>
                  <a:lnTo>
                    <a:pt x="32" y="104"/>
                  </a:lnTo>
                  <a:lnTo>
                    <a:pt x="42" y="108"/>
                  </a:lnTo>
                  <a:lnTo>
                    <a:pt x="54" y="110"/>
                  </a:lnTo>
                  <a:lnTo>
                    <a:pt x="54" y="110"/>
                  </a:lnTo>
                  <a:lnTo>
                    <a:pt x="64" y="108"/>
                  </a:lnTo>
                  <a:lnTo>
                    <a:pt x="74" y="104"/>
                  </a:lnTo>
                  <a:lnTo>
                    <a:pt x="84" y="100"/>
                  </a:lnTo>
                  <a:lnTo>
                    <a:pt x="92" y="94"/>
                  </a:lnTo>
                  <a:lnTo>
                    <a:pt x="98" y="86"/>
                  </a:lnTo>
                  <a:lnTo>
                    <a:pt x="104" y="76"/>
                  </a:lnTo>
                  <a:lnTo>
                    <a:pt x="106" y="66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6" y="44"/>
                  </a:lnTo>
                  <a:lnTo>
                    <a:pt x="104" y="34"/>
                  </a:lnTo>
                  <a:lnTo>
                    <a:pt x="98" y="24"/>
                  </a:lnTo>
                  <a:lnTo>
                    <a:pt x="92" y="16"/>
                  </a:lnTo>
                  <a:lnTo>
                    <a:pt x="84" y="10"/>
                  </a:lnTo>
                  <a:lnTo>
                    <a:pt x="74" y="4"/>
                  </a:lnTo>
                  <a:lnTo>
                    <a:pt x="64" y="2"/>
                  </a:lnTo>
                  <a:lnTo>
                    <a:pt x="54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24" name="Freeform 166"/>
            <p:cNvSpPr>
              <a:spLocks/>
            </p:cNvSpPr>
            <p:nvPr/>
          </p:nvSpPr>
          <p:spPr bwMode="auto">
            <a:xfrm>
              <a:off x="7321728" y="4762860"/>
              <a:ext cx="98616" cy="98616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42" y="0"/>
                </a:cxn>
                <a:cxn ang="0">
                  <a:pos x="34" y="2"/>
                </a:cxn>
                <a:cxn ang="0">
                  <a:pos x="26" y="4"/>
                </a:cxn>
                <a:cxn ang="0">
                  <a:pos x="18" y="8"/>
                </a:cxn>
                <a:cxn ang="0">
                  <a:pos x="12" y="14"/>
                </a:cxn>
                <a:cxn ang="0">
                  <a:pos x="6" y="20"/>
                </a:cxn>
                <a:cxn ang="0">
                  <a:pos x="2" y="26"/>
                </a:cxn>
                <a:cxn ang="0">
                  <a:pos x="0" y="34"/>
                </a:cxn>
                <a:cxn ang="0">
                  <a:pos x="0" y="44"/>
                </a:cxn>
                <a:cxn ang="0">
                  <a:pos x="0" y="44"/>
                </a:cxn>
                <a:cxn ang="0">
                  <a:pos x="0" y="52"/>
                </a:cxn>
                <a:cxn ang="0">
                  <a:pos x="2" y="60"/>
                </a:cxn>
                <a:cxn ang="0">
                  <a:pos x="6" y="68"/>
                </a:cxn>
                <a:cxn ang="0">
                  <a:pos x="12" y="74"/>
                </a:cxn>
                <a:cxn ang="0">
                  <a:pos x="18" y="80"/>
                </a:cxn>
                <a:cxn ang="0">
                  <a:pos x="26" y="84"/>
                </a:cxn>
                <a:cxn ang="0">
                  <a:pos x="34" y="86"/>
                </a:cxn>
                <a:cxn ang="0">
                  <a:pos x="42" y="86"/>
                </a:cxn>
                <a:cxn ang="0">
                  <a:pos x="42" y="86"/>
                </a:cxn>
                <a:cxn ang="0">
                  <a:pos x="52" y="86"/>
                </a:cxn>
                <a:cxn ang="0">
                  <a:pos x="60" y="84"/>
                </a:cxn>
                <a:cxn ang="0">
                  <a:pos x="66" y="80"/>
                </a:cxn>
                <a:cxn ang="0">
                  <a:pos x="72" y="74"/>
                </a:cxn>
                <a:cxn ang="0">
                  <a:pos x="78" y="68"/>
                </a:cxn>
                <a:cxn ang="0">
                  <a:pos x="82" y="60"/>
                </a:cxn>
                <a:cxn ang="0">
                  <a:pos x="84" y="52"/>
                </a:cxn>
                <a:cxn ang="0">
                  <a:pos x="86" y="44"/>
                </a:cxn>
                <a:cxn ang="0">
                  <a:pos x="86" y="44"/>
                </a:cxn>
                <a:cxn ang="0">
                  <a:pos x="84" y="34"/>
                </a:cxn>
                <a:cxn ang="0">
                  <a:pos x="82" y="26"/>
                </a:cxn>
                <a:cxn ang="0">
                  <a:pos x="78" y="20"/>
                </a:cxn>
                <a:cxn ang="0">
                  <a:pos x="72" y="14"/>
                </a:cxn>
                <a:cxn ang="0">
                  <a:pos x="66" y="8"/>
                </a:cxn>
                <a:cxn ang="0">
                  <a:pos x="60" y="4"/>
                </a:cxn>
                <a:cxn ang="0">
                  <a:pos x="52" y="2"/>
                </a:cxn>
                <a:cxn ang="0">
                  <a:pos x="42" y="0"/>
                </a:cxn>
              </a:cxnLst>
              <a:rect l="0" t="0" r="r" b="b"/>
              <a:pathLst>
                <a:path w="86" h="86">
                  <a:moveTo>
                    <a:pt x="42" y="0"/>
                  </a:moveTo>
                  <a:lnTo>
                    <a:pt x="42" y="0"/>
                  </a:lnTo>
                  <a:lnTo>
                    <a:pt x="34" y="2"/>
                  </a:lnTo>
                  <a:lnTo>
                    <a:pt x="26" y="4"/>
                  </a:lnTo>
                  <a:lnTo>
                    <a:pt x="18" y="8"/>
                  </a:lnTo>
                  <a:lnTo>
                    <a:pt x="12" y="14"/>
                  </a:lnTo>
                  <a:lnTo>
                    <a:pt x="6" y="20"/>
                  </a:lnTo>
                  <a:lnTo>
                    <a:pt x="2" y="26"/>
                  </a:lnTo>
                  <a:lnTo>
                    <a:pt x="0" y="3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52"/>
                  </a:lnTo>
                  <a:lnTo>
                    <a:pt x="2" y="60"/>
                  </a:lnTo>
                  <a:lnTo>
                    <a:pt x="6" y="68"/>
                  </a:lnTo>
                  <a:lnTo>
                    <a:pt x="12" y="74"/>
                  </a:lnTo>
                  <a:lnTo>
                    <a:pt x="18" y="80"/>
                  </a:lnTo>
                  <a:lnTo>
                    <a:pt x="26" y="84"/>
                  </a:lnTo>
                  <a:lnTo>
                    <a:pt x="34" y="86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52" y="86"/>
                  </a:lnTo>
                  <a:lnTo>
                    <a:pt x="60" y="84"/>
                  </a:lnTo>
                  <a:lnTo>
                    <a:pt x="66" y="80"/>
                  </a:lnTo>
                  <a:lnTo>
                    <a:pt x="72" y="74"/>
                  </a:lnTo>
                  <a:lnTo>
                    <a:pt x="78" y="68"/>
                  </a:lnTo>
                  <a:lnTo>
                    <a:pt x="82" y="60"/>
                  </a:lnTo>
                  <a:lnTo>
                    <a:pt x="84" y="52"/>
                  </a:lnTo>
                  <a:lnTo>
                    <a:pt x="86" y="44"/>
                  </a:lnTo>
                  <a:lnTo>
                    <a:pt x="86" y="44"/>
                  </a:lnTo>
                  <a:lnTo>
                    <a:pt x="84" y="34"/>
                  </a:lnTo>
                  <a:lnTo>
                    <a:pt x="82" y="26"/>
                  </a:lnTo>
                  <a:lnTo>
                    <a:pt x="78" y="20"/>
                  </a:lnTo>
                  <a:lnTo>
                    <a:pt x="72" y="14"/>
                  </a:lnTo>
                  <a:lnTo>
                    <a:pt x="66" y="8"/>
                  </a:lnTo>
                  <a:lnTo>
                    <a:pt x="60" y="4"/>
                  </a:lnTo>
                  <a:lnTo>
                    <a:pt x="52" y="2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25" name="Freeform 167"/>
            <p:cNvSpPr>
              <a:spLocks/>
            </p:cNvSpPr>
            <p:nvPr/>
          </p:nvSpPr>
          <p:spPr bwMode="auto">
            <a:xfrm>
              <a:off x="7321728" y="4762860"/>
              <a:ext cx="98616" cy="98616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42" y="0"/>
                </a:cxn>
                <a:cxn ang="0">
                  <a:pos x="34" y="2"/>
                </a:cxn>
                <a:cxn ang="0">
                  <a:pos x="26" y="4"/>
                </a:cxn>
                <a:cxn ang="0">
                  <a:pos x="18" y="8"/>
                </a:cxn>
                <a:cxn ang="0">
                  <a:pos x="12" y="14"/>
                </a:cxn>
                <a:cxn ang="0">
                  <a:pos x="6" y="20"/>
                </a:cxn>
                <a:cxn ang="0">
                  <a:pos x="2" y="26"/>
                </a:cxn>
                <a:cxn ang="0">
                  <a:pos x="0" y="34"/>
                </a:cxn>
                <a:cxn ang="0">
                  <a:pos x="0" y="44"/>
                </a:cxn>
                <a:cxn ang="0">
                  <a:pos x="0" y="44"/>
                </a:cxn>
                <a:cxn ang="0">
                  <a:pos x="0" y="52"/>
                </a:cxn>
                <a:cxn ang="0">
                  <a:pos x="2" y="60"/>
                </a:cxn>
                <a:cxn ang="0">
                  <a:pos x="6" y="68"/>
                </a:cxn>
                <a:cxn ang="0">
                  <a:pos x="12" y="74"/>
                </a:cxn>
                <a:cxn ang="0">
                  <a:pos x="18" y="80"/>
                </a:cxn>
                <a:cxn ang="0">
                  <a:pos x="26" y="84"/>
                </a:cxn>
                <a:cxn ang="0">
                  <a:pos x="34" y="86"/>
                </a:cxn>
                <a:cxn ang="0">
                  <a:pos x="42" y="86"/>
                </a:cxn>
                <a:cxn ang="0">
                  <a:pos x="42" y="86"/>
                </a:cxn>
                <a:cxn ang="0">
                  <a:pos x="52" y="86"/>
                </a:cxn>
                <a:cxn ang="0">
                  <a:pos x="60" y="84"/>
                </a:cxn>
                <a:cxn ang="0">
                  <a:pos x="66" y="80"/>
                </a:cxn>
                <a:cxn ang="0">
                  <a:pos x="72" y="74"/>
                </a:cxn>
                <a:cxn ang="0">
                  <a:pos x="78" y="68"/>
                </a:cxn>
                <a:cxn ang="0">
                  <a:pos x="82" y="60"/>
                </a:cxn>
                <a:cxn ang="0">
                  <a:pos x="84" y="52"/>
                </a:cxn>
                <a:cxn ang="0">
                  <a:pos x="86" y="44"/>
                </a:cxn>
                <a:cxn ang="0">
                  <a:pos x="86" y="44"/>
                </a:cxn>
                <a:cxn ang="0">
                  <a:pos x="84" y="34"/>
                </a:cxn>
                <a:cxn ang="0">
                  <a:pos x="82" y="26"/>
                </a:cxn>
                <a:cxn ang="0">
                  <a:pos x="78" y="20"/>
                </a:cxn>
                <a:cxn ang="0">
                  <a:pos x="72" y="14"/>
                </a:cxn>
                <a:cxn ang="0">
                  <a:pos x="66" y="8"/>
                </a:cxn>
                <a:cxn ang="0">
                  <a:pos x="60" y="4"/>
                </a:cxn>
                <a:cxn ang="0">
                  <a:pos x="52" y="2"/>
                </a:cxn>
                <a:cxn ang="0">
                  <a:pos x="42" y="0"/>
                </a:cxn>
              </a:cxnLst>
              <a:rect l="0" t="0" r="r" b="b"/>
              <a:pathLst>
                <a:path w="86" h="86">
                  <a:moveTo>
                    <a:pt x="42" y="0"/>
                  </a:moveTo>
                  <a:lnTo>
                    <a:pt x="42" y="0"/>
                  </a:lnTo>
                  <a:lnTo>
                    <a:pt x="34" y="2"/>
                  </a:lnTo>
                  <a:lnTo>
                    <a:pt x="26" y="4"/>
                  </a:lnTo>
                  <a:lnTo>
                    <a:pt x="18" y="8"/>
                  </a:lnTo>
                  <a:lnTo>
                    <a:pt x="12" y="14"/>
                  </a:lnTo>
                  <a:lnTo>
                    <a:pt x="6" y="20"/>
                  </a:lnTo>
                  <a:lnTo>
                    <a:pt x="2" y="26"/>
                  </a:lnTo>
                  <a:lnTo>
                    <a:pt x="0" y="3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52"/>
                  </a:lnTo>
                  <a:lnTo>
                    <a:pt x="2" y="60"/>
                  </a:lnTo>
                  <a:lnTo>
                    <a:pt x="6" y="68"/>
                  </a:lnTo>
                  <a:lnTo>
                    <a:pt x="12" y="74"/>
                  </a:lnTo>
                  <a:lnTo>
                    <a:pt x="18" y="80"/>
                  </a:lnTo>
                  <a:lnTo>
                    <a:pt x="26" y="84"/>
                  </a:lnTo>
                  <a:lnTo>
                    <a:pt x="34" y="86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52" y="86"/>
                  </a:lnTo>
                  <a:lnTo>
                    <a:pt x="60" y="84"/>
                  </a:lnTo>
                  <a:lnTo>
                    <a:pt x="66" y="80"/>
                  </a:lnTo>
                  <a:lnTo>
                    <a:pt x="72" y="74"/>
                  </a:lnTo>
                  <a:lnTo>
                    <a:pt x="78" y="68"/>
                  </a:lnTo>
                  <a:lnTo>
                    <a:pt x="82" y="60"/>
                  </a:lnTo>
                  <a:lnTo>
                    <a:pt x="84" y="52"/>
                  </a:lnTo>
                  <a:lnTo>
                    <a:pt x="86" y="44"/>
                  </a:lnTo>
                  <a:lnTo>
                    <a:pt x="86" y="44"/>
                  </a:lnTo>
                  <a:lnTo>
                    <a:pt x="84" y="34"/>
                  </a:lnTo>
                  <a:lnTo>
                    <a:pt x="82" y="26"/>
                  </a:lnTo>
                  <a:lnTo>
                    <a:pt x="78" y="20"/>
                  </a:lnTo>
                  <a:lnTo>
                    <a:pt x="72" y="14"/>
                  </a:lnTo>
                  <a:lnTo>
                    <a:pt x="66" y="8"/>
                  </a:lnTo>
                  <a:lnTo>
                    <a:pt x="60" y="4"/>
                  </a:lnTo>
                  <a:lnTo>
                    <a:pt x="52" y="2"/>
                  </a:lnTo>
                  <a:lnTo>
                    <a:pt x="42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26" name="Freeform 168"/>
            <p:cNvSpPr>
              <a:spLocks/>
            </p:cNvSpPr>
            <p:nvPr/>
          </p:nvSpPr>
          <p:spPr bwMode="auto">
            <a:xfrm>
              <a:off x="8883529" y="5769659"/>
              <a:ext cx="98616" cy="98616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42" y="0"/>
                </a:cxn>
                <a:cxn ang="0">
                  <a:pos x="34" y="2"/>
                </a:cxn>
                <a:cxn ang="0">
                  <a:pos x="26" y="4"/>
                </a:cxn>
                <a:cxn ang="0">
                  <a:pos x="18" y="8"/>
                </a:cxn>
                <a:cxn ang="0">
                  <a:pos x="12" y="14"/>
                </a:cxn>
                <a:cxn ang="0">
                  <a:pos x="6" y="20"/>
                </a:cxn>
                <a:cxn ang="0">
                  <a:pos x="2" y="28"/>
                </a:cxn>
                <a:cxn ang="0">
                  <a:pos x="0" y="36"/>
                </a:cxn>
                <a:cxn ang="0">
                  <a:pos x="0" y="44"/>
                </a:cxn>
                <a:cxn ang="0">
                  <a:pos x="0" y="44"/>
                </a:cxn>
                <a:cxn ang="0">
                  <a:pos x="0" y="52"/>
                </a:cxn>
                <a:cxn ang="0">
                  <a:pos x="2" y="60"/>
                </a:cxn>
                <a:cxn ang="0">
                  <a:pos x="6" y="68"/>
                </a:cxn>
                <a:cxn ang="0">
                  <a:pos x="12" y="74"/>
                </a:cxn>
                <a:cxn ang="0">
                  <a:pos x="18" y="80"/>
                </a:cxn>
                <a:cxn ang="0">
                  <a:pos x="26" y="84"/>
                </a:cxn>
                <a:cxn ang="0">
                  <a:pos x="34" y="86"/>
                </a:cxn>
                <a:cxn ang="0">
                  <a:pos x="42" y="86"/>
                </a:cxn>
                <a:cxn ang="0">
                  <a:pos x="42" y="86"/>
                </a:cxn>
                <a:cxn ang="0">
                  <a:pos x="52" y="86"/>
                </a:cxn>
                <a:cxn ang="0">
                  <a:pos x="60" y="84"/>
                </a:cxn>
                <a:cxn ang="0">
                  <a:pos x="66" y="80"/>
                </a:cxn>
                <a:cxn ang="0">
                  <a:pos x="72" y="74"/>
                </a:cxn>
                <a:cxn ang="0">
                  <a:pos x="78" y="68"/>
                </a:cxn>
                <a:cxn ang="0">
                  <a:pos x="82" y="60"/>
                </a:cxn>
                <a:cxn ang="0">
                  <a:pos x="84" y="52"/>
                </a:cxn>
                <a:cxn ang="0">
                  <a:pos x="86" y="44"/>
                </a:cxn>
                <a:cxn ang="0">
                  <a:pos x="86" y="44"/>
                </a:cxn>
                <a:cxn ang="0">
                  <a:pos x="84" y="36"/>
                </a:cxn>
                <a:cxn ang="0">
                  <a:pos x="82" y="28"/>
                </a:cxn>
                <a:cxn ang="0">
                  <a:pos x="78" y="20"/>
                </a:cxn>
                <a:cxn ang="0">
                  <a:pos x="72" y="14"/>
                </a:cxn>
                <a:cxn ang="0">
                  <a:pos x="66" y="8"/>
                </a:cxn>
                <a:cxn ang="0">
                  <a:pos x="60" y="4"/>
                </a:cxn>
                <a:cxn ang="0">
                  <a:pos x="52" y="2"/>
                </a:cxn>
                <a:cxn ang="0">
                  <a:pos x="42" y="0"/>
                </a:cxn>
              </a:cxnLst>
              <a:rect l="0" t="0" r="r" b="b"/>
              <a:pathLst>
                <a:path w="86" h="86">
                  <a:moveTo>
                    <a:pt x="42" y="0"/>
                  </a:moveTo>
                  <a:lnTo>
                    <a:pt x="42" y="0"/>
                  </a:lnTo>
                  <a:lnTo>
                    <a:pt x="34" y="2"/>
                  </a:lnTo>
                  <a:lnTo>
                    <a:pt x="26" y="4"/>
                  </a:lnTo>
                  <a:lnTo>
                    <a:pt x="18" y="8"/>
                  </a:lnTo>
                  <a:lnTo>
                    <a:pt x="12" y="14"/>
                  </a:lnTo>
                  <a:lnTo>
                    <a:pt x="6" y="20"/>
                  </a:lnTo>
                  <a:lnTo>
                    <a:pt x="2" y="28"/>
                  </a:lnTo>
                  <a:lnTo>
                    <a:pt x="0" y="36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52"/>
                  </a:lnTo>
                  <a:lnTo>
                    <a:pt x="2" y="60"/>
                  </a:lnTo>
                  <a:lnTo>
                    <a:pt x="6" y="68"/>
                  </a:lnTo>
                  <a:lnTo>
                    <a:pt x="12" y="74"/>
                  </a:lnTo>
                  <a:lnTo>
                    <a:pt x="18" y="80"/>
                  </a:lnTo>
                  <a:lnTo>
                    <a:pt x="26" y="84"/>
                  </a:lnTo>
                  <a:lnTo>
                    <a:pt x="34" y="86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52" y="86"/>
                  </a:lnTo>
                  <a:lnTo>
                    <a:pt x="60" y="84"/>
                  </a:lnTo>
                  <a:lnTo>
                    <a:pt x="66" y="80"/>
                  </a:lnTo>
                  <a:lnTo>
                    <a:pt x="72" y="74"/>
                  </a:lnTo>
                  <a:lnTo>
                    <a:pt x="78" y="68"/>
                  </a:lnTo>
                  <a:lnTo>
                    <a:pt x="82" y="60"/>
                  </a:lnTo>
                  <a:lnTo>
                    <a:pt x="84" y="52"/>
                  </a:lnTo>
                  <a:lnTo>
                    <a:pt x="86" y="44"/>
                  </a:lnTo>
                  <a:lnTo>
                    <a:pt x="86" y="44"/>
                  </a:lnTo>
                  <a:lnTo>
                    <a:pt x="84" y="36"/>
                  </a:lnTo>
                  <a:lnTo>
                    <a:pt x="82" y="28"/>
                  </a:lnTo>
                  <a:lnTo>
                    <a:pt x="78" y="20"/>
                  </a:lnTo>
                  <a:lnTo>
                    <a:pt x="72" y="14"/>
                  </a:lnTo>
                  <a:lnTo>
                    <a:pt x="66" y="8"/>
                  </a:lnTo>
                  <a:lnTo>
                    <a:pt x="60" y="4"/>
                  </a:lnTo>
                  <a:lnTo>
                    <a:pt x="52" y="2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27" name="Freeform 169"/>
            <p:cNvSpPr>
              <a:spLocks/>
            </p:cNvSpPr>
            <p:nvPr/>
          </p:nvSpPr>
          <p:spPr bwMode="auto">
            <a:xfrm>
              <a:off x="8883529" y="5769659"/>
              <a:ext cx="98616" cy="98616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42" y="0"/>
                </a:cxn>
                <a:cxn ang="0">
                  <a:pos x="34" y="2"/>
                </a:cxn>
                <a:cxn ang="0">
                  <a:pos x="26" y="4"/>
                </a:cxn>
                <a:cxn ang="0">
                  <a:pos x="18" y="8"/>
                </a:cxn>
                <a:cxn ang="0">
                  <a:pos x="12" y="14"/>
                </a:cxn>
                <a:cxn ang="0">
                  <a:pos x="6" y="20"/>
                </a:cxn>
                <a:cxn ang="0">
                  <a:pos x="2" y="28"/>
                </a:cxn>
                <a:cxn ang="0">
                  <a:pos x="0" y="36"/>
                </a:cxn>
                <a:cxn ang="0">
                  <a:pos x="0" y="44"/>
                </a:cxn>
                <a:cxn ang="0">
                  <a:pos x="0" y="44"/>
                </a:cxn>
                <a:cxn ang="0">
                  <a:pos x="0" y="52"/>
                </a:cxn>
                <a:cxn ang="0">
                  <a:pos x="2" y="60"/>
                </a:cxn>
                <a:cxn ang="0">
                  <a:pos x="6" y="68"/>
                </a:cxn>
                <a:cxn ang="0">
                  <a:pos x="12" y="74"/>
                </a:cxn>
                <a:cxn ang="0">
                  <a:pos x="18" y="80"/>
                </a:cxn>
                <a:cxn ang="0">
                  <a:pos x="26" y="84"/>
                </a:cxn>
                <a:cxn ang="0">
                  <a:pos x="34" y="86"/>
                </a:cxn>
                <a:cxn ang="0">
                  <a:pos x="42" y="86"/>
                </a:cxn>
                <a:cxn ang="0">
                  <a:pos x="42" y="86"/>
                </a:cxn>
                <a:cxn ang="0">
                  <a:pos x="52" y="86"/>
                </a:cxn>
                <a:cxn ang="0">
                  <a:pos x="60" y="84"/>
                </a:cxn>
                <a:cxn ang="0">
                  <a:pos x="66" y="80"/>
                </a:cxn>
                <a:cxn ang="0">
                  <a:pos x="72" y="74"/>
                </a:cxn>
                <a:cxn ang="0">
                  <a:pos x="78" y="68"/>
                </a:cxn>
                <a:cxn ang="0">
                  <a:pos x="82" y="60"/>
                </a:cxn>
                <a:cxn ang="0">
                  <a:pos x="84" y="52"/>
                </a:cxn>
                <a:cxn ang="0">
                  <a:pos x="86" y="44"/>
                </a:cxn>
                <a:cxn ang="0">
                  <a:pos x="86" y="44"/>
                </a:cxn>
                <a:cxn ang="0">
                  <a:pos x="84" y="36"/>
                </a:cxn>
                <a:cxn ang="0">
                  <a:pos x="82" y="28"/>
                </a:cxn>
                <a:cxn ang="0">
                  <a:pos x="78" y="20"/>
                </a:cxn>
                <a:cxn ang="0">
                  <a:pos x="72" y="14"/>
                </a:cxn>
                <a:cxn ang="0">
                  <a:pos x="66" y="8"/>
                </a:cxn>
                <a:cxn ang="0">
                  <a:pos x="60" y="4"/>
                </a:cxn>
                <a:cxn ang="0">
                  <a:pos x="52" y="2"/>
                </a:cxn>
                <a:cxn ang="0">
                  <a:pos x="42" y="0"/>
                </a:cxn>
              </a:cxnLst>
              <a:rect l="0" t="0" r="r" b="b"/>
              <a:pathLst>
                <a:path w="86" h="86">
                  <a:moveTo>
                    <a:pt x="42" y="0"/>
                  </a:moveTo>
                  <a:lnTo>
                    <a:pt x="42" y="0"/>
                  </a:lnTo>
                  <a:lnTo>
                    <a:pt x="34" y="2"/>
                  </a:lnTo>
                  <a:lnTo>
                    <a:pt x="26" y="4"/>
                  </a:lnTo>
                  <a:lnTo>
                    <a:pt x="18" y="8"/>
                  </a:lnTo>
                  <a:lnTo>
                    <a:pt x="12" y="14"/>
                  </a:lnTo>
                  <a:lnTo>
                    <a:pt x="6" y="20"/>
                  </a:lnTo>
                  <a:lnTo>
                    <a:pt x="2" y="28"/>
                  </a:lnTo>
                  <a:lnTo>
                    <a:pt x="0" y="36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52"/>
                  </a:lnTo>
                  <a:lnTo>
                    <a:pt x="2" y="60"/>
                  </a:lnTo>
                  <a:lnTo>
                    <a:pt x="6" y="68"/>
                  </a:lnTo>
                  <a:lnTo>
                    <a:pt x="12" y="74"/>
                  </a:lnTo>
                  <a:lnTo>
                    <a:pt x="18" y="80"/>
                  </a:lnTo>
                  <a:lnTo>
                    <a:pt x="26" y="84"/>
                  </a:lnTo>
                  <a:lnTo>
                    <a:pt x="34" y="86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52" y="86"/>
                  </a:lnTo>
                  <a:lnTo>
                    <a:pt x="60" y="84"/>
                  </a:lnTo>
                  <a:lnTo>
                    <a:pt x="66" y="80"/>
                  </a:lnTo>
                  <a:lnTo>
                    <a:pt x="72" y="74"/>
                  </a:lnTo>
                  <a:lnTo>
                    <a:pt x="78" y="68"/>
                  </a:lnTo>
                  <a:lnTo>
                    <a:pt x="82" y="60"/>
                  </a:lnTo>
                  <a:lnTo>
                    <a:pt x="84" y="52"/>
                  </a:lnTo>
                  <a:lnTo>
                    <a:pt x="86" y="44"/>
                  </a:lnTo>
                  <a:lnTo>
                    <a:pt x="86" y="44"/>
                  </a:lnTo>
                  <a:lnTo>
                    <a:pt x="84" y="36"/>
                  </a:lnTo>
                  <a:lnTo>
                    <a:pt x="82" y="28"/>
                  </a:lnTo>
                  <a:lnTo>
                    <a:pt x="78" y="20"/>
                  </a:lnTo>
                  <a:lnTo>
                    <a:pt x="72" y="14"/>
                  </a:lnTo>
                  <a:lnTo>
                    <a:pt x="66" y="8"/>
                  </a:lnTo>
                  <a:lnTo>
                    <a:pt x="60" y="4"/>
                  </a:lnTo>
                  <a:lnTo>
                    <a:pt x="52" y="2"/>
                  </a:lnTo>
                  <a:lnTo>
                    <a:pt x="42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28" name="Freeform 170"/>
            <p:cNvSpPr>
              <a:spLocks/>
            </p:cNvSpPr>
            <p:nvPr/>
          </p:nvSpPr>
          <p:spPr bwMode="auto">
            <a:xfrm>
              <a:off x="7686378" y="4957798"/>
              <a:ext cx="61922" cy="61922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6" y="0"/>
                </a:cxn>
                <a:cxn ang="0">
                  <a:pos x="16" y="2"/>
                </a:cxn>
                <a:cxn ang="0">
                  <a:pos x="8" y="8"/>
                </a:cxn>
                <a:cxn ang="0">
                  <a:pos x="2" y="16"/>
                </a:cxn>
                <a:cxn ang="0">
                  <a:pos x="0" y="26"/>
                </a:cxn>
                <a:cxn ang="0">
                  <a:pos x="0" y="26"/>
                </a:cxn>
                <a:cxn ang="0">
                  <a:pos x="2" y="36"/>
                </a:cxn>
                <a:cxn ang="0">
                  <a:pos x="8" y="46"/>
                </a:cxn>
                <a:cxn ang="0">
                  <a:pos x="16" y="50"/>
                </a:cxn>
                <a:cxn ang="0">
                  <a:pos x="26" y="54"/>
                </a:cxn>
                <a:cxn ang="0">
                  <a:pos x="26" y="54"/>
                </a:cxn>
                <a:cxn ang="0">
                  <a:pos x="36" y="50"/>
                </a:cxn>
                <a:cxn ang="0">
                  <a:pos x="46" y="46"/>
                </a:cxn>
                <a:cxn ang="0">
                  <a:pos x="52" y="36"/>
                </a:cxn>
                <a:cxn ang="0">
                  <a:pos x="54" y="26"/>
                </a:cxn>
                <a:cxn ang="0">
                  <a:pos x="54" y="26"/>
                </a:cxn>
                <a:cxn ang="0">
                  <a:pos x="52" y="16"/>
                </a:cxn>
                <a:cxn ang="0">
                  <a:pos x="46" y="8"/>
                </a:cxn>
                <a:cxn ang="0">
                  <a:pos x="36" y="2"/>
                </a:cxn>
                <a:cxn ang="0">
                  <a:pos x="26" y="0"/>
                </a:cxn>
              </a:cxnLst>
              <a:rect l="0" t="0" r="r" b="b"/>
              <a:pathLst>
                <a:path w="54" h="54">
                  <a:moveTo>
                    <a:pt x="26" y="0"/>
                  </a:moveTo>
                  <a:lnTo>
                    <a:pt x="26" y="0"/>
                  </a:lnTo>
                  <a:lnTo>
                    <a:pt x="16" y="2"/>
                  </a:lnTo>
                  <a:lnTo>
                    <a:pt x="8" y="8"/>
                  </a:lnTo>
                  <a:lnTo>
                    <a:pt x="2" y="1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36"/>
                  </a:lnTo>
                  <a:lnTo>
                    <a:pt x="8" y="46"/>
                  </a:lnTo>
                  <a:lnTo>
                    <a:pt x="16" y="50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36" y="50"/>
                  </a:lnTo>
                  <a:lnTo>
                    <a:pt x="46" y="46"/>
                  </a:lnTo>
                  <a:lnTo>
                    <a:pt x="52" y="36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2" y="16"/>
                  </a:lnTo>
                  <a:lnTo>
                    <a:pt x="46" y="8"/>
                  </a:lnTo>
                  <a:lnTo>
                    <a:pt x="3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29" name="Freeform 171"/>
            <p:cNvSpPr>
              <a:spLocks/>
            </p:cNvSpPr>
            <p:nvPr/>
          </p:nvSpPr>
          <p:spPr bwMode="auto">
            <a:xfrm>
              <a:off x="7686378" y="4957798"/>
              <a:ext cx="61922" cy="61922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6" y="0"/>
                </a:cxn>
                <a:cxn ang="0">
                  <a:pos x="16" y="2"/>
                </a:cxn>
                <a:cxn ang="0">
                  <a:pos x="8" y="8"/>
                </a:cxn>
                <a:cxn ang="0">
                  <a:pos x="2" y="16"/>
                </a:cxn>
                <a:cxn ang="0">
                  <a:pos x="0" y="26"/>
                </a:cxn>
                <a:cxn ang="0">
                  <a:pos x="0" y="26"/>
                </a:cxn>
                <a:cxn ang="0">
                  <a:pos x="2" y="36"/>
                </a:cxn>
                <a:cxn ang="0">
                  <a:pos x="8" y="46"/>
                </a:cxn>
                <a:cxn ang="0">
                  <a:pos x="16" y="50"/>
                </a:cxn>
                <a:cxn ang="0">
                  <a:pos x="26" y="54"/>
                </a:cxn>
                <a:cxn ang="0">
                  <a:pos x="26" y="54"/>
                </a:cxn>
                <a:cxn ang="0">
                  <a:pos x="36" y="50"/>
                </a:cxn>
                <a:cxn ang="0">
                  <a:pos x="46" y="46"/>
                </a:cxn>
                <a:cxn ang="0">
                  <a:pos x="52" y="36"/>
                </a:cxn>
                <a:cxn ang="0">
                  <a:pos x="54" y="26"/>
                </a:cxn>
                <a:cxn ang="0">
                  <a:pos x="54" y="26"/>
                </a:cxn>
                <a:cxn ang="0">
                  <a:pos x="52" y="16"/>
                </a:cxn>
                <a:cxn ang="0">
                  <a:pos x="46" y="8"/>
                </a:cxn>
                <a:cxn ang="0">
                  <a:pos x="36" y="2"/>
                </a:cxn>
                <a:cxn ang="0">
                  <a:pos x="26" y="0"/>
                </a:cxn>
              </a:cxnLst>
              <a:rect l="0" t="0" r="r" b="b"/>
              <a:pathLst>
                <a:path w="54" h="54">
                  <a:moveTo>
                    <a:pt x="26" y="0"/>
                  </a:moveTo>
                  <a:lnTo>
                    <a:pt x="26" y="0"/>
                  </a:lnTo>
                  <a:lnTo>
                    <a:pt x="16" y="2"/>
                  </a:lnTo>
                  <a:lnTo>
                    <a:pt x="8" y="8"/>
                  </a:lnTo>
                  <a:lnTo>
                    <a:pt x="2" y="1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36"/>
                  </a:lnTo>
                  <a:lnTo>
                    <a:pt x="8" y="46"/>
                  </a:lnTo>
                  <a:lnTo>
                    <a:pt x="16" y="50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36" y="50"/>
                  </a:lnTo>
                  <a:lnTo>
                    <a:pt x="46" y="46"/>
                  </a:lnTo>
                  <a:lnTo>
                    <a:pt x="52" y="36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2" y="16"/>
                  </a:lnTo>
                  <a:lnTo>
                    <a:pt x="46" y="8"/>
                  </a:lnTo>
                  <a:lnTo>
                    <a:pt x="36" y="2"/>
                  </a:lnTo>
                  <a:lnTo>
                    <a:pt x="26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30" name="Freeform 172"/>
            <p:cNvSpPr>
              <a:spLocks/>
            </p:cNvSpPr>
            <p:nvPr/>
          </p:nvSpPr>
          <p:spPr bwMode="auto">
            <a:xfrm>
              <a:off x="8158817" y="5349968"/>
              <a:ext cx="61922" cy="61922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28" y="0"/>
                </a:cxn>
                <a:cxn ang="0">
                  <a:pos x="18" y="2"/>
                </a:cxn>
                <a:cxn ang="0">
                  <a:pos x="8" y="8"/>
                </a:cxn>
                <a:cxn ang="0">
                  <a:pos x="2" y="1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2" y="38"/>
                </a:cxn>
                <a:cxn ang="0">
                  <a:pos x="8" y="46"/>
                </a:cxn>
                <a:cxn ang="0">
                  <a:pos x="18" y="52"/>
                </a:cxn>
                <a:cxn ang="0">
                  <a:pos x="28" y="54"/>
                </a:cxn>
                <a:cxn ang="0">
                  <a:pos x="28" y="54"/>
                </a:cxn>
                <a:cxn ang="0">
                  <a:pos x="38" y="52"/>
                </a:cxn>
                <a:cxn ang="0">
                  <a:pos x="46" y="46"/>
                </a:cxn>
                <a:cxn ang="0">
                  <a:pos x="52" y="38"/>
                </a:cxn>
                <a:cxn ang="0">
                  <a:pos x="54" y="28"/>
                </a:cxn>
                <a:cxn ang="0">
                  <a:pos x="54" y="28"/>
                </a:cxn>
                <a:cxn ang="0">
                  <a:pos x="52" y="18"/>
                </a:cxn>
                <a:cxn ang="0">
                  <a:pos x="46" y="8"/>
                </a:cxn>
                <a:cxn ang="0">
                  <a:pos x="38" y="2"/>
                </a:cxn>
                <a:cxn ang="0">
                  <a:pos x="28" y="0"/>
                </a:cxn>
              </a:cxnLst>
              <a:rect l="0" t="0" r="r" b="b"/>
              <a:pathLst>
                <a:path w="54" h="54">
                  <a:moveTo>
                    <a:pt x="28" y="0"/>
                  </a:moveTo>
                  <a:lnTo>
                    <a:pt x="28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38"/>
                  </a:lnTo>
                  <a:lnTo>
                    <a:pt x="8" y="46"/>
                  </a:lnTo>
                  <a:lnTo>
                    <a:pt x="18" y="52"/>
                  </a:lnTo>
                  <a:lnTo>
                    <a:pt x="28" y="54"/>
                  </a:lnTo>
                  <a:lnTo>
                    <a:pt x="28" y="54"/>
                  </a:lnTo>
                  <a:lnTo>
                    <a:pt x="38" y="52"/>
                  </a:lnTo>
                  <a:lnTo>
                    <a:pt x="46" y="46"/>
                  </a:lnTo>
                  <a:lnTo>
                    <a:pt x="52" y="38"/>
                  </a:lnTo>
                  <a:lnTo>
                    <a:pt x="54" y="28"/>
                  </a:lnTo>
                  <a:lnTo>
                    <a:pt x="54" y="28"/>
                  </a:lnTo>
                  <a:lnTo>
                    <a:pt x="52" y="18"/>
                  </a:lnTo>
                  <a:lnTo>
                    <a:pt x="46" y="8"/>
                  </a:lnTo>
                  <a:lnTo>
                    <a:pt x="38" y="2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31" name="Freeform 173"/>
            <p:cNvSpPr>
              <a:spLocks/>
            </p:cNvSpPr>
            <p:nvPr/>
          </p:nvSpPr>
          <p:spPr bwMode="auto">
            <a:xfrm>
              <a:off x="8158817" y="5349968"/>
              <a:ext cx="61922" cy="61922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28" y="0"/>
                </a:cxn>
                <a:cxn ang="0">
                  <a:pos x="18" y="2"/>
                </a:cxn>
                <a:cxn ang="0">
                  <a:pos x="8" y="8"/>
                </a:cxn>
                <a:cxn ang="0">
                  <a:pos x="2" y="1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2" y="38"/>
                </a:cxn>
                <a:cxn ang="0">
                  <a:pos x="8" y="46"/>
                </a:cxn>
                <a:cxn ang="0">
                  <a:pos x="18" y="52"/>
                </a:cxn>
                <a:cxn ang="0">
                  <a:pos x="28" y="54"/>
                </a:cxn>
                <a:cxn ang="0">
                  <a:pos x="28" y="54"/>
                </a:cxn>
                <a:cxn ang="0">
                  <a:pos x="38" y="52"/>
                </a:cxn>
                <a:cxn ang="0">
                  <a:pos x="46" y="46"/>
                </a:cxn>
                <a:cxn ang="0">
                  <a:pos x="52" y="38"/>
                </a:cxn>
                <a:cxn ang="0">
                  <a:pos x="54" y="28"/>
                </a:cxn>
                <a:cxn ang="0">
                  <a:pos x="54" y="28"/>
                </a:cxn>
                <a:cxn ang="0">
                  <a:pos x="52" y="18"/>
                </a:cxn>
                <a:cxn ang="0">
                  <a:pos x="46" y="8"/>
                </a:cxn>
                <a:cxn ang="0">
                  <a:pos x="38" y="2"/>
                </a:cxn>
                <a:cxn ang="0">
                  <a:pos x="28" y="0"/>
                </a:cxn>
              </a:cxnLst>
              <a:rect l="0" t="0" r="r" b="b"/>
              <a:pathLst>
                <a:path w="54" h="54">
                  <a:moveTo>
                    <a:pt x="28" y="0"/>
                  </a:moveTo>
                  <a:lnTo>
                    <a:pt x="28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38"/>
                  </a:lnTo>
                  <a:lnTo>
                    <a:pt x="8" y="46"/>
                  </a:lnTo>
                  <a:lnTo>
                    <a:pt x="18" y="52"/>
                  </a:lnTo>
                  <a:lnTo>
                    <a:pt x="28" y="54"/>
                  </a:lnTo>
                  <a:lnTo>
                    <a:pt x="28" y="54"/>
                  </a:lnTo>
                  <a:lnTo>
                    <a:pt x="38" y="52"/>
                  </a:lnTo>
                  <a:lnTo>
                    <a:pt x="46" y="46"/>
                  </a:lnTo>
                  <a:lnTo>
                    <a:pt x="52" y="38"/>
                  </a:lnTo>
                  <a:lnTo>
                    <a:pt x="54" y="28"/>
                  </a:lnTo>
                  <a:lnTo>
                    <a:pt x="54" y="28"/>
                  </a:lnTo>
                  <a:lnTo>
                    <a:pt x="52" y="18"/>
                  </a:lnTo>
                  <a:lnTo>
                    <a:pt x="46" y="8"/>
                  </a:lnTo>
                  <a:lnTo>
                    <a:pt x="38" y="2"/>
                  </a:lnTo>
                  <a:lnTo>
                    <a:pt x="28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32" name="Freeform 174"/>
            <p:cNvSpPr>
              <a:spLocks/>
            </p:cNvSpPr>
            <p:nvPr/>
          </p:nvSpPr>
          <p:spPr bwMode="auto">
            <a:xfrm>
              <a:off x="7856089" y="5508213"/>
              <a:ext cx="61922" cy="59628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6" y="0"/>
                </a:cxn>
                <a:cxn ang="0">
                  <a:pos x="16" y="2"/>
                </a:cxn>
                <a:cxn ang="0">
                  <a:pos x="8" y="8"/>
                </a:cxn>
                <a:cxn ang="0">
                  <a:pos x="2" y="16"/>
                </a:cxn>
                <a:cxn ang="0">
                  <a:pos x="0" y="26"/>
                </a:cxn>
                <a:cxn ang="0">
                  <a:pos x="0" y="26"/>
                </a:cxn>
                <a:cxn ang="0">
                  <a:pos x="2" y="36"/>
                </a:cxn>
                <a:cxn ang="0">
                  <a:pos x="8" y="44"/>
                </a:cxn>
                <a:cxn ang="0">
                  <a:pos x="16" y="50"/>
                </a:cxn>
                <a:cxn ang="0">
                  <a:pos x="26" y="52"/>
                </a:cxn>
                <a:cxn ang="0">
                  <a:pos x="26" y="52"/>
                </a:cxn>
                <a:cxn ang="0">
                  <a:pos x="36" y="50"/>
                </a:cxn>
                <a:cxn ang="0">
                  <a:pos x="46" y="44"/>
                </a:cxn>
                <a:cxn ang="0">
                  <a:pos x="52" y="36"/>
                </a:cxn>
                <a:cxn ang="0">
                  <a:pos x="54" y="26"/>
                </a:cxn>
                <a:cxn ang="0">
                  <a:pos x="54" y="26"/>
                </a:cxn>
                <a:cxn ang="0">
                  <a:pos x="52" y="16"/>
                </a:cxn>
                <a:cxn ang="0">
                  <a:pos x="46" y="8"/>
                </a:cxn>
                <a:cxn ang="0">
                  <a:pos x="36" y="2"/>
                </a:cxn>
                <a:cxn ang="0">
                  <a:pos x="26" y="0"/>
                </a:cxn>
              </a:cxnLst>
              <a:rect l="0" t="0" r="r" b="b"/>
              <a:pathLst>
                <a:path w="54" h="52">
                  <a:moveTo>
                    <a:pt x="26" y="0"/>
                  </a:moveTo>
                  <a:lnTo>
                    <a:pt x="26" y="0"/>
                  </a:lnTo>
                  <a:lnTo>
                    <a:pt x="16" y="2"/>
                  </a:lnTo>
                  <a:lnTo>
                    <a:pt x="8" y="8"/>
                  </a:lnTo>
                  <a:lnTo>
                    <a:pt x="2" y="1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36"/>
                  </a:lnTo>
                  <a:lnTo>
                    <a:pt x="8" y="44"/>
                  </a:lnTo>
                  <a:lnTo>
                    <a:pt x="16" y="50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36" y="50"/>
                  </a:lnTo>
                  <a:lnTo>
                    <a:pt x="46" y="44"/>
                  </a:lnTo>
                  <a:lnTo>
                    <a:pt x="52" y="36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2" y="16"/>
                  </a:lnTo>
                  <a:lnTo>
                    <a:pt x="46" y="8"/>
                  </a:lnTo>
                  <a:lnTo>
                    <a:pt x="3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33" name="Freeform 175"/>
            <p:cNvSpPr>
              <a:spLocks/>
            </p:cNvSpPr>
            <p:nvPr/>
          </p:nvSpPr>
          <p:spPr bwMode="auto">
            <a:xfrm>
              <a:off x="7856089" y="5508213"/>
              <a:ext cx="61922" cy="59628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6" y="0"/>
                </a:cxn>
                <a:cxn ang="0">
                  <a:pos x="16" y="2"/>
                </a:cxn>
                <a:cxn ang="0">
                  <a:pos x="8" y="8"/>
                </a:cxn>
                <a:cxn ang="0">
                  <a:pos x="2" y="16"/>
                </a:cxn>
                <a:cxn ang="0">
                  <a:pos x="0" y="26"/>
                </a:cxn>
                <a:cxn ang="0">
                  <a:pos x="0" y="26"/>
                </a:cxn>
                <a:cxn ang="0">
                  <a:pos x="2" y="36"/>
                </a:cxn>
                <a:cxn ang="0">
                  <a:pos x="8" y="44"/>
                </a:cxn>
                <a:cxn ang="0">
                  <a:pos x="16" y="50"/>
                </a:cxn>
                <a:cxn ang="0">
                  <a:pos x="26" y="52"/>
                </a:cxn>
                <a:cxn ang="0">
                  <a:pos x="26" y="52"/>
                </a:cxn>
                <a:cxn ang="0">
                  <a:pos x="36" y="50"/>
                </a:cxn>
                <a:cxn ang="0">
                  <a:pos x="46" y="44"/>
                </a:cxn>
                <a:cxn ang="0">
                  <a:pos x="52" y="36"/>
                </a:cxn>
                <a:cxn ang="0">
                  <a:pos x="54" y="26"/>
                </a:cxn>
                <a:cxn ang="0">
                  <a:pos x="54" y="26"/>
                </a:cxn>
                <a:cxn ang="0">
                  <a:pos x="52" y="16"/>
                </a:cxn>
                <a:cxn ang="0">
                  <a:pos x="46" y="8"/>
                </a:cxn>
                <a:cxn ang="0">
                  <a:pos x="36" y="2"/>
                </a:cxn>
                <a:cxn ang="0">
                  <a:pos x="26" y="0"/>
                </a:cxn>
              </a:cxnLst>
              <a:rect l="0" t="0" r="r" b="b"/>
              <a:pathLst>
                <a:path w="54" h="52">
                  <a:moveTo>
                    <a:pt x="26" y="0"/>
                  </a:moveTo>
                  <a:lnTo>
                    <a:pt x="26" y="0"/>
                  </a:lnTo>
                  <a:lnTo>
                    <a:pt x="16" y="2"/>
                  </a:lnTo>
                  <a:lnTo>
                    <a:pt x="8" y="8"/>
                  </a:lnTo>
                  <a:lnTo>
                    <a:pt x="2" y="1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36"/>
                  </a:lnTo>
                  <a:lnTo>
                    <a:pt x="8" y="44"/>
                  </a:lnTo>
                  <a:lnTo>
                    <a:pt x="16" y="50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36" y="50"/>
                  </a:lnTo>
                  <a:lnTo>
                    <a:pt x="46" y="44"/>
                  </a:lnTo>
                  <a:lnTo>
                    <a:pt x="52" y="36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2" y="16"/>
                  </a:lnTo>
                  <a:lnTo>
                    <a:pt x="46" y="8"/>
                  </a:lnTo>
                  <a:lnTo>
                    <a:pt x="36" y="2"/>
                  </a:lnTo>
                  <a:lnTo>
                    <a:pt x="26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34" name="Freeform 176"/>
            <p:cNvSpPr>
              <a:spLocks/>
            </p:cNvSpPr>
            <p:nvPr/>
          </p:nvSpPr>
          <p:spPr bwMode="auto">
            <a:xfrm>
              <a:off x="7289621" y="5884329"/>
              <a:ext cx="61922" cy="61922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6" y="0"/>
                </a:cxn>
                <a:cxn ang="0">
                  <a:pos x="16" y="2"/>
                </a:cxn>
                <a:cxn ang="0">
                  <a:pos x="8" y="8"/>
                </a:cxn>
                <a:cxn ang="0">
                  <a:pos x="2" y="16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2" y="38"/>
                </a:cxn>
                <a:cxn ang="0">
                  <a:pos x="8" y="46"/>
                </a:cxn>
                <a:cxn ang="0">
                  <a:pos x="16" y="52"/>
                </a:cxn>
                <a:cxn ang="0">
                  <a:pos x="26" y="54"/>
                </a:cxn>
                <a:cxn ang="0">
                  <a:pos x="26" y="54"/>
                </a:cxn>
                <a:cxn ang="0">
                  <a:pos x="38" y="52"/>
                </a:cxn>
                <a:cxn ang="0">
                  <a:pos x="46" y="46"/>
                </a:cxn>
                <a:cxn ang="0">
                  <a:pos x="52" y="38"/>
                </a:cxn>
                <a:cxn ang="0">
                  <a:pos x="54" y="28"/>
                </a:cxn>
                <a:cxn ang="0">
                  <a:pos x="54" y="28"/>
                </a:cxn>
                <a:cxn ang="0">
                  <a:pos x="52" y="16"/>
                </a:cxn>
                <a:cxn ang="0">
                  <a:pos x="46" y="8"/>
                </a:cxn>
                <a:cxn ang="0">
                  <a:pos x="38" y="2"/>
                </a:cxn>
                <a:cxn ang="0">
                  <a:pos x="26" y="0"/>
                </a:cxn>
              </a:cxnLst>
              <a:rect l="0" t="0" r="r" b="b"/>
              <a:pathLst>
                <a:path w="54" h="54">
                  <a:moveTo>
                    <a:pt x="26" y="0"/>
                  </a:moveTo>
                  <a:lnTo>
                    <a:pt x="26" y="0"/>
                  </a:lnTo>
                  <a:lnTo>
                    <a:pt x="16" y="2"/>
                  </a:lnTo>
                  <a:lnTo>
                    <a:pt x="8" y="8"/>
                  </a:lnTo>
                  <a:lnTo>
                    <a:pt x="2" y="1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38"/>
                  </a:lnTo>
                  <a:lnTo>
                    <a:pt x="8" y="46"/>
                  </a:lnTo>
                  <a:lnTo>
                    <a:pt x="16" y="52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38" y="52"/>
                  </a:lnTo>
                  <a:lnTo>
                    <a:pt x="46" y="46"/>
                  </a:lnTo>
                  <a:lnTo>
                    <a:pt x="52" y="38"/>
                  </a:lnTo>
                  <a:lnTo>
                    <a:pt x="54" y="28"/>
                  </a:lnTo>
                  <a:lnTo>
                    <a:pt x="54" y="28"/>
                  </a:lnTo>
                  <a:lnTo>
                    <a:pt x="52" y="16"/>
                  </a:lnTo>
                  <a:lnTo>
                    <a:pt x="46" y="8"/>
                  </a:lnTo>
                  <a:lnTo>
                    <a:pt x="38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35" name="Freeform 177"/>
            <p:cNvSpPr>
              <a:spLocks/>
            </p:cNvSpPr>
            <p:nvPr/>
          </p:nvSpPr>
          <p:spPr bwMode="auto">
            <a:xfrm>
              <a:off x="7289621" y="5884329"/>
              <a:ext cx="61922" cy="61922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6" y="0"/>
                </a:cxn>
                <a:cxn ang="0">
                  <a:pos x="16" y="2"/>
                </a:cxn>
                <a:cxn ang="0">
                  <a:pos x="8" y="8"/>
                </a:cxn>
                <a:cxn ang="0">
                  <a:pos x="2" y="16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2" y="38"/>
                </a:cxn>
                <a:cxn ang="0">
                  <a:pos x="8" y="46"/>
                </a:cxn>
                <a:cxn ang="0">
                  <a:pos x="16" y="52"/>
                </a:cxn>
                <a:cxn ang="0">
                  <a:pos x="26" y="54"/>
                </a:cxn>
                <a:cxn ang="0">
                  <a:pos x="26" y="54"/>
                </a:cxn>
                <a:cxn ang="0">
                  <a:pos x="38" y="52"/>
                </a:cxn>
                <a:cxn ang="0">
                  <a:pos x="46" y="46"/>
                </a:cxn>
                <a:cxn ang="0">
                  <a:pos x="52" y="38"/>
                </a:cxn>
                <a:cxn ang="0">
                  <a:pos x="54" y="28"/>
                </a:cxn>
                <a:cxn ang="0">
                  <a:pos x="54" y="28"/>
                </a:cxn>
                <a:cxn ang="0">
                  <a:pos x="52" y="16"/>
                </a:cxn>
                <a:cxn ang="0">
                  <a:pos x="46" y="8"/>
                </a:cxn>
                <a:cxn ang="0">
                  <a:pos x="38" y="2"/>
                </a:cxn>
                <a:cxn ang="0">
                  <a:pos x="26" y="0"/>
                </a:cxn>
              </a:cxnLst>
              <a:rect l="0" t="0" r="r" b="b"/>
              <a:pathLst>
                <a:path w="54" h="54">
                  <a:moveTo>
                    <a:pt x="26" y="0"/>
                  </a:moveTo>
                  <a:lnTo>
                    <a:pt x="26" y="0"/>
                  </a:lnTo>
                  <a:lnTo>
                    <a:pt x="16" y="2"/>
                  </a:lnTo>
                  <a:lnTo>
                    <a:pt x="8" y="8"/>
                  </a:lnTo>
                  <a:lnTo>
                    <a:pt x="2" y="1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38"/>
                  </a:lnTo>
                  <a:lnTo>
                    <a:pt x="8" y="46"/>
                  </a:lnTo>
                  <a:lnTo>
                    <a:pt x="16" y="52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38" y="52"/>
                  </a:lnTo>
                  <a:lnTo>
                    <a:pt x="46" y="46"/>
                  </a:lnTo>
                  <a:lnTo>
                    <a:pt x="52" y="38"/>
                  </a:lnTo>
                  <a:lnTo>
                    <a:pt x="54" y="28"/>
                  </a:lnTo>
                  <a:lnTo>
                    <a:pt x="54" y="28"/>
                  </a:lnTo>
                  <a:lnTo>
                    <a:pt x="52" y="16"/>
                  </a:lnTo>
                  <a:lnTo>
                    <a:pt x="46" y="8"/>
                  </a:lnTo>
                  <a:lnTo>
                    <a:pt x="38" y="2"/>
                  </a:lnTo>
                  <a:lnTo>
                    <a:pt x="26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36" name="Freeform 178"/>
            <p:cNvSpPr>
              <a:spLocks/>
            </p:cNvSpPr>
            <p:nvPr/>
          </p:nvSpPr>
          <p:spPr bwMode="auto">
            <a:xfrm>
              <a:off x="7651977" y="5804060"/>
              <a:ext cx="61922" cy="61922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6" y="0"/>
                </a:cxn>
                <a:cxn ang="0">
                  <a:pos x="16" y="2"/>
                </a:cxn>
                <a:cxn ang="0">
                  <a:pos x="8" y="8"/>
                </a:cxn>
                <a:cxn ang="0">
                  <a:pos x="2" y="16"/>
                </a:cxn>
                <a:cxn ang="0">
                  <a:pos x="0" y="26"/>
                </a:cxn>
                <a:cxn ang="0">
                  <a:pos x="0" y="26"/>
                </a:cxn>
                <a:cxn ang="0">
                  <a:pos x="2" y="36"/>
                </a:cxn>
                <a:cxn ang="0">
                  <a:pos x="8" y="46"/>
                </a:cxn>
                <a:cxn ang="0">
                  <a:pos x="16" y="52"/>
                </a:cxn>
                <a:cxn ang="0">
                  <a:pos x="26" y="54"/>
                </a:cxn>
                <a:cxn ang="0">
                  <a:pos x="26" y="54"/>
                </a:cxn>
                <a:cxn ang="0">
                  <a:pos x="36" y="52"/>
                </a:cxn>
                <a:cxn ang="0">
                  <a:pos x="46" y="46"/>
                </a:cxn>
                <a:cxn ang="0">
                  <a:pos x="50" y="36"/>
                </a:cxn>
                <a:cxn ang="0">
                  <a:pos x="54" y="26"/>
                </a:cxn>
                <a:cxn ang="0">
                  <a:pos x="54" y="26"/>
                </a:cxn>
                <a:cxn ang="0">
                  <a:pos x="50" y="16"/>
                </a:cxn>
                <a:cxn ang="0">
                  <a:pos x="46" y="8"/>
                </a:cxn>
                <a:cxn ang="0">
                  <a:pos x="36" y="2"/>
                </a:cxn>
                <a:cxn ang="0">
                  <a:pos x="26" y="0"/>
                </a:cxn>
              </a:cxnLst>
              <a:rect l="0" t="0" r="r" b="b"/>
              <a:pathLst>
                <a:path w="54" h="54">
                  <a:moveTo>
                    <a:pt x="26" y="0"/>
                  </a:moveTo>
                  <a:lnTo>
                    <a:pt x="26" y="0"/>
                  </a:lnTo>
                  <a:lnTo>
                    <a:pt x="16" y="2"/>
                  </a:lnTo>
                  <a:lnTo>
                    <a:pt x="8" y="8"/>
                  </a:lnTo>
                  <a:lnTo>
                    <a:pt x="2" y="1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36"/>
                  </a:lnTo>
                  <a:lnTo>
                    <a:pt x="8" y="46"/>
                  </a:lnTo>
                  <a:lnTo>
                    <a:pt x="16" y="52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36" y="52"/>
                  </a:lnTo>
                  <a:lnTo>
                    <a:pt x="46" y="46"/>
                  </a:lnTo>
                  <a:lnTo>
                    <a:pt x="50" y="36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0" y="16"/>
                  </a:lnTo>
                  <a:lnTo>
                    <a:pt x="46" y="8"/>
                  </a:lnTo>
                  <a:lnTo>
                    <a:pt x="3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37" name="Freeform 179"/>
            <p:cNvSpPr>
              <a:spLocks/>
            </p:cNvSpPr>
            <p:nvPr/>
          </p:nvSpPr>
          <p:spPr bwMode="auto">
            <a:xfrm>
              <a:off x="7651977" y="5804060"/>
              <a:ext cx="61922" cy="61922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6" y="0"/>
                </a:cxn>
                <a:cxn ang="0">
                  <a:pos x="16" y="2"/>
                </a:cxn>
                <a:cxn ang="0">
                  <a:pos x="8" y="8"/>
                </a:cxn>
                <a:cxn ang="0">
                  <a:pos x="2" y="16"/>
                </a:cxn>
                <a:cxn ang="0">
                  <a:pos x="0" y="26"/>
                </a:cxn>
                <a:cxn ang="0">
                  <a:pos x="0" y="26"/>
                </a:cxn>
                <a:cxn ang="0">
                  <a:pos x="2" y="36"/>
                </a:cxn>
                <a:cxn ang="0">
                  <a:pos x="8" y="46"/>
                </a:cxn>
                <a:cxn ang="0">
                  <a:pos x="16" y="52"/>
                </a:cxn>
                <a:cxn ang="0">
                  <a:pos x="26" y="54"/>
                </a:cxn>
                <a:cxn ang="0">
                  <a:pos x="26" y="54"/>
                </a:cxn>
                <a:cxn ang="0">
                  <a:pos x="36" y="52"/>
                </a:cxn>
                <a:cxn ang="0">
                  <a:pos x="46" y="46"/>
                </a:cxn>
                <a:cxn ang="0">
                  <a:pos x="50" y="36"/>
                </a:cxn>
                <a:cxn ang="0">
                  <a:pos x="54" y="26"/>
                </a:cxn>
                <a:cxn ang="0">
                  <a:pos x="54" y="26"/>
                </a:cxn>
                <a:cxn ang="0">
                  <a:pos x="50" y="16"/>
                </a:cxn>
                <a:cxn ang="0">
                  <a:pos x="46" y="8"/>
                </a:cxn>
                <a:cxn ang="0">
                  <a:pos x="36" y="2"/>
                </a:cxn>
                <a:cxn ang="0">
                  <a:pos x="26" y="0"/>
                </a:cxn>
              </a:cxnLst>
              <a:rect l="0" t="0" r="r" b="b"/>
              <a:pathLst>
                <a:path w="54" h="54">
                  <a:moveTo>
                    <a:pt x="26" y="0"/>
                  </a:moveTo>
                  <a:lnTo>
                    <a:pt x="26" y="0"/>
                  </a:lnTo>
                  <a:lnTo>
                    <a:pt x="16" y="2"/>
                  </a:lnTo>
                  <a:lnTo>
                    <a:pt x="8" y="8"/>
                  </a:lnTo>
                  <a:lnTo>
                    <a:pt x="2" y="1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36"/>
                  </a:lnTo>
                  <a:lnTo>
                    <a:pt x="8" y="46"/>
                  </a:lnTo>
                  <a:lnTo>
                    <a:pt x="16" y="52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36" y="52"/>
                  </a:lnTo>
                  <a:lnTo>
                    <a:pt x="46" y="46"/>
                  </a:lnTo>
                  <a:lnTo>
                    <a:pt x="50" y="36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0" y="16"/>
                  </a:lnTo>
                  <a:lnTo>
                    <a:pt x="46" y="8"/>
                  </a:lnTo>
                  <a:lnTo>
                    <a:pt x="36" y="2"/>
                  </a:lnTo>
                  <a:lnTo>
                    <a:pt x="26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38" name="Freeform 180"/>
            <p:cNvSpPr>
              <a:spLocks/>
            </p:cNvSpPr>
            <p:nvPr/>
          </p:nvSpPr>
          <p:spPr bwMode="auto">
            <a:xfrm>
              <a:off x="8796380" y="5730672"/>
              <a:ext cx="61922" cy="61922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6" y="0"/>
                </a:cxn>
                <a:cxn ang="0">
                  <a:pos x="16" y="2"/>
                </a:cxn>
                <a:cxn ang="0">
                  <a:pos x="8" y="8"/>
                </a:cxn>
                <a:cxn ang="0">
                  <a:pos x="2" y="16"/>
                </a:cxn>
                <a:cxn ang="0">
                  <a:pos x="0" y="26"/>
                </a:cxn>
                <a:cxn ang="0">
                  <a:pos x="0" y="26"/>
                </a:cxn>
                <a:cxn ang="0">
                  <a:pos x="2" y="38"/>
                </a:cxn>
                <a:cxn ang="0">
                  <a:pos x="8" y="46"/>
                </a:cxn>
                <a:cxn ang="0">
                  <a:pos x="16" y="52"/>
                </a:cxn>
                <a:cxn ang="0">
                  <a:pos x="26" y="54"/>
                </a:cxn>
                <a:cxn ang="0">
                  <a:pos x="26" y="54"/>
                </a:cxn>
                <a:cxn ang="0">
                  <a:pos x="36" y="52"/>
                </a:cxn>
                <a:cxn ang="0">
                  <a:pos x="46" y="46"/>
                </a:cxn>
                <a:cxn ang="0">
                  <a:pos x="52" y="38"/>
                </a:cxn>
                <a:cxn ang="0">
                  <a:pos x="54" y="26"/>
                </a:cxn>
                <a:cxn ang="0">
                  <a:pos x="54" y="26"/>
                </a:cxn>
                <a:cxn ang="0">
                  <a:pos x="52" y="16"/>
                </a:cxn>
                <a:cxn ang="0">
                  <a:pos x="46" y="8"/>
                </a:cxn>
                <a:cxn ang="0">
                  <a:pos x="36" y="2"/>
                </a:cxn>
                <a:cxn ang="0">
                  <a:pos x="26" y="0"/>
                </a:cxn>
              </a:cxnLst>
              <a:rect l="0" t="0" r="r" b="b"/>
              <a:pathLst>
                <a:path w="54" h="54">
                  <a:moveTo>
                    <a:pt x="26" y="0"/>
                  </a:moveTo>
                  <a:lnTo>
                    <a:pt x="26" y="0"/>
                  </a:lnTo>
                  <a:lnTo>
                    <a:pt x="16" y="2"/>
                  </a:lnTo>
                  <a:lnTo>
                    <a:pt x="8" y="8"/>
                  </a:lnTo>
                  <a:lnTo>
                    <a:pt x="2" y="1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38"/>
                  </a:lnTo>
                  <a:lnTo>
                    <a:pt x="8" y="46"/>
                  </a:lnTo>
                  <a:lnTo>
                    <a:pt x="16" y="52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36" y="52"/>
                  </a:lnTo>
                  <a:lnTo>
                    <a:pt x="46" y="46"/>
                  </a:lnTo>
                  <a:lnTo>
                    <a:pt x="52" y="38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2" y="16"/>
                  </a:lnTo>
                  <a:lnTo>
                    <a:pt x="46" y="8"/>
                  </a:lnTo>
                  <a:lnTo>
                    <a:pt x="3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39" name="Freeform 181"/>
            <p:cNvSpPr>
              <a:spLocks/>
            </p:cNvSpPr>
            <p:nvPr/>
          </p:nvSpPr>
          <p:spPr bwMode="auto">
            <a:xfrm>
              <a:off x="8796380" y="5730672"/>
              <a:ext cx="61922" cy="61922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6" y="0"/>
                </a:cxn>
                <a:cxn ang="0">
                  <a:pos x="16" y="2"/>
                </a:cxn>
                <a:cxn ang="0">
                  <a:pos x="8" y="8"/>
                </a:cxn>
                <a:cxn ang="0">
                  <a:pos x="2" y="16"/>
                </a:cxn>
                <a:cxn ang="0">
                  <a:pos x="0" y="26"/>
                </a:cxn>
                <a:cxn ang="0">
                  <a:pos x="0" y="26"/>
                </a:cxn>
                <a:cxn ang="0">
                  <a:pos x="2" y="38"/>
                </a:cxn>
                <a:cxn ang="0">
                  <a:pos x="8" y="46"/>
                </a:cxn>
                <a:cxn ang="0">
                  <a:pos x="16" y="52"/>
                </a:cxn>
                <a:cxn ang="0">
                  <a:pos x="26" y="54"/>
                </a:cxn>
                <a:cxn ang="0">
                  <a:pos x="26" y="54"/>
                </a:cxn>
                <a:cxn ang="0">
                  <a:pos x="36" y="52"/>
                </a:cxn>
                <a:cxn ang="0">
                  <a:pos x="46" y="46"/>
                </a:cxn>
                <a:cxn ang="0">
                  <a:pos x="52" y="38"/>
                </a:cxn>
                <a:cxn ang="0">
                  <a:pos x="54" y="26"/>
                </a:cxn>
                <a:cxn ang="0">
                  <a:pos x="54" y="26"/>
                </a:cxn>
                <a:cxn ang="0">
                  <a:pos x="52" y="16"/>
                </a:cxn>
                <a:cxn ang="0">
                  <a:pos x="46" y="8"/>
                </a:cxn>
                <a:cxn ang="0">
                  <a:pos x="36" y="2"/>
                </a:cxn>
                <a:cxn ang="0">
                  <a:pos x="26" y="0"/>
                </a:cxn>
              </a:cxnLst>
              <a:rect l="0" t="0" r="r" b="b"/>
              <a:pathLst>
                <a:path w="54" h="54">
                  <a:moveTo>
                    <a:pt x="26" y="0"/>
                  </a:moveTo>
                  <a:lnTo>
                    <a:pt x="26" y="0"/>
                  </a:lnTo>
                  <a:lnTo>
                    <a:pt x="16" y="2"/>
                  </a:lnTo>
                  <a:lnTo>
                    <a:pt x="8" y="8"/>
                  </a:lnTo>
                  <a:lnTo>
                    <a:pt x="2" y="1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38"/>
                  </a:lnTo>
                  <a:lnTo>
                    <a:pt x="8" y="46"/>
                  </a:lnTo>
                  <a:lnTo>
                    <a:pt x="16" y="52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36" y="52"/>
                  </a:lnTo>
                  <a:lnTo>
                    <a:pt x="46" y="46"/>
                  </a:lnTo>
                  <a:lnTo>
                    <a:pt x="52" y="38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2" y="16"/>
                  </a:lnTo>
                  <a:lnTo>
                    <a:pt x="46" y="8"/>
                  </a:lnTo>
                  <a:lnTo>
                    <a:pt x="36" y="2"/>
                  </a:lnTo>
                  <a:lnTo>
                    <a:pt x="26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40" name="Freeform 182"/>
            <p:cNvSpPr>
              <a:spLocks/>
            </p:cNvSpPr>
            <p:nvPr/>
          </p:nvSpPr>
          <p:spPr bwMode="auto">
            <a:xfrm>
              <a:off x="8090015" y="4978439"/>
              <a:ext cx="61922" cy="59628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28" y="0"/>
                </a:cxn>
                <a:cxn ang="0">
                  <a:pos x="16" y="2"/>
                </a:cxn>
                <a:cxn ang="0">
                  <a:pos x="8" y="6"/>
                </a:cxn>
                <a:cxn ang="0">
                  <a:pos x="2" y="16"/>
                </a:cxn>
                <a:cxn ang="0">
                  <a:pos x="0" y="26"/>
                </a:cxn>
                <a:cxn ang="0">
                  <a:pos x="0" y="26"/>
                </a:cxn>
                <a:cxn ang="0">
                  <a:pos x="2" y="36"/>
                </a:cxn>
                <a:cxn ang="0">
                  <a:pos x="8" y="44"/>
                </a:cxn>
                <a:cxn ang="0">
                  <a:pos x="16" y="50"/>
                </a:cxn>
                <a:cxn ang="0">
                  <a:pos x="28" y="52"/>
                </a:cxn>
                <a:cxn ang="0">
                  <a:pos x="28" y="52"/>
                </a:cxn>
                <a:cxn ang="0">
                  <a:pos x="38" y="50"/>
                </a:cxn>
                <a:cxn ang="0">
                  <a:pos x="46" y="44"/>
                </a:cxn>
                <a:cxn ang="0">
                  <a:pos x="52" y="36"/>
                </a:cxn>
                <a:cxn ang="0">
                  <a:pos x="54" y="26"/>
                </a:cxn>
                <a:cxn ang="0">
                  <a:pos x="54" y="26"/>
                </a:cxn>
                <a:cxn ang="0">
                  <a:pos x="52" y="16"/>
                </a:cxn>
                <a:cxn ang="0">
                  <a:pos x="46" y="6"/>
                </a:cxn>
                <a:cxn ang="0">
                  <a:pos x="38" y="2"/>
                </a:cxn>
                <a:cxn ang="0">
                  <a:pos x="28" y="0"/>
                </a:cxn>
              </a:cxnLst>
              <a:rect l="0" t="0" r="r" b="b"/>
              <a:pathLst>
                <a:path w="54" h="52">
                  <a:moveTo>
                    <a:pt x="28" y="0"/>
                  </a:moveTo>
                  <a:lnTo>
                    <a:pt x="28" y="0"/>
                  </a:lnTo>
                  <a:lnTo>
                    <a:pt x="16" y="2"/>
                  </a:lnTo>
                  <a:lnTo>
                    <a:pt x="8" y="6"/>
                  </a:lnTo>
                  <a:lnTo>
                    <a:pt x="2" y="1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36"/>
                  </a:lnTo>
                  <a:lnTo>
                    <a:pt x="8" y="44"/>
                  </a:lnTo>
                  <a:lnTo>
                    <a:pt x="16" y="50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38" y="50"/>
                  </a:lnTo>
                  <a:lnTo>
                    <a:pt x="46" y="44"/>
                  </a:lnTo>
                  <a:lnTo>
                    <a:pt x="52" y="36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2" y="16"/>
                  </a:lnTo>
                  <a:lnTo>
                    <a:pt x="46" y="6"/>
                  </a:lnTo>
                  <a:lnTo>
                    <a:pt x="38" y="2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41" name="Freeform 183"/>
            <p:cNvSpPr>
              <a:spLocks/>
            </p:cNvSpPr>
            <p:nvPr/>
          </p:nvSpPr>
          <p:spPr bwMode="auto">
            <a:xfrm>
              <a:off x="8090015" y="4978439"/>
              <a:ext cx="61922" cy="59628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28" y="0"/>
                </a:cxn>
                <a:cxn ang="0">
                  <a:pos x="16" y="2"/>
                </a:cxn>
                <a:cxn ang="0">
                  <a:pos x="8" y="6"/>
                </a:cxn>
                <a:cxn ang="0">
                  <a:pos x="2" y="16"/>
                </a:cxn>
                <a:cxn ang="0">
                  <a:pos x="0" y="26"/>
                </a:cxn>
                <a:cxn ang="0">
                  <a:pos x="0" y="26"/>
                </a:cxn>
                <a:cxn ang="0">
                  <a:pos x="2" y="36"/>
                </a:cxn>
                <a:cxn ang="0">
                  <a:pos x="8" y="44"/>
                </a:cxn>
                <a:cxn ang="0">
                  <a:pos x="16" y="50"/>
                </a:cxn>
                <a:cxn ang="0">
                  <a:pos x="28" y="52"/>
                </a:cxn>
                <a:cxn ang="0">
                  <a:pos x="28" y="52"/>
                </a:cxn>
                <a:cxn ang="0">
                  <a:pos x="38" y="50"/>
                </a:cxn>
                <a:cxn ang="0">
                  <a:pos x="46" y="44"/>
                </a:cxn>
                <a:cxn ang="0">
                  <a:pos x="52" y="36"/>
                </a:cxn>
                <a:cxn ang="0">
                  <a:pos x="54" y="26"/>
                </a:cxn>
                <a:cxn ang="0">
                  <a:pos x="54" y="26"/>
                </a:cxn>
                <a:cxn ang="0">
                  <a:pos x="52" y="16"/>
                </a:cxn>
                <a:cxn ang="0">
                  <a:pos x="46" y="6"/>
                </a:cxn>
                <a:cxn ang="0">
                  <a:pos x="38" y="2"/>
                </a:cxn>
                <a:cxn ang="0">
                  <a:pos x="28" y="0"/>
                </a:cxn>
              </a:cxnLst>
              <a:rect l="0" t="0" r="r" b="b"/>
              <a:pathLst>
                <a:path w="54" h="52">
                  <a:moveTo>
                    <a:pt x="28" y="0"/>
                  </a:moveTo>
                  <a:lnTo>
                    <a:pt x="28" y="0"/>
                  </a:lnTo>
                  <a:lnTo>
                    <a:pt x="16" y="2"/>
                  </a:lnTo>
                  <a:lnTo>
                    <a:pt x="8" y="6"/>
                  </a:lnTo>
                  <a:lnTo>
                    <a:pt x="2" y="1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36"/>
                  </a:lnTo>
                  <a:lnTo>
                    <a:pt x="8" y="44"/>
                  </a:lnTo>
                  <a:lnTo>
                    <a:pt x="16" y="50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38" y="50"/>
                  </a:lnTo>
                  <a:lnTo>
                    <a:pt x="46" y="44"/>
                  </a:lnTo>
                  <a:lnTo>
                    <a:pt x="52" y="36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2" y="16"/>
                  </a:lnTo>
                  <a:lnTo>
                    <a:pt x="46" y="6"/>
                  </a:lnTo>
                  <a:lnTo>
                    <a:pt x="38" y="2"/>
                  </a:lnTo>
                  <a:lnTo>
                    <a:pt x="28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42" name="Freeform 184"/>
            <p:cNvSpPr>
              <a:spLocks/>
            </p:cNvSpPr>
            <p:nvPr/>
          </p:nvSpPr>
          <p:spPr bwMode="auto">
            <a:xfrm>
              <a:off x="7248339" y="4833955"/>
              <a:ext cx="61922" cy="59628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28" y="0"/>
                </a:cxn>
                <a:cxn ang="0">
                  <a:pos x="16" y="2"/>
                </a:cxn>
                <a:cxn ang="0">
                  <a:pos x="8" y="8"/>
                </a:cxn>
                <a:cxn ang="0">
                  <a:pos x="2" y="16"/>
                </a:cxn>
                <a:cxn ang="0">
                  <a:pos x="0" y="26"/>
                </a:cxn>
                <a:cxn ang="0">
                  <a:pos x="0" y="26"/>
                </a:cxn>
                <a:cxn ang="0">
                  <a:pos x="2" y="36"/>
                </a:cxn>
                <a:cxn ang="0">
                  <a:pos x="8" y="46"/>
                </a:cxn>
                <a:cxn ang="0">
                  <a:pos x="16" y="50"/>
                </a:cxn>
                <a:cxn ang="0">
                  <a:pos x="28" y="52"/>
                </a:cxn>
                <a:cxn ang="0">
                  <a:pos x="28" y="52"/>
                </a:cxn>
                <a:cxn ang="0">
                  <a:pos x="38" y="50"/>
                </a:cxn>
                <a:cxn ang="0">
                  <a:pos x="46" y="46"/>
                </a:cxn>
                <a:cxn ang="0">
                  <a:pos x="52" y="36"/>
                </a:cxn>
                <a:cxn ang="0">
                  <a:pos x="54" y="26"/>
                </a:cxn>
                <a:cxn ang="0">
                  <a:pos x="54" y="26"/>
                </a:cxn>
                <a:cxn ang="0">
                  <a:pos x="52" y="16"/>
                </a:cxn>
                <a:cxn ang="0">
                  <a:pos x="46" y="8"/>
                </a:cxn>
                <a:cxn ang="0">
                  <a:pos x="38" y="2"/>
                </a:cxn>
                <a:cxn ang="0">
                  <a:pos x="28" y="0"/>
                </a:cxn>
              </a:cxnLst>
              <a:rect l="0" t="0" r="r" b="b"/>
              <a:pathLst>
                <a:path w="54" h="52">
                  <a:moveTo>
                    <a:pt x="28" y="0"/>
                  </a:moveTo>
                  <a:lnTo>
                    <a:pt x="28" y="0"/>
                  </a:lnTo>
                  <a:lnTo>
                    <a:pt x="16" y="2"/>
                  </a:lnTo>
                  <a:lnTo>
                    <a:pt x="8" y="8"/>
                  </a:lnTo>
                  <a:lnTo>
                    <a:pt x="2" y="1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36"/>
                  </a:lnTo>
                  <a:lnTo>
                    <a:pt x="8" y="46"/>
                  </a:lnTo>
                  <a:lnTo>
                    <a:pt x="16" y="50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38" y="50"/>
                  </a:lnTo>
                  <a:lnTo>
                    <a:pt x="46" y="46"/>
                  </a:lnTo>
                  <a:lnTo>
                    <a:pt x="52" y="36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2" y="16"/>
                  </a:lnTo>
                  <a:lnTo>
                    <a:pt x="46" y="8"/>
                  </a:lnTo>
                  <a:lnTo>
                    <a:pt x="38" y="2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43" name="Freeform 185"/>
            <p:cNvSpPr>
              <a:spLocks/>
            </p:cNvSpPr>
            <p:nvPr/>
          </p:nvSpPr>
          <p:spPr bwMode="auto">
            <a:xfrm>
              <a:off x="7248339" y="4833955"/>
              <a:ext cx="61922" cy="59628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28" y="0"/>
                </a:cxn>
                <a:cxn ang="0">
                  <a:pos x="16" y="2"/>
                </a:cxn>
                <a:cxn ang="0">
                  <a:pos x="8" y="8"/>
                </a:cxn>
                <a:cxn ang="0">
                  <a:pos x="2" y="16"/>
                </a:cxn>
                <a:cxn ang="0">
                  <a:pos x="0" y="26"/>
                </a:cxn>
                <a:cxn ang="0">
                  <a:pos x="0" y="26"/>
                </a:cxn>
                <a:cxn ang="0">
                  <a:pos x="2" y="36"/>
                </a:cxn>
                <a:cxn ang="0">
                  <a:pos x="8" y="46"/>
                </a:cxn>
                <a:cxn ang="0">
                  <a:pos x="16" y="50"/>
                </a:cxn>
                <a:cxn ang="0">
                  <a:pos x="28" y="52"/>
                </a:cxn>
                <a:cxn ang="0">
                  <a:pos x="28" y="52"/>
                </a:cxn>
                <a:cxn ang="0">
                  <a:pos x="38" y="50"/>
                </a:cxn>
                <a:cxn ang="0">
                  <a:pos x="46" y="46"/>
                </a:cxn>
                <a:cxn ang="0">
                  <a:pos x="52" y="36"/>
                </a:cxn>
                <a:cxn ang="0">
                  <a:pos x="54" y="26"/>
                </a:cxn>
                <a:cxn ang="0">
                  <a:pos x="54" y="26"/>
                </a:cxn>
                <a:cxn ang="0">
                  <a:pos x="52" y="16"/>
                </a:cxn>
                <a:cxn ang="0">
                  <a:pos x="46" y="8"/>
                </a:cxn>
                <a:cxn ang="0">
                  <a:pos x="38" y="2"/>
                </a:cxn>
                <a:cxn ang="0">
                  <a:pos x="28" y="0"/>
                </a:cxn>
              </a:cxnLst>
              <a:rect l="0" t="0" r="r" b="b"/>
              <a:pathLst>
                <a:path w="54" h="52">
                  <a:moveTo>
                    <a:pt x="28" y="0"/>
                  </a:moveTo>
                  <a:lnTo>
                    <a:pt x="28" y="0"/>
                  </a:lnTo>
                  <a:lnTo>
                    <a:pt x="16" y="2"/>
                  </a:lnTo>
                  <a:lnTo>
                    <a:pt x="8" y="8"/>
                  </a:lnTo>
                  <a:lnTo>
                    <a:pt x="2" y="1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36"/>
                  </a:lnTo>
                  <a:lnTo>
                    <a:pt x="8" y="46"/>
                  </a:lnTo>
                  <a:lnTo>
                    <a:pt x="16" y="50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38" y="50"/>
                  </a:lnTo>
                  <a:lnTo>
                    <a:pt x="46" y="46"/>
                  </a:lnTo>
                  <a:lnTo>
                    <a:pt x="52" y="36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2" y="16"/>
                  </a:lnTo>
                  <a:lnTo>
                    <a:pt x="46" y="8"/>
                  </a:lnTo>
                  <a:lnTo>
                    <a:pt x="38" y="2"/>
                  </a:lnTo>
                  <a:lnTo>
                    <a:pt x="28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44" name="Freeform 186"/>
            <p:cNvSpPr>
              <a:spLocks/>
            </p:cNvSpPr>
            <p:nvPr/>
          </p:nvSpPr>
          <p:spPr bwMode="auto">
            <a:xfrm>
              <a:off x="8725285" y="6232925"/>
              <a:ext cx="59628" cy="61922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6" y="0"/>
                </a:cxn>
                <a:cxn ang="0">
                  <a:pos x="16" y="2"/>
                </a:cxn>
                <a:cxn ang="0">
                  <a:pos x="8" y="8"/>
                </a:cxn>
                <a:cxn ang="0">
                  <a:pos x="2" y="16"/>
                </a:cxn>
                <a:cxn ang="0">
                  <a:pos x="0" y="26"/>
                </a:cxn>
                <a:cxn ang="0">
                  <a:pos x="0" y="26"/>
                </a:cxn>
                <a:cxn ang="0">
                  <a:pos x="2" y="38"/>
                </a:cxn>
                <a:cxn ang="0">
                  <a:pos x="8" y="46"/>
                </a:cxn>
                <a:cxn ang="0">
                  <a:pos x="16" y="52"/>
                </a:cxn>
                <a:cxn ang="0">
                  <a:pos x="26" y="54"/>
                </a:cxn>
                <a:cxn ang="0">
                  <a:pos x="26" y="54"/>
                </a:cxn>
                <a:cxn ang="0">
                  <a:pos x="36" y="52"/>
                </a:cxn>
                <a:cxn ang="0">
                  <a:pos x="46" y="46"/>
                </a:cxn>
                <a:cxn ang="0">
                  <a:pos x="50" y="38"/>
                </a:cxn>
                <a:cxn ang="0">
                  <a:pos x="52" y="26"/>
                </a:cxn>
                <a:cxn ang="0">
                  <a:pos x="52" y="26"/>
                </a:cxn>
                <a:cxn ang="0">
                  <a:pos x="50" y="16"/>
                </a:cxn>
                <a:cxn ang="0">
                  <a:pos x="46" y="8"/>
                </a:cxn>
                <a:cxn ang="0">
                  <a:pos x="36" y="2"/>
                </a:cxn>
                <a:cxn ang="0">
                  <a:pos x="26" y="0"/>
                </a:cxn>
              </a:cxnLst>
              <a:rect l="0" t="0" r="r" b="b"/>
              <a:pathLst>
                <a:path w="52" h="54">
                  <a:moveTo>
                    <a:pt x="26" y="0"/>
                  </a:moveTo>
                  <a:lnTo>
                    <a:pt x="26" y="0"/>
                  </a:lnTo>
                  <a:lnTo>
                    <a:pt x="16" y="2"/>
                  </a:lnTo>
                  <a:lnTo>
                    <a:pt x="8" y="8"/>
                  </a:lnTo>
                  <a:lnTo>
                    <a:pt x="2" y="1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38"/>
                  </a:lnTo>
                  <a:lnTo>
                    <a:pt x="8" y="46"/>
                  </a:lnTo>
                  <a:lnTo>
                    <a:pt x="16" y="52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36" y="52"/>
                  </a:lnTo>
                  <a:lnTo>
                    <a:pt x="46" y="46"/>
                  </a:lnTo>
                  <a:lnTo>
                    <a:pt x="50" y="38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0" y="16"/>
                  </a:lnTo>
                  <a:lnTo>
                    <a:pt x="46" y="8"/>
                  </a:lnTo>
                  <a:lnTo>
                    <a:pt x="3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45" name="Freeform 187"/>
            <p:cNvSpPr>
              <a:spLocks/>
            </p:cNvSpPr>
            <p:nvPr/>
          </p:nvSpPr>
          <p:spPr bwMode="auto">
            <a:xfrm>
              <a:off x="8725285" y="6232925"/>
              <a:ext cx="59628" cy="61922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6" y="0"/>
                </a:cxn>
                <a:cxn ang="0">
                  <a:pos x="16" y="2"/>
                </a:cxn>
                <a:cxn ang="0">
                  <a:pos x="8" y="8"/>
                </a:cxn>
                <a:cxn ang="0">
                  <a:pos x="2" y="16"/>
                </a:cxn>
                <a:cxn ang="0">
                  <a:pos x="0" y="26"/>
                </a:cxn>
                <a:cxn ang="0">
                  <a:pos x="0" y="26"/>
                </a:cxn>
                <a:cxn ang="0">
                  <a:pos x="2" y="38"/>
                </a:cxn>
                <a:cxn ang="0">
                  <a:pos x="8" y="46"/>
                </a:cxn>
                <a:cxn ang="0">
                  <a:pos x="16" y="52"/>
                </a:cxn>
                <a:cxn ang="0">
                  <a:pos x="26" y="54"/>
                </a:cxn>
                <a:cxn ang="0">
                  <a:pos x="26" y="54"/>
                </a:cxn>
                <a:cxn ang="0">
                  <a:pos x="36" y="52"/>
                </a:cxn>
                <a:cxn ang="0">
                  <a:pos x="46" y="46"/>
                </a:cxn>
                <a:cxn ang="0">
                  <a:pos x="50" y="38"/>
                </a:cxn>
                <a:cxn ang="0">
                  <a:pos x="52" y="26"/>
                </a:cxn>
                <a:cxn ang="0">
                  <a:pos x="52" y="26"/>
                </a:cxn>
                <a:cxn ang="0">
                  <a:pos x="50" y="16"/>
                </a:cxn>
                <a:cxn ang="0">
                  <a:pos x="46" y="8"/>
                </a:cxn>
                <a:cxn ang="0">
                  <a:pos x="36" y="2"/>
                </a:cxn>
                <a:cxn ang="0">
                  <a:pos x="26" y="0"/>
                </a:cxn>
              </a:cxnLst>
              <a:rect l="0" t="0" r="r" b="b"/>
              <a:pathLst>
                <a:path w="52" h="54">
                  <a:moveTo>
                    <a:pt x="26" y="0"/>
                  </a:moveTo>
                  <a:lnTo>
                    <a:pt x="26" y="0"/>
                  </a:lnTo>
                  <a:lnTo>
                    <a:pt x="16" y="2"/>
                  </a:lnTo>
                  <a:lnTo>
                    <a:pt x="8" y="8"/>
                  </a:lnTo>
                  <a:lnTo>
                    <a:pt x="2" y="1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38"/>
                  </a:lnTo>
                  <a:lnTo>
                    <a:pt x="8" y="46"/>
                  </a:lnTo>
                  <a:lnTo>
                    <a:pt x="16" y="52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36" y="52"/>
                  </a:lnTo>
                  <a:lnTo>
                    <a:pt x="46" y="46"/>
                  </a:lnTo>
                  <a:lnTo>
                    <a:pt x="50" y="38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0" y="16"/>
                  </a:lnTo>
                  <a:lnTo>
                    <a:pt x="46" y="8"/>
                  </a:lnTo>
                  <a:lnTo>
                    <a:pt x="36" y="2"/>
                  </a:lnTo>
                  <a:lnTo>
                    <a:pt x="26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46" name="Freeform 189"/>
            <p:cNvSpPr>
              <a:spLocks/>
            </p:cNvSpPr>
            <p:nvPr/>
          </p:nvSpPr>
          <p:spPr bwMode="auto">
            <a:xfrm>
              <a:off x="8321648" y="5464638"/>
              <a:ext cx="348596" cy="348596"/>
            </a:xfrm>
            <a:custGeom>
              <a:avLst/>
              <a:gdLst/>
              <a:ahLst/>
              <a:cxnLst>
                <a:cxn ang="0">
                  <a:pos x="152" y="0"/>
                </a:cxn>
                <a:cxn ang="0">
                  <a:pos x="122" y="4"/>
                </a:cxn>
                <a:cxn ang="0">
                  <a:pos x="92" y="12"/>
                </a:cxn>
                <a:cxn ang="0">
                  <a:pos x="66" y="26"/>
                </a:cxn>
                <a:cxn ang="0">
                  <a:pos x="44" y="46"/>
                </a:cxn>
                <a:cxn ang="0">
                  <a:pos x="26" y="68"/>
                </a:cxn>
                <a:cxn ang="0">
                  <a:pos x="12" y="94"/>
                </a:cxn>
                <a:cxn ang="0">
                  <a:pos x="2" y="122"/>
                </a:cxn>
                <a:cxn ang="0">
                  <a:pos x="0" y="152"/>
                </a:cxn>
                <a:cxn ang="0">
                  <a:pos x="0" y="168"/>
                </a:cxn>
                <a:cxn ang="0">
                  <a:pos x="6" y="198"/>
                </a:cxn>
                <a:cxn ang="0">
                  <a:pos x="18" y="226"/>
                </a:cxn>
                <a:cxn ang="0">
                  <a:pos x="34" y="250"/>
                </a:cxn>
                <a:cxn ang="0">
                  <a:pos x="56" y="270"/>
                </a:cxn>
                <a:cxn ang="0">
                  <a:pos x="80" y="286"/>
                </a:cxn>
                <a:cxn ang="0">
                  <a:pos x="106" y="298"/>
                </a:cxn>
                <a:cxn ang="0">
                  <a:pos x="136" y="304"/>
                </a:cxn>
                <a:cxn ang="0">
                  <a:pos x="152" y="304"/>
                </a:cxn>
                <a:cxn ang="0">
                  <a:pos x="182" y="302"/>
                </a:cxn>
                <a:cxn ang="0">
                  <a:pos x="212" y="292"/>
                </a:cxn>
                <a:cxn ang="0">
                  <a:pos x="236" y="278"/>
                </a:cxn>
                <a:cxn ang="0">
                  <a:pos x="260" y="260"/>
                </a:cxn>
                <a:cxn ang="0">
                  <a:pos x="278" y="238"/>
                </a:cxn>
                <a:cxn ang="0">
                  <a:pos x="292" y="212"/>
                </a:cxn>
                <a:cxn ang="0">
                  <a:pos x="300" y="184"/>
                </a:cxn>
                <a:cxn ang="0">
                  <a:pos x="304" y="152"/>
                </a:cxn>
                <a:cxn ang="0">
                  <a:pos x="304" y="138"/>
                </a:cxn>
                <a:cxn ang="0">
                  <a:pos x="298" y="108"/>
                </a:cxn>
                <a:cxn ang="0">
                  <a:pos x="286" y="80"/>
                </a:cxn>
                <a:cxn ang="0">
                  <a:pos x="270" y="56"/>
                </a:cxn>
                <a:cxn ang="0">
                  <a:pos x="248" y="36"/>
                </a:cxn>
                <a:cxn ang="0">
                  <a:pos x="224" y="18"/>
                </a:cxn>
                <a:cxn ang="0">
                  <a:pos x="198" y="8"/>
                </a:cxn>
                <a:cxn ang="0">
                  <a:pos x="168" y="2"/>
                </a:cxn>
              </a:cxnLst>
              <a:rect l="0" t="0" r="r" b="b"/>
              <a:pathLst>
                <a:path w="304" h="304">
                  <a:moveTo>
                    <a:pt x="152" y="0"/>
                  </a:moveTo>
                  <a:lnTo>
                    <a:pt x="152" y="0"/>
                  </a:lnTo>
                  <a:lnTo>
                    <a:pt x="136" y="2"/>
                  </a:lnTo>
                  <a:lnTo>
                    <a:pt x="122" y="4"/>
                  </a:lnTo>
                  <a:lnTo>
                    <a:pt x="106" y="8"/>
                  </a:lnTo>
                  <a:lnTo>
                    <a:pt x="92" y="12"/>
                  </a:lnTo>
                  <a:lnTo>
                    <a:pt x="80" y="18"/>
                  </a:lnTo>
                  <a:lnTo>
                    <a:pt x="66" y="26"/>
                  </a:lnTo>
                  <a:lnTo>
                    <a:pt x="56" y="36"/>
                  </a:lnTo>
                  <a:lnTo>
                    <a:pt x="44" y="46"/>
                  </a:lnTo>
                  <a:lnTo>
                    <a:pt x="34" y="56"/>
                  </a:lnTo>
                  <a:lnTo>
                    <a:pt x="26" y="68"/>
                  </a:lnTo>
                  <a:lnTo>
                    <a:pt x="18" y="80"/>
                  </a:lnTo>
                  <a:lnTo>
                    <a:pt x="12" y="94"/>
                  </a:lnTo>
                  <a:lnTo>
                    <a:pt x="6" y="108"/>
                  </a:lnTo>
                  <a:lnTo>
                    <a:pt x="2" y="122"/>
                  </a:lnTo>
                  <a:lnTo>
                    <a:pt x="0" y="138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0" y="168"/>
                  </a:lnTo>
                  <a:lnTo>
                    <a:pt x="2" y="184"/>
                  </a:lnTo>
                  <a:lnTo>
                    <a:pt x="6" y="198"/>
                  </a:lnTo>
                  <a:lnTo>
                    <a:pt x="12" y="212"/>
                  </a:lnTo>
                  <a:lnTo>
                    <a:pt x="18" y="226"/>
                  </a:lnTo>
                  <a:lnTo>
                    <a:pt x="26" y="238"/>
                  </a:lnTo>
                  <a:lnTo>
                    <a:pt x="34" y="250"/>
                  </a:lnTo>
                  <a:lnTo>
                    <a:pt x="44" y="260"/>
                  </a:lnTo>
                  <a:lnTo>
                    <a:pt x="56" y="270"/>
                  </a:lnTo>
                  <a:lnTo>
                    <a:pt x="66" y="278"/>
                  </a:lnTo>
                  <a:lnTo>
                    <a:pt x="80" y="286"/>
                  </a:lnTo>
                  <a:lnTo>
                    <a:pt x="92" y="292"/>
                  </a:lnTo>
                  <a:lnTo>
                    <a:pt x="106" y="298"/>
                  </a:lnTo>
                  <a:lnTo>
                    <a:pt x="122" y="302"/>
                  </a:lnTo>
                  <a:lnTo>
                    <a:pt x="136" y="304"/>
                  </a:lnTo>
                  <a:lnTo>
                    <a:pt x="152" y="304"/>
                  </a:lnTo>
                  <a:lnTo>
                    <a:pt x="152" y="304"/>
                  </a:lnTo>
                  <a:lnTo>
                    <a:pt x="168" y="304"/>
                  </a:lnTo>
                  <a:lnTo>
                    <a:pt x="182" y="302"/>
                  </a:lnTo>
                  <a:lnTo>
                    <a:pt x="198" y="298"/>
                  </a:lnTo>
                  <a:lnTo>
                    <a:pt x="212" y="292"/>
                  </a:lnTo>
                  <a:lnTo>
                    <a:pt x="224" y="286"/>
                  </a:lnTo>
                  <a:lnTo>
                    <a:pt x="236" y="278"/>
                  </a:lnTo>
                  <a:lnTo>
                    <a:pt x="248" y="270"/>
                  </a:lnTo>
                  <a:lnTo>
                    <a:pt x="260" y="260"/>
                  </a:lnTo>
                  <a:lnTo>
                    <a:pt x="270" y="250"/>
                  </a:lnTo>
                  <a:lnTo>
                    <a:pt x="278" y="238"/>
                  </a:lnTo>
                  <a:lnTo>
                    <a:pt x="286" y="226"/>
                  </a:lnTo>
                  <a:lnTo>
                    <a:pt x="292" y="212"/>
                  </a:lnTo>
                  <a:lnTo>
                    <a:pt x="298" y="198"/>
                  </a:lnTo>
                  <a:lnTo>
                    <a:pt x="300" y="184"/>
                  </a:lnTo>
                  <a:lnTo>
                    <a:pt x="304" y="168"/>
                  </a:lnTo>
                  <a:lnTo>
                    <a:pt x="304" y="152"/>
                  </a:lnTo>
                  <a:lnTo>
                    <a:pt x="304" y="152"/>
                  </a:lnTo>
                  <a:lnTo>
                    <a:pt x="304" y="138"/>
                  </a:lnTo>
                  <a:lnTo>
                    <a:pt x="300" y="122"/>
                  </a:lnTo>
                  <a:lnTo>
                    <a:pt x="298" y="108"/>
                  </a:lnTo>
                  <a:lnTo>
                    <a:pt x="292" y="94"/>
                  </a:lnTo>
                  <a:lnTo>
                    <a:pt x="286" y="80"/>
                  </a:lnTo>
                  <a:lnTo>
                    <a:pt x="278" y="68"/>
                  </a:lnTo>
                  <a:lnTo>
                    <a:pt x="270" y="56"/>
                  </a:lnTo>
                  <a:lnTo>
                    <a:pt x="260" y="46"/>
                  </a:lnTo>
                  <a:lnTo>
                    <a:pt x="248" y="36"/>
                  </a:lnTo>
                  <a:lnTo>
                    <a:pt x="236" y="26"/>
                  </a:lnTo>
                  <a:lnTo>
                    <a:pt x="224" y="18"/>
                  </a:lnTo>
                  <a:lnTo>
                    <a:pt x="212" y="12"/>
                  </a:lnTo>
                  <a:lnTo>
                    <a:pt x="198" y="8"/>
                  </a:lnTo>
                  <a:lnTo>
                    <a:pt x="182" y="4"/>
                  </a:lnTo>
                  <a:lnTo>
                    <a:pt x="168" y="2"/>
                  </a:lnTo>
                  <a:lnTo>
                    <a:pt x="152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47" name="Freeform 190"/>
            <p:cNvSpPr>
              <a:spLocks/>
            </p:cNvSpPr>
            <p:nvPr/>
          </p:nvSpPr>
          <p:spPr bwMode="auto">
            <a:xfrm>
              <a:off x="7849209" y="5595362"/>
              <a:ext cx="245393" cy="245393"/>
            </a:xfrm>
            <a:custGeom>
              <a:avLst/>
              <a:gdLst/>
              <a:ahLst/>
              <a:cxnLst>
                <a:cxn ang="0">
                  <a:pos x="108" y="0"/>
                </a:cxn>
                <a:cxn ang="0">
                  <a:pos x="108" y="0"/>
                </a:cxn>
                <a:cxn ang="0">
                  <a:pos x="86" y="2"/>
                </a:cxn>
                <a:cxn ang="0">
                  <a:pos x="66" y="8"/>
                </a:cxn>
                <a:cxn ang="0">
                  <a:pos x="48" y="18"/>
                </a:cxn>
                <a:cxn ang="0">
                  <a:pos x="32" y="32"/>
                </a:cxn>
                <a:cxn ang="0">
                  <a:pos x="18" y="48"/>
                </a:cxn>
                <a:cxn ang="0">
                  <a:pos x="8" y="66"/>
                </a:cxn>
                <a:cxn ang="0">
                  <a:pos x="2" y="86"/>
                </a:cxn>
                <a:cxn ang="0">
                  <a:pos x="0" y="108"/>
                </a:cxn>
                <a:cxn ang="0">
                  <a:pos x="0" y="108"/>
                </a:cxn>
                <a:cxn ang="0">
                  <a:pos x="2" y="128"/>
                </a:cxn>
                <a:cxn ang="0">
                  <a:pos x="8" y="148"/>
                </a:cxn>
                <a:cxn ang="0">
                  <a:pos x="18" y="168"/>
                </a:cxn>
                <a:cxn ang="0">
                  <a:pos x="32" y="182"/>
                </a:cxn>
                <a:cxn ang="0">
                  <a:pos x="48" y="196"/>
                </a:cxn>
                <a:cxn ang="0">
                  <a:pos x="66" y="206"/>
                </a:cxn>
                <a:cxn ang="0">
                  <a:pos x="86" y="212"/>
                </a:cxn>
                <a:cxn ang="0">
                  <a:pos x="108" y="214"/>
                </a:cxn>
                <a:cxn ang="0">
                  <a:pos x="108" y="214"/>
                </a:cxn>
                <a:cxn ang="0">
                  <a:pos x="130" y="212"/>
                </a:cxn>
                <a:cxn ang="0">
                  <a:pos x="150" y="206"/>
                </a:cxn>
                <a:cxn ang="0">
                  <a:pos x="168" y="196"/>
                </a:cxn>
                <a:cxn ang="0">
                  <a:pos x="184" y="182"/>
                </a:cxn>
                <a:cxn ang="0">
                  <a:pos x="196" y="168"/>
                </a:cxn>
                <a:cxn ang="0">
                  <a:pos x="206" y="148"/>
                </a:cxn>
                <a:cxn ang="0">
                  <a:pos x="212" y="128"/>
                </a:cxn>
                <a:cxn ang="0">
                  <a:pos x="214" y="108"/>
                </a:cxn>
                <a:cxn ang="0">
                  <a:pos x="214" y="108"/>
                </a:cxn>
                <a:cxn ang="0">
                  <a:pos x="212" y="86"/>
                </a:cxn>
                <a:cxn ang="0">
                  <a:pos x="206" y="66"/>
                </a:cxn>
                <a:cxn ang="0">
                  <a:pos x="196" y="48"/>
                </a:cxn>
                <a:cxn ang="0">
                  <a:pos x="184" y="32"/>
                </a:cxn>
                <a:cxn ang="0">
                  <a:pos x="168" y="18"/>
                </a:cxn>
                <a:cxn ang="0">
                  <a:pos x="150" y="8"/>
                </a:cxn>
                <a:cxn ang="0">
                  <a:pos x="130" y="2"/>
                </a:cxn>
                <a:cxn ang="0">
                  <a:pos x="108" y="0"/>
                </a:cxn>
              </a:cxnLst>
              <a:rect l="0" t="0" r="r" b="b"/>
              <a:pathLst>
                <a:path w="214" h="214">
                  <a:moveTo>
                    <a:pt x="108" y="0"/>
                  </a:moveTo>
                  <a:lnTo>
                    <a:pt x="108" y="0"/>
                  </a:lnTo>
                  <a:lnTo>
                    <a:pt x="86" y="2"/>
                  </a:lnTo>
                  <a:lnTo>
                    <a:pt x="66" y="8"/>
                  </a:lnTo>
                  <a:lnTo>
                    <a:pt x="48" y="18"/>
                  </a:lnTo>
                  <a:lnTo>
                    <a:pt x="32" y="32"/>
                  </a:lnTo>
                  <a:lnTo>
                    <a:pt x="18" y="48"/>
                  </a:lnTo>
                  <a:lnTo>
                    <a:pt x="8" y="66"/>
                  </a:lnTo>
                  <a:lnTo>
                    <a:pt x="2" y="86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2" y="128"/>
                  </a:lnTo>
                  <a:lnTo>
                    <a:pt x="8" y="148"/>
                  </a:lnTo>
                  <a:lnTo>
                    <a:pt x="18" y="168"/>
                  </a:lnTo>
                  <a:lnTo>
                    <a:pt x="32" y="182"/>
                  </a:lnTo>
                  <a:lnTo>
                    <a:pt x="48" y="196"/>
                  </a:lnTo>
                  <a:lnTo>
                    <a:pt x="66" y="206"/>
                  </a:lnTo>
                  <a:lnTo>
                    <a:pt x="86" y="212"/>
                  </a:lnTo>
                  <a:lnTo>
                    <a:pt x="108" y="214"/>
                  </a:lnTo>
                  <a:lnTo>
                    <a:pt x="108" y="214"/>
                  </a:lnTo>
                  <a:lnTo>
                    <a:pt x="130" y="212"/>
                  </a:lnTo>
                  <a:lnTo>
                    <a:pt x="150" y="206"/>
                  </a:lnTo>
                  <a:lnTo>
                    <a:pt x="168" y="196"/>
                  </a:lnTo>
                  <a:lnTo>
                    <a:pt x="184" y="182"/>
                  </a:lnTo>
                  <a:lnTo>
                    <a:pt x="196" y="168"/>
                  </a:lnTo>
                  <a:lnTo>
                    <a:pt x="206" y="148"/>
                  </a:lnTo>
                  <a:lnTo>
                    <a:pt x="212" y="128"/>
                  </a:lnTo>
                  <a:lnTo>
                    <a:pt x="214" y="108"/>
                  </a:lnTo>
                  <a:lnTo>
                    <a:pt x="214" y="108"/>
                  </a:lnTo>
                  <a:lnTo>
                    <a:pt x="212" y="86"/>
                  </a:lnTo>
                  <a:lnTo>
                    <a:pt x="206" y="66"/>
                  </a:lnTo>
                  <a:lnTo>
                    <a:pt x="196" y="48"/>
                  </a:lnTo>
                  <a:lnTo>
                    <a:pt x="184" y="32"/>
                  </a:lnTo>
                  <a:lnTo>
                    <a:pt x="168" y="18"/>
                  </a:lnTo>
                  <a:lnTo>
                    <a:pt x="150" y="8"/>
                  </a:lnTo>
                  <a:lnTo>
                    <a:pt x="130" y="2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48" name="Freeform 191"/>
            <p:cNvSpPr>
              <a:spLocks/>
            </p:cNvSpPr>
            <p:nvPr/>
          </p:nvSpPr>
          <p:spPr bwMode="auto">
            <a:xfrm>
              <a:off x="7849209" y="5595362"/>
              <a:ext cx="245393" cy="245393"/>
            </a:xfrm>
            <a:custGeom>
              <a:avLst/>
              <a:gdLst/>
              <a:ahLst/>
              <a:cxnLst>
                <a:cxn ang="0">
                  <a:pos x="108" y="0"/>
                </a:cxn>
                <a:cxn ang="0">
                  <a:pos x="108" y="0"/>
                </a:cxn>
                <a:cxn ang="0">
                  <a:pos x="86" y="2"/>
                </a:cxn>
                <a:cxn ang="0">
                  <a:pos x="66" y="8"/>
                </a:cxn>
                <a:cxn ang="0">
                  <a:pos x="48" y="18"/>
                </a:cxn>
                <a:cxn ang="0">
                  <a:pos x="32" y="32"/>
                </a:cxn>
                <a:cxn ang="0">
                  <a:pos x="18" y="48"/>
                </a:cxn>
                <a:cxn ang="0">
                  <a:pos x="8" y="66"/>
                </a:cxn>
                <a:cxn ang="0">
                  <a:pos x="2" y="86"/>
                </a:cxn>
                <a:cxn ang="0">
                  <a:pos x="0" y="108"/>
                </a:cxn>
                <a:cxn ang="0">
                  <a:pos x="0" y="108"/>
                </a:cxn>
                <a:cxn ang="0">
                  <a:pos x="2" y="128"/>
                </a:cxn>
                <a:cxn ang="0">
                  <a:pos x="8" y="148"/>
                </a:cxn>
                <a:cxn ang="0">
                  <a:pos x="18" y="168"/>
                </a:cxn>
                <a:cxn ang="0">
                  <a:pos x="32" y="182"/>
                </a:cxn>
                <a:cxn ang="0">
                  <a:pos x="48" y="196"/>
                </a:cxn>
                <a:cxn ang="0">
                  <a:pos x="66" y="206"/>
                </a:cxn>
                <a:cxn ang="0">
                  <a:pos x="86" y="212"/>
                </a:cxn>
                <a:cxn ang="0">
                  <a:pos x="108" y="214"/>
                </a:cxn>
                <a:cxn ang="0">
                  <a:pos x="108" y="214"/>
                </a:cxn>
                <a:cxn ang="0">
                  <a:pos x="130" y="212"/>
                </a:cxn>
                <a:cxn ang="0">
                  <a:pos x="150" y="206"/>
                </a:cxn>
                <a:cxn ang="0">
                  <a:pos x="168" y="196"/>
                </a:cxn>
                <a:cxn ang="0">
                  <a:pos x="184" y="182"/>
                </a:cxn>
                <a:cxn ang="0">
                  <a:pos x="196" y="168"/>
                </a:cxn>
                <a:cxn ang="0">
                  <a:pos x="206" y="148"/>
                </a:cxn>
                <a:cxn ang="0">
                  <a:pos x="212" y="128"/>
                </a:cxn>
                <a:cxn ang="0">
                  <a:pos x="214" y="108"/>
                </a:cxn>
                <a:cxn ang="0">
                  <a:pos x="214" y="108"/>
                </a:cxn>
                <a:cxn ang="0">
                  <a:pos x="212" y="86"/>
                </a:cxn>
                <a:cxn ang="0">
                  <a:pos x="206" y="66"/>
                </a:cxn>
                <a:cxn ang="0">
                  <a:pos x="196" y="48"/>
                </a:cxn>
                <a:cxn ang="0">
                  <a:pos x="184" y="32"/>
                </a:cxn>
                <a:cxn ang="0">
                  <a:pos x="168" y="18"/>
                </a:cxn>
                <a:cxn ang="0">
                  <a:pos x="150" y="8"/>
                </a:cxn>
                <a:cxn ang="0">
                  <a:pos x="130" y="2"/>
                </a:cxn>
                <a:cxn ang="0">
                  <a:pos x="108" y="0"/>
                </a:cxn>
              </a:cxnLst>
              <a:rect l="0" t="0" r="r" b="b"/>
              <a:pathLst>
                <a:path w="214" h="214">
                  <a:moveTo>
                    <a:pt x="108" y="0"/>
                  </a:moveTo>
                  <a:lnTo>
                    <a:pt x="108" y="0"/>
                  </a:lnTo>
                  <a:lnTo>
                    <a:pt x="86" y="2"/>
                  </a:lnTo>
                  <a:lnTo>
                    <a:pt x="66" y="8"/>
                  </a:lnTo>
                  <a:lnTo>
                    <a:pt x="48" y="18"/>
                  </a:lnTo>
                  <a:lnTo>
                    <a:pt x="32" y="32"/>
                  </a:lnTo>
                  <a:lnTo>
                    <a:pt x="18" y="48"/>
                  </a:lnTo>
                  <a:lnTo>
                    <a:pt x="8" y="66"/>
                  </a:lnTo>
                  <a:lnTo>
                    <a:pt x="2" y="86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2" y="128"/>
                  </a:lnTo>
                  <a:lnTo>
                    <a:pt x="8" y="148"/>
                  </a:lnTo>
                  <a:lnTo>
                    <a:pt x="18" y="168"/>
                  </a:lnTo>
                  <a:lnTo>
                    <a:pt x="32" y="182"/>
                  </a:lnTo>
                  <a:lnTo>
                    <a:pt x="48" y="196"/>
                  </a:lnTo>
                  <a:lnTo>
                    <a:pt x="66" y="206"/>
                  </a:lnTo>
                  <a:lnTo>
                    <a:pt x="86" y="212"/>
                  </a:lnTo>
                  <a:lnTo>
                    <a:pt x="108" y="214"/>
                  </a:lnTo>
                  <a:lnTo>
                    <a:pt x="108" y="214"/>
                  </a:lnTo>
                  <a:lnTo>
                    <a:pt x="130" y="212"/>
                  </a:lnTo>
                  <a:lnTo>
                    <a:pt x="150" y="206"/>
                  </a:lnTo>
                  <a:lnTo>
                    <a:pt x="168" y="196"/>
                  </a:lnTo>
                  <a:lnTo>
                    <a:pt x="184" y="182"/>
                  </a:lnTo>
                  <a:lnTo>
                    <a:pt x="196" y="168"/>
                  </a:lnTo>
                  <a:lnTo>
                    <a:pt x="206" y="148"/>
                  </a:lnTo>
                  <a:lnTo>
                    <a:pt x="212" y="128"/>
                  </a:lnTo>
                  <a:lnTo>
                    <a:pt x="214" y="108"/>
                  </a:lnTo>
                  <a:lnTo>
                    <a:pt x="214" y="108"/>
                  </a:lnTo>
                  <a:lnTo>
                    <a:pt x="212" y="86"/>
                  </a:lnTo>
                  <a:lnTo>
                    <a:pt x="206" y="66"/>
                  </a:lnTo>
                  <a:lnTo>
                    <a:pt x="196" y="48"/>
                  </a:lnTo>
                  <a:lnTo>
                    <a:pt x="184" y="32"/>
                  </a:lnTo>
                  <a:lnTo>
                    <a:pt x="168" y="18"/>
                  </a:lnTo>
                  <a:lnTo>
                    <a:pt x="150" y="8"/>
                  </a:lnTo>
                  <a:lnTo>
                    <a:pt x="130" y="2"/>
                  </a:lnTo>
                  <a:lnTo>
                    <a:pt x="108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49" name="Freeform 193"/>
            <p:cNvSpPr>
              <a:spLocks/>
            </p:cNvSpPr>
            <p:nvPr/>
          </p:nvSpPr>
          <p:spPr bwMode="auto">
            <a:xfrm>
              <a:off x="8174870" y="6338421"/>
              <a:ext cx="291261" cy="288968"/>
            </a:xfrm>
            <a:custGeom>
              <a:avLst/>
              <a:gdLst/>
              <a:ahLst/>
              <a:cxnLst>
                <a:cxn ang="0">
                  <a:pos x="128" y="0"/>
                </a:cxn>
                <a:cxn ang="0">
                  <a:pos x="128" y="0"/>
                </a:cxn>
                <a:cxn ang="0">
                  <a:pos x="114" y="0"/>
                </a:cxn>
                <a:cxn ang="0">
                  <a:pos x="102" y="2"/>
                </a:cxn>
                <a:cxn ang="0">
                  <a:pos x="90" y="4"/>
                </a:cxn>
                <a:cxn ang="0">
                  <a:pos x="78" y="10"/>
                </a:cxn>
                <a:cxn ang="0">
                  <a:pos x="56" y="20"/>
                </a:cxn>
                <a:cxn ang="0">
                  <a:pos x="38" y="36"/>
                </a:cxn>
                <a:cxn ang="0">
                  <a:pos x="22" y="56"/>
                </a:cxn>
                <a:cxn ang="0">
                  <a:pos x="10" y="76"/>
                </a:cxn>
                <a:cxn ang="0">
                  <a:pos x="6" y="88"/>
                </a:cxn>
                <a:cxn ang="0">
                  <a:pos x="4" y="100"/>
                </a:cxn>
                <a:cxn ang="0">
                  <a:pos x="2" y="114"/>
                </a:cxn>
                <a:cxn ang="0">
                  <a:pos x="0" y="126"/>
                </a:cxn>
                <a:cxn ang="0">
                  <a:pos x="0" y="126"/>
                </a:cxn>
                <a:cxn ang="0">
                  <a:pos x="2" y="138"/>
                </a:cxn>
                <a:cxn ang="0">
                  <a:pos x="4" y="152"/>
                </a:cxn>
                <a:cxn ang="0">
                  <a:pos x="6" y="164"/>
                </a:cxn>
                <a:cxn ang="0">
                  <a:pos x="10" y="176"/>
                </a:cxn>
                <a:cxn ang="0">
                  <a:pos x="22" y="196"/>
                </a:cxn>
                <a:cxn ang="0">
                  <a:pos x="38" y="216"/>
                </a:cxn>
                <a:cxn ang="0">
                  <a:pos x="56" y="232"/>
                </a:cxn>
                <a:cxn ang="0">
                  <a:pos x="78" y="242"/>
                </a:cxn>
                <a:cxn ang="0">
                  <a:pos x="90" y="248"/>
                </a:cxn>
                <a:cxn ang="0">
                  <a:pos x="102" y="250"/>
                </a:cxn>
                <a:cxn ang="0">
                  <a:pos x="114" y="252"/>
                </a:cxn>
                <a:cxn ang="0">
                  <a:pos x="128" y="252"/>
                </a:cxn>
                <a:cxn ang="0">
                  <a:pos x="128" y="252"/>
                </a:cxn>
                <a:cxn ang="0">
                  <a:pos x="140" y="252"/>
                </a:cxn>
                <a:cxn ang="0">
                  <a:pos x="154" y="250"/>
                </a:cxn>
                <a:cxn ang="0">
                  <a:pos x="166" y="248"/>
                </a:cxn>
                <a:cxn ang="0">
                  <a:pos x="178" y="242"/>
                </a:cxn>
                <a:cxn ang="0">
                  <a:pos x="198" y="232"/>
                </a:cxn>
                <a:cxn ang="0">
                  <a:pos x="218" y="216"/>
                </a:cxn>
                <a:cxn ang="0">
                  <a:pos x="232" y="196"/>
                </a:cxn>
                <a:cxn ang="0">
                  <a:pos x="244" y="176"/>
                </a:cxn>
                <a:cxn ang="0">
                  <a:pos x="248" y="164"/>
                </a:cxn>
                <a:cxn ang="0">
                  <a:pos x="252" y="152"/>
                </a:cxn>
                <a:cxn ang="0">
                  <a:pos x="254" y="138"/>
                </a:cxn>
                <a:cxn ang="0">
                  <a:pos x="254" y="126"/>
                </a:cxn>
                <a:cxn ang="0">
                  <a:pos x="254" y="126"/>
                </a:cxn>
                <a:cxn ang="0">
                  <a:pos x="254" y="114"/>
                </a:cxn>
                <a:cxn ang="0">
                  <a:pos x="252" y="100"/>
                </a:cxn>
                <a:cxn ang="0">
                  <a:pos x="248" y="88"/>
                </a:cxn>
                <a:cxn ang="0">
                  <a:pos x="244" y="76"/>
                </a:cxn>
                <a:cxn ang="0">
                  <a:pos x="232" y="56"/>
                </a:cxn>
                <a:cxn ang="0">
                  <a:pos x="218" y="36"/>
                </a:cxn>
                <a:cxn ang="0">
                  <a:pos x="198" y="20"/>
                </a:cxn>
                <a:cxn ang="0">
                  <a:pos x="178" y="10"/>
                </a:cxn>
                <a:cxn ang="0">
                  <a:pos x="166" y="4"/>
                </a:cxn>
                <a:cxn ang="0">
                  <a:pos x="154" y="2"/>
                </a:cxn>
                <a:cxn ang="0">
                  <a:pos x="140" y="0"/>
                </a:cxn>
                <a:cxn ang="0">
                  <a:pos x="128" y="0"/>
                </a:cxn>
              </a:cxnLst>
              <a:rect l="0" t="0" r="r" b="b"/>
              <a:pathLst>
                <a:path w="254" h="252">
                  <a:moveTo>
                    <a:pt x="128" y="0"/>
                  </a:moveTo>
                  <a:lnTo>
                    <a:pt x="128" y="0"/>
                  </a:lnTo>
                  <a:lnTo>
                    <a:pt x="114" y="0"/>
                  </a:lnTo>
                  <a:lnTo>
                    <a:pt x="102" y="2"/>
                  </a:lnTo>
                  <a:lnTo>
                    <a:pt x="90" y="4"/>
                  </a:lnTo>
                  <a:lnTo>
                    <a:pt x="78" y="10"/>
                  </a:lnTo>
                  <a:lnTo>
                    <a:pt x="56" y="20"/>
                  </a:lnTo>
                  <a:lnTo>
                    <a:pt x="38" y="36"/>
                  </a:lnTo>
                  <a:lnTo>
                    <a:pt x="22" y="56"/>
                  </a:lnTo>
                  <a:lnTo>
                    <a:pt x="10" y="76"/>
                  </a:lnTo>
                  <a:lnTo>
                    <a:pt x="6" y="88"/>
                  </a:lnTo>
                  <a:lnTo>
                    <a:pt x="4" y="100"/>
                  </a:lnTo>
                  <a:lnTo>
                    <a:pt x="2" y="114"/>
                  </a:lnTo>
                  <a:lnTo>
                    <a:pt x="0" y="126"/>
                  </a:lnTo>
                  <a:lnTo>
                    <a:pt x="0" y="126"/>
                  </a:lnTo>
                  <a:lnTo>
                    <a:pt x="2" y="138"/>
                  </a:lnTo>
                  <a:lnTo>
                    <a:pt x="4" y="152"/>
                  </a:lnTo>
                  <a:lnTo>
                    <a:pt x="6" y="164"/>
                  </a:lnTo>
                  <a:lnTo>
                    <a:pt x="10" y="176"/>
                  </a:lnTo>
                  <a:lnTo>
                    <a:pt x="22" y="196"/>
                  </a:lnTo>
                  <a:lnTo>
                    <a:pt x="38" y="216"/>
                  </a:lnTo>
                  <a:lnTo>
                    <a:pt x="56" y="232"/>
                  </a:lnTo>
                  <a:lnTo>
                    <a:pt x="78" y="242"/>
                  </a:lnTo>
                  <a:lnTo>
                    <a:pt x="90" y="248"/>
                  </a:lnTo>
                  <a:lnTo>
                    <a:pt x="102" y="250"/>
                  </a:lnTo>
                  <a:lnTo>
                    <a:pt x="114" y="252"/>
                  </a:lnTo>
                  <a:lnTo>
                    <a:pt x="128" y="252"/>
                  </a:lnTo>
                  <a:lnTo>
                    <a:pt x="128" y="252"/>
                  </a:lnTo>
                  <a:lnTo>
                    <a:pt x="140" y="252"/>
                  </a:lnTo>
                  <a:lnTo>
                    <a:pt x="154" y="250"/>
                  </a:lnTo>
                  <a:lnTo>
                    <a:pt x="166" y="248"/>
                  </a:lnTo>
                  <a:lnTo>
                    <a:pt x="178" y="242"/>
                  </a:lnTo>
                  <a:lnTo>
                    <a:pt x="198" y="232"/>
                  </a:lnTo>
                  <a:lnTo>
                    <a:pt x="218" y="216"/>
                  </a:lnTo>
                  <a:lnTo>
                    <a:pt x="232" y="196"/>
                  </a:lnTo>
                  <a:lnTo>
                    <a:pt x="244" y="176"/>
                  </a:lnTo>
                  <a:lnTo>
                    <a:pt x="248" y="164"/>
                  </a:lnTo>
                  <a:lnTo>
                    <a:pt x="252" y="152"/>
                  </a:lnTo>
                  <a:lnTo>
                    <a:pt x="254" y="138"/>
                  </a:lnTo>
                  <a:lnTo>
                    <a:pt x="254" y="126"/>
                  </a:lnTo>
                  <a:lnTo>
                    <a:pt x="254" y="126"/>
                  </a:lnTo>
                  <a:lnTo>
                    <a:pt x="254" y="114"/>
                  </a:lnTo>
                  <a:lnTo>
                    <a:pt x="252" y="100"/>
                  </a:lnTo>
                  <a:lnTo>
                    <a:pt x="248" y="88"/>
                  </a:lnTo>
                  <a:lnTo>
                    <a:pt x="244" y="76"/>
                  </a:lnTo>
                  <a:lnTo>
                    <a:pt x="232" y="56"/>
                  </a:lnTo>
                  <a:lnTo>
                    <a:pt x="218" y="36"/>
                  </a:lnTo>
                  <a:lnTo>
                    <a:pt x="198" y="20"/>
                  </a:lnTo>
                  <a:lnTo>
                    <a:pt x="178" y="10"/>
                  </a:lnTo>
                  <a:lnTo>
                    <a:pt x="166" y="4"/>
                  </a:lnTo>
                  <a:lnTo>
                    <a:pt x="154" y="2"/>
                  </a:lnTo>
                  <a:lnTo>
                    <a:pt x="140" y="0"/>
                  </a:lnTo>
                  <a:lnTo>
                    <a:pt x="128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50" name="Freeform 194"/>
            <p:cNvSpPr>
              <a:spLocks/>
            </p:cNvSpPr>
            <p:nvPr/>
          </p:nvSpPr>
          <p:spPr bwMode="auto">
            <a:xfrm>
              <a:off x="8163403" y="6044867"/>
              <a:ext cx="59628" cy="61922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6" y="0"/>
                </a:cxn>
                <a:cxn ang="0">
                  <a:pos x="16" y="2"/>
                </a:cxn>
                <a:cxn ang="0">
                  <a:pos x="6" y="8"/>
                </a:cxn>
                <a:cxn ang="0">
                  <a:pos x="2" y="16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2" y="38"/>
                </a:cxn>
                <a:cxn ang="0">
                  <a:pos x="6" y="46"/>
                </a:cxn>
                <a:cxn ang="0">
                  <a:pos x="16" y="52"/>
                </a:cxn>
                <a:cxn ang="0">
                  <a:pos x="26" y="54"/>
                </a:cxn>
                <a:cxn ang="0">
                  <a:pos x="26" y="54"/>
                </a:cxn>
                <a:cxn ang="0">
                  <a:pos x="36" y="52"/>
                </a:cxn>
                <a:cxn ang="0">
                  <a:pos x="44" y="46"/>
                </a:cxn>
                <a:cxn ang="0">
                  <a:pos x="50" y="38"/>
                </a:cxn>
                <a:cxn ang="0">
                  <a:pos x="52" y="28"/>
                </a:cxn>
                <a:cxn ang="0">
                  <a:pos x="52" y="28"/>
                </a:cxn>
                <a:cxn ang="0">
                  <a:pos x="50" y="16"/>
                </a:cxn>
                <a:cxn ang="0">
                  <a:pos x="44" y="8"/>
                </a:cxn>
                <a:cxn ang="0">
                  <a:pos x="36" y="2"/>
                </a:cxn>
                <a:cxn ang="0">
                  <a:pos x="26" y="0"/>
                </a:cxn>
              </a:cxnLst>
              <a:rect l="0" t="0" r="r" b="b"/>
              <a:pathLst>
                <a:path w="52" h="54">
                  <a:moveTo>
                    <a:pt x="26" y="0"/>
                  </a:moveTo>
                  <a:lnTo>
                    <a:pt x="26" y="0"/>
                  </a:lnTo>
                  <a:lnTo>
                    <a:pt x="16" y="2"/>
                  </a:lnTo>
                  <a:lnTo>
                    <a:pt x="6" y="8"/>
                  </a:lnTo>
                  <a:lnTo>
                    <a:pt x="2" y="1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38"/>
                  </a:lnTo>
                  <a:lnTo>
                    <a:pt x="6" y="46"/>
                  </a:lnTo>
                  <a:lnTo>
                    <a:pt x="16" y="52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36" y="52"/>
                  </a:lnTo>
                  <a:lnTo>
                    <a:pt x="44" y="46"/>
                  </a:lnTo>
                  <a:lnTo>
                    <a:pt x="50" y="3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0" y="16"/>
                  </a:lnTo>
                  <a:lnTo>
                    <a:pt x="44" y="8"/>
                  </a:lnTo>
                  <a:lnTo>
                    <a:pt x="3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51" name="Freeform 195"/>
            <p:cNvSpPr>
              <a:spLocks/>
            </p:cNvSpPr>
            <p:nvPr/>
          </p:nvSpPr>
          <p:spPr bwMode="auto">
            <a:xfrm>
              <a:off x="8163403" y="6044867"/>
              <a:ext cx="59628" cy="61922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6" y="0"/>
                </a:cxn>
                <a:cxn ang="0">
                  <a:pos x="16" y="2"/>
                </a:cxn>
                <a:cxn ang="0">
                  <a:pos x="6" y="8"/>
                </a:cxn>
                <a:cxn ang="0">
                  <a:pos x="2" y="16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2" y="38"/>
                </a:cxn>
                <a:cxn ang="0">
                  <a:pos x="6" y="46"/>
                </a:cxn>
                <a:cxn ang="0">
                  <a:pos x="16" y="52"/>
                </a:cxn>
                <a:cxn ang="0">
                  <a:pos x="26" y="54"/>
                </a:cxn>
                <a:cxn ang="0">
                  <a:pos x="26" y="54"/>
                </a:cxn>
                <a:cxn ang="0">
                  <a:pos x="36" y="52"/>
                </a:cxn>
                <a:cxn ang="0">
                  <a:pos x="44" y="46"/>
                </a:cxn>
                <a:cxn ang="0">
                  <a:pos x="50" y="38"/>
                </a:cxn>
                <a:cxn ang="0">
                  <a:pos x="52" y="28"/>
                </a:cxn>
                <a:cxn ang="0">
                  <a:pos x="52" y="28"/>
                </a:cxn>
                <a:cxn ang="0">
                  <a:pos x="50" y="16"/>
                </a:cxn>
                <a:cxn ang="0">
                  <a:pos x="44" y="8"/>
                </a:cxn>
                <a:cxn ang="0">
                  <a:pos x="36" y="2"/>
                </a:cxn>
                <a:cxn ang="0">
                  <a:pos x="26" y="0"/>
                </a:cxn>
              </a:cxnLst>
              <a:rect l="0" t="0" r="r" b="b"/>
              <a:pathLst>
                <a:path w="52" h="54">
                  <a:moveTo>
                    <a:pt x="26" y="0"/>
                  </a:moveTo>
                  <a:lnTo>
                    <a:pt x="26" y="0"/>
                  </a:lnTo>
                  <a:lnTo>
                    <a:pt x="16" y="2"/>
                  </a:lnTo>
                  <a:lnTo>
                    <a:pt x="6" y="8"/>
                  </a:lnTo>
                  <a:lnTo>
                    <a:pt x="2" y="1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38"/>
                  </a:lnTo>
                  <a:lnTo>
                    <a:pt x="6" y="46"/>
                  </a:lnTo>
                  <a:lnTo>
                    <a:pt x="16" y="52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36" y="52"/>
                  </a:lnTo>
                  <a:lnTo>
                    <a:pt x="44" y="46"/>
                  </a:lnTo>
                  <a:lnTo>
                    <a:pt x="50" y="3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0" y="16"/>
                  </a:lnTo>
                  <a:lnTo>
                    <a:pt x="44" y="8"/>
                  </a:lnTo>
                  <a:lnTo>
                    <a:pt x="36" y="2"/>
                  </a:lnTo>
                  <a:lnTo>
                    <a:pt x="26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52" name="Freeform 196"/>
            <p:cNvSpPr>
              <a:spLocks/>
            </p:cNvSpPr>
            <p:nvPr/>
          </p:nvSpPr>
          <p:spPr bwMode="auto">
            <a:xfrm>
              <a:off x="7356129" y="5283460"/>
              <a:ext cx="153657" cy="153657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0"/>
                </a:cxn>
                <a:cxn ang="0">
                  <a:pos x="54" y="2"/>
                </a:cxn>
                <a:cxn ang="0">
                  <a:pos x="40" y="6"/>
                </a:cxn>
                <a:cxn ang="0">
                  <a:pos x="30" y="12"/>
                </a:cxn>
                <a:cxn ang="0">
                  <a:pos x="20" y="20"/>
                </a:cxn>
                <a:cxn ang="0">
                  <a:pos x="10" y="30"/>
                </a:cxn>
                <a:cxn ang="0">
                  <a:pos x="4" y="40"/>
                </a:cxn>
                <a:cxn ang="0">
                  <a:pos x="0" y="54"/>
                </a:cxn>
                <a:cxn ang="0">
                  <a:pos x="0" y="66"/>
                </a:cxn>
                <a:cxn ang="0">
                  <a:pos x="0" y="66"/>
                </a:cxn>
                <a:cxn ang="0">
                  <a:pos x="0" y="80"/>
                </a:cxn>
                <a:cxn ang="0">
                  <a:pos x="4" y="92"/>
                </a:cxn>
                <a:cxn ang="0">
                  <a:pos x="10" y="104"/>
                </a:cxn>
                <a:cxn ang="0">
                  <a:pos x="20" y="114"/>
                </a:cxn>
                <a:cxn ang="0">
                  <a:pos x="30" y="122"/>
                </a:cxn>
                <a:cxn ang="0">
                  <a:pos x="40" y="128"/>
                </a:cxn>
                <a:cxn ang="0">
                  <a:pos x="54" y="132"/>
                </a:cxn>
                <a:cxn ang="0">
                  <a:pos x="66" y="134"/>
                </a:cxn>
                <a:cxn ang="0">
                  <a:pos x="66" y="134"/>
                </a:cxn>
                <a:cxn ang="0">
                  <a:pos x="80" y="132"/>
                </a:cxn>
                <a:cxn ang="0">
                  <a:pos x="92" y="128"/>
                </a:cxn>
                <a:cxn ang="0">
                  <a:pos x="104" y="122"/>
                </a:cxn>
                <a:cxn ang="0">
                  <a:pos x="114" y="114"/>
                </a:cxn>
                <a:cxn ang="0">
                  <a:pos x="122" y="104"/>
                </a:cxn>
                <a:cxn ang="0">
                  <a:pos x="128" y="92"/>
                </a:cxn>
                <a:cxn ang="0">
                  <a:pos x="132" y="80"/>
                </a:cxn>
                <a:cxn ang="0">
                  <a:pos x="134" y="66"/>
                </a:cxn>
                <a:cxn ang="0">
                  <a:pos x="134" y="66"/>
                </a:cxn>
                <a:cxn ang="0">
                  <a:pos x="132" y="54"/>
                </a:cxn>
                <a:cxn ang="0">
                  <a:pos x="128" y="40"/>
                </a:cxn>
                <a:cxn ang="0">
                  <a:pos x="122" y="30"/>
                </a:cxn>
                <a:cxn ang="0">
                  <a:pos x="114" y="20"/>
                </a:cxn>
                <a:cxn ang="0">
                  <a:pos x="104" y="12"/>
                </a:cxn>
                <a:cxn ang="0">
                  <a:pos x="92" y="6"/>
                </a:cxn>
                <a:cxn ang="0">
                  <a:pos x="80" y="2"/>
                </a:cxn>
                <a:cxn ang="0">
                  <a:pos x="66" y="0"/>
                </a:cxn>
              </a:cxnLst>
              <a:rect l="0" t="0" r="r" b="b"/>
              <a:pathLst>
                <a:path w="134" h="134">
                  <a:moveTo>
                    <a:pt x="66" y="0"/>
                  </a:moveTo>
                  <a:lnTo>
                    <a:pt x="66" y="0"/>
                  </a:lnTo>
                  <a:lnTo>
                    <a:pt x="54" y="2"/>
                  </a:lnTo>
                  <a:lnTo>
                    <a:pt x="40" y="6"/>
                  </a:lnTo>
                  <a:lnTo>
                    <a:pt x="30" y="12"/>
                  </a:lnTo>
                  <a:lnTo>
                    <a:pt x="20" y="20"/>
                  </a:lnTo>
                  <a:lnTo>
                    <a:pt x="10" y="30"/>
                  </a:lnTo>
                  <a:lnTo>
                    <a:pt x="4" y="40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80"/>
                  </a:lnTo>
                  <a:lnTo>
                    <a:pt x="4" y="92"/>
                  </a:lnTo>
                  <a:lnTo>
                    <a:pt x="10" y="104"/>
                  </a:lnTo>
                  <a:lnTo>
                    <a:pt x="20" y="114"/>
                  </a:lnTo>
                  <a:lnTo>
                    <a:pt x="30" y="122"/>
                  </a:lnTo>
                  <a:lnTo>
                    <a:pt x="40" y="128"/>
                  </a:lnTo>
                  <a:lnTo>
                    <a:pt x="54" y="132"/>
                  </a:lnTo>
                  <a:lnTo>
                    <a:pt x="66" y="134"/>
                  </a:lnTo>
                  <a:lnTo>
                    <a:pt x="66" y="134"/>
                  </a:lnTo>
                  <a:lnTo>
                    <a:pt x="80" y="132"/>
                  </a:lnTo>
                  <a:lnTo>
                    <a:pt x="92" y="128"/>
                  </a:lnTo>
                  <a:lnTo>
                    <a:pt x="104" y="122"/>
                  </a:lnTo>
                  <a:lnTo>
                    <a:pt x="114" y="114"/>
                  </a:lnTo>
                  <a:lnTo>
                    <a:pt x="122" y="104"/>
                  </a:lnTo>
                  <a:lnTo>
                    <a:pt x="128" y="92"/>
                  </a:lnTo>
                  <a:lnTo>
                    <a:pt x="132" y="80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2" y="54"/>
                  </a:lnTo>
                  <a:lnTo>
                    <a:pt x="128" y="40"/>
                  </a:lnTo>
                  <a:lnTo>
                    <a:pt x="122" y="30"/>
                  </a:lnTo>
                  <a:lnTo>
                    <a:pt x="114" y="20"/>
                  </a:lnTo>
                  <a:lnTo>
                    <a:pt x="104" y="12"/>
                  </a:lnTo>
                  <a:lnTo>
                    <a:pt x="92" y="6"/>
                  </a:lnTo>
                  <a:lnTo>
                    <a:pt x="80" y="2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53" name="Freeform 197"/>
            <p:cNvSpPr>
              <a:spLocks/>
            </p:cNvSpPr>
            <p:nvPr/>
          </p:nvSpPr>
          <p:spPr bwMode="auto">
            <a:xfrm>
              <a:off x="7356129" y="5283460"/>
              <a:ext cx="153657" cy="153657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0"/>
                </a:cxn>
                <a:cxn ang="0">
                  <a:pos x="54" y="2"/>
                </a:cxn>
                <a:cxn ang="0">
                  <a:pos x="40" y="6"/>
                </a:cxn>
                <a:cxn ang="0">
                  <a:pos x="30" y="12"/>
                </a:cxn>
                <a:cxn ang="0">
                  <a:pos x="20" y="20"/>
                </a:cxn>
                <a:cxn ang="0">
                  <a:pos x="10" y="30"/>
                </a:cxn>
                <a:cxn ang="0">
                  <a:pos x="4" y="40"/>
                </a:cxn>
                <a:cxn ang="0">
                  <a:pos x="0" y="54"/>
                </a:cxn>
                <a:cxn ang="0">
                  <a:pos x="0" y="66"/>
                </a:cxn>
                <a:cxn ang="0">
                  <a:pos x="0" y="66"/>
                </a:cxn>
                <a:cxn ang="0">
                  <a:pos x="0" y="80"/>
                </a:cxn>
                <a:cxn ang="0">
                  <a:pos x="4" y="92"/>
                </a:cxn>
                <a:cxn ang="0">
                  <a:pos x="10" y="104"/>
                </a:cxn>
                <a:cxn ang="0">
                  <a:pos x="20" y="114"/>
                </a:cxn>
                <a:cxn ang="0">
                  <a:pos x="30" y="122"/>
                </a:cxn>
                <a:cxn ang="0">
                  <a:pos x="40" y="128"/>
                </a:cxn>
                <a:cxn ang="0">
                  <a:pos x="54" y="132"/>
                </a:cxn>
                <a:cxn ang="0">
                  <a:pos x="66" y="134"/>
                </a:cxn>
                <a:cxn ang="0">
                  <a:pos x="66" y="134"/>
                </a:cxn>
                <a:cxn ang="0">
                  <a:pos x="80" y="132"/>
                </a:cxn>
                <a:cxn ang="0">
                  <a:pos x="92" y="128"/>
                </a:cxn>
                <a:cxn ang="0">
                  <a:pos x="104" y="122"/>
                </a:cxn>
                <a:cxn ang="0">
                  <a:pos x="114" y="114"/>
                </a:cxn>
                <a:cxn ang="0">
                  <a:pos x="122" y="104"/>
                </a:cxn>
                <a:cxn ang="0">
                  <a:pos x="128" y="92"/>
                </a:cxn>
                <a:cxn ang="0">
                  <a:pos x="132" y="80"/>
                </a:cxn>
                <a:cxn ang="0">
                  <a:pos x="134" y="66"/>
                </a:cxn>
                <a:cxn ang="0">
                  <a:pos x="134" y="66"/>
                </a:cxn>
                <a:cxn ang="0">
                  <a:pos x="132" y="54"/>
                </a:cxn>
                <a:cxn ang="0">
                  <a:pos x="128" y="40"/>
                </a:cxn>
                <a:cxn ang="0">
                  <a:pos x="122" y="30"/>
                </a:cxn>
                <a:cxn ang="0">
                  <a:pos x="114" y="20"/>
                </a:cxn>
                <a:cxn ang="0">
                  <a:pos x="104" y="12"/>
                </a:cxn>
                <a:cxn ang="0">
                  <a:pos x="92" y="6"/>
                </a:cxn>
                <a:cxn ang="0">
                  <a:pos x="80" y="2"/>
                </a:cxn>
                <a:cxn ang="0">
                  <a:pos x="66" y="0"/>
                </a:cxn>
              </a:cxnLst>
              <a:rect l="0" t="0" r="r" b="b"/>
              <a:pathLst>
                <a:path w="134" h="134">
                  <a:moveTo>
                    <a:pt x="66" y="0"/>
                  </a:moveTo>
                  <a:lnTo>
                    <a:pt x="66" y="0"/>
                  </a:lnTo>
                  <a:lnTo>
                    <a:pt x="54" y="2"/>
                  </a:lnTo>
                  <a:lnTo>
                    <a:pt x="40" y="6"/>
                  </a:lnTo>
                  <a:lnTo>
                    <a:pt x="30" y="12"/>
                  </a:lnTo>
                  <a:lnTo>
                    <a:pt x="20" y="20"/>
                  </a:lnTo>
                  <a:lnTo>
                    <a:pt x="10" y="30"/>
                  </a:lnTo>
                  <a:lnTo>
                    <a:pt x="4" y="40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80"/>
                  </a:lnTo>
                  <a:lnTo>
                    <a:pt x="4" y="92"/>
                  </a:lnTo>
                  <a:lnTo>
                    <a:pt x="10" y="104"/>
                  </a:lnTo>
                  <a:lnTo>
                    <a:pt x="20" y="114"/>
                  </a:lnTo>
                  <a:lnTo>
                    <a:pt x="30" y="122"/>
                  </a:lnTo>
                  <a:lnTo>
                    <a:pt x="40" y="128"/>
                  </a:lnTo>
                  <a:lnTo>
                    <a:pt x="54" y="132"/>
                  </a:lnTo>
                  <a:lnTo>
                    <a:pt x="66" y="134"/>
                  </a:lnTo>
                  <a:lnTo>
                    <a:pt x="66" y="134"/>
                  </a:lnTo>
                  <a:lnTo>
                    <a:pt x="80" y="132"/>
                  </a:lnTo>
                  <a:lnTo>
                    <a:pt x="92" y="128"/>
                  </a:lnTo>
                  <a:lnTo>
                    <a:pt x="104" y="122"/>
                  </a:lnTo>
                  <a:lnTo>
                    <a:pt x="114" y="114"/>
                  </a:lnTo>
                  <a:lnTo>
                    <a:pt x="122" y="104"/>
                  </a:lnTo>
                  <a:lnTo>
                    <a:pt x="128" y="92"/>
                  </a:lnTo>
                  <a:lnTo>
                    <a:pt x="132" y="80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2" y="54"/>
                  </a:lnTo>
                  <a:lnTo>
                    <a:pt x="128" y="40"/>
                  </a:lnTo>
                  <a:lnTo>
                    <a:pt x="122" y="30"/>
                  </a:lnTo>
                  <a:lnTo>
                    <a:pt x="114" y="20"/>
                  </a:lnTo>
                  <a:lnTo>
                    <a:pt x="104" y="12"/>
                  </a:lnTo>
                  <a:lnTo>
                    <a:pt x="92" y="6"/>
                  </a:lnTo>
                  <a:lnTo>
                    <a:pt x="80" y="2"/>
                  </a:lnTo>
                  <a:lnTo>
                    <a:pt x="66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54" name="Freeform 198"/>
            <p:cNvSpPr>
              <a:spLocks/>
            </p:cNvSpPr>
            <p:nvPr/>
          </p:nvSpPr>
          <p:spPr bwMode="auto">
            <a:xfrm>
              <a:off x="8532640" y="6207698"/>
              <a:ext cx="153657" cy="153657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68" y="0"/>
                </a:cxn>
                <a:cxn ang="0">
                  <a:pos x="54" y="0"/>
                </a:cxn>
                <a:cxn ang="0">
                  <a:pos x="40" y="4"/>
                </a:cxn>
                <a:cxn ang="0">
                  <a:pos x="30" y="10"/>
                </a:cxn>
                <a:cxn ang="0">
                  <a:pos x="20" y="18"/>
                </a:cxn>
                <a:cxn ang="0">
                  <a:pos x="12" y="28"/>
                </a:cxn>
                <a:cxn ang="0">
                  <a:pos x="6" y="40"/>
                </a:cxn>
                <a:cxn ang="0">
                  <a:pos x="2" y="52"/>
                </a:cxn>
                <a:cxn ang="0">
                  <a:pos x="0" y="66"/>
                </a:cxn>
                <a:cxn ang="0">
                  <a:pos x="0" y="66"/>
                </a:cxn>
                <a:cxn ang="0">
                  <a:pos x="2" y="80"/>
                </a:cxn>
                <a:cxn ang="0">
                  <a:pos x="6" y="92"/>
                </a:cxn>
                <a:cxn ang="0">
                  <a:pos x="12" y="104"/>
                </a:cxn>
                <a:cxn ang="0">
                  <a:pos x="20" y="114"/>
                </a:cxn>
                <a:cxn ang="0">
                  <a:pos x="30" y="122"/>
                </a:cxn>
                <a:cxn ang="0">
                  <a:pos x="40" y="128"/>
                </a:cxn>
                <a:cxn ang="0">
                  <a:pos x="54" y="132"/>
                </a:cxn>
                <a:cxn ang="0">
                  <a:pos x="68" y="134"/>
                </a:cxn>
                <a:cxn ang="0">
                  <a:pos x="68" y="134"/>
                </a:cxn>
                <a:cxn ang="0">
                  <a:pos x="80" y="132"/>
                </a:cxn>
                <a:cxn ang="0">
                  <a:pos x="94" y="128"/>
                </a:cxn>
                <a:cxn ang="0">
                  <a:pos x="104" y="122"/>
                </a:cxn>
                <a:cxn ang="0">
                  <a:pos x="114" y="114"/>
                </a:cxn>
                <a:cxn ang="0">
                  <a:pos x="122" y="104"/>
                </a:cxn>
                <a:cxn ang="0">
                  <a:pos x="128" y="92"/>
                </a:cxn>
                <a:cxn ang="0">
                  <a:pos x="132" y="80"/>
                </a:cxn>
                <a:cxn ang="0">
                  <a:pos x="134" y="66"/>
                </a:cxn>
                <a:cxn ang="0">
                  <a:pos x="134" y="66"/>
                </a:cxn>
                <a:cxn ang="0">
                  <a:pos x="132" y="52"/>
                </a:cxn>
                <a:cxn ang="0">
                  <a:pos x="128" y="40"/>
                </a:cxn>
                <a:cxn ang="0">
                  <a:pos x="122" y="28"/>
                </a:cxn>
                <a:cxn ang="0">
                  <a:pos x="114" y="18"/>
                </a:cxn>
                <a:cxn ang="0">
                  <a:pos x="104" y="10"/>
                </a:cxn>
                <a:cxn ang="0">
                  <a:pos x="94" y="4"/>
                </a:cxn>
                <a:cxn ang="0">
                  <a:pos x="80" y="0"/>
                </a:cxn>
                <a:cxn ang="0">
                  <a:pos x="68" y="0"/>
                </a:cxn>
              </a:cxnLst>
              <a:rect l="0" t="0" r="r" b="b"/>
              <a:pathLst>
                <a:path w="134" h="134">
                  <a:moveTo>
                    <a:pt x="68" y="0"/>
                  </a:moveTo>
                  <a:lnTo>
                    <a:pt x="68" y="0"/>
                  </a:lnTo>
                  <a:lnTo>
                    <a:pt x="54" y="0"/>
                  </a:lnTo>
                  <a:lnTo>
                    <a:pt x="40" y="4"/>
                  </a:lnTo>
                  <a:lnTo>
                    <a:pt x="30" y="10"/>
                  </a:lnTo>
                  <a:lnTo>
                    <a:pt x="20" y="18"/>
                  </a:lnTo>
                  <a:lnTo>
                    <a:pt x="12" y="28"/>
                  </a:lnTo>
                  <a:lnTo>
                    <a:pt x="6" y="40"/>
                  </a:lnTo>
                  <a:lnTo>
                    <a:pt x="2" y="52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2" y="80"/>
                  </a:lnTo>
                  <a:lnTo>
                    <a:pt x="6" y="92"/>
                  </a:lnTo>
                  <a:lnTo>
                    <a:pt x="12" y="104"/>
                  </a:lnTo>
                  <a:lnTo>
                    <a:pt x="20" y="114"/>
                  </a:lnTo>
                  <a:lnTo>
                    <a:pt x="30" y="122"/>
                  </a:lnTo>
                  <a:lnTo>
                    <a:pt x="40" y="128"/>
                  </a:lnTo>
                  <a:lnTo>
                    <a:pt x="54" y="132"/>
                  </a:lnTo>
                  <a:lnTo>
                    <a:pt x="68" y="134"/>
                  </a:lnTo>
                  <a:lnTo>
                    <a:pt x="68" y="134"/>
                  </a:lnTo>
                  <a:lnTo>
                    <a:pt x="80" y="132"/>
                  </a:lnTo>
                  <a:lnTo>
                    <a:pt x="94" y="128"/>
                  </a:lnTo>
                  <a:lnTo>
                    <a:pt x="104" y="122"/>
                  </a:lnTo>
                  <a:lnTo>
                    <a:pt x="114" y="114"/>
                  </a:lnTo>
                  <a:lnTo>
                    <a:pt x="122" y="104"/>
                  </a:lnTo>
                  <a:lnTo>
                    <a:pt x="128" y="92"/>
                  </a:lnTo>
                  <a:lnTo>
                    <a:pt x="132" y="80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2" y="52"/>
                  </a:lnTo>
                  <a:lnTo>
                    <a:pt x="128" y="40"/>
                  </a:lnTo>
                  <a:lnTo>
                    <a:pt x="122" y="28"/>
                  </a:lnTo>
                  <a:lnTo>
                    <a:pt x="114" y="18"/>
                  </a:lnTo>
                  <a:lnTo>
                    <a:pt x="104" y="10"/>
                  </a:lnTo>
                  <a:lnTo>
                    <a:pt x="94" y="4"/>
                  </a:lnTo>
                  <a:lnTo>
                    <a:pt x="80" y="0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55" name="Freeform 199"/>
            <p:cNvSpPr>
              <a:spLocks/>
            </p:cNvSpPr>
            <p:nvPr/>
          </p:nvSpPr>
          <p:spPr bwMode="auto">
            <a:xfrm>
              <a:off x="8532640" y="6207698"/>
              <a:ext cx="153657" cy="153657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68" y="0"/>
                </a:cxn>
                <a:cxn ang="0">
                  <a:pos x="54" y="0"/>
                </a:cxn>
                <a:cxn ang="0">
                  <a:pos x="40" y="4"/>
                </a:cxn>
                <a:cxn ang="0">
                  <a:pos x="30" y="10"/>
                </a:cxn>
                <a:cxn ang="0">
                  <a:pos x="20" y="18"/>
                </a:cxn>
                <a:cxn ang="0">
                  <a:pos x="12" y="28"/>
                </a:cxn>
                <a:cxn ang="0">
                  <a:pos x="6" y="40"/>
                </a:cxn>
                <a:cxn ang="0">
                  <a:pos x="2" y="52"/>
                </a:cxn>
                <a:cxn ang="0">
                  <a:pos x="0" y="66"/>
                </a:cxn>
                <a:cxn ang="0">
                  <a:pos x="0" y="66"/>
                </a:cxn>
                <a:cxn ang="0">
                  <a:pos x="2" y="80"/>
                </a:cxn>
                <a:cxn ang="0">
                  <a:pos x="6" y="92"/>
                </a:cxn>
                <a:cxn ang="0">
                  <a:pos x="12" y="104"/>
                </a:cxn>
                <a:cxn ang="0">
                  <a:pos x="20" y="114"/>
                </a:cxn>
                <a:cxn ang="0">
                  <a:pos x="30" y="122"/>
                </a:cxn>
                <a:cxn ang="0">
                  <a:pos x="40" y="128"/>
                </a:cxn>
                <a:cxn ang="0">
                  <a:pos x="54" y="132"/>
                </a:cxn>
                <a:cxn ang="0">
                  <a:pos x="68" y="134"/>
                </a:cxn>
                <a:cxn ang="0">
                  <a:pos x="68" y="134"/>
                </a:cxn>
                <a:cxn ang="0">
                  <a:pos x="80" y="132"/>
                </a:cxn>
                <a:cxn ang="0">
                  <a:pos x="94" y="128"/>
                </a:cxn>
                <a:cxn ang="0">
                  <a:pos x="104" y="122"/>
                </a:cxn>
                <a:cxn ang="0">
                  <a:pos x="114" y="114"/>
                </a:cxn>
                <a:cxn ang="0">
                  <a:pos x="122" y="104"/>
                </a:cxn>
                <a:cxn ang="0">
                  <a:pos x="128" y="92"/>
                </a:cxn>
                <a:cxn ang="0">
                  <a:pos x="132" y="80"/>
                </a:cxn>
                <a:cxn ang="0">
                  <a:pos x="134" y="66"/>
                </a:cxn>
                <a:cxn ang="0">
                  <a:pos x="134" y="66"/>
                </a:cxn>
                <a:cxn ang="0">
                  <a:pos x="132" y="52"/>
                </a:cxn>
                <a:cxn ang="0">
                  <a:pos x="128" y="40"/>
                </a:cxn>
                <a:cxn ang="0">
                  <a:pos x="122" y="28"/>
                </a:cxn>
                <a:cxn ang="0">
                  <a:pos x="114" y="18"/>
                </a:cxn>
                <a:cxn ang="0">
                  <a:pos x="104" y="10"/>
                </a:cxn>
                <a:cxn ang="0">
                  <a:pos x="94" y="4"/>
                </a:cxn>
                <a:cxn ang="0">
                  <a:pos x="80" y="0"/>
                </a:cxn>
                <a:cxn ang="0">
                  <a:pos x="68" y="0"/>
                </a:cxn>
              </a:cxnLst>
              <a:rect l="0" t="0" r="r" b="b"/>
              <a:pathLst>
                <a:path w="134" h="134">
                  <a:moveTo>
                    <a:pt x="68" y="0"/>
                  </a:moveTo>
                  <a:lnTo>
                    <a:pt x="68" y="0"/>
                  </a:lnTo>
                  <a:lnTo>
                    <a:pt x="54" y="0"/>
                  </a:lnTo>
                  <a:lnTo>
                    <a:pt x="40" y="4"/>
                  </a:lnTo>
                  <a:lnTo>
                    <a:pt x="30" y="10"/>
                  </a:lnTo>
                  <a:lnTo>
                    <a:pt x="20" y="18"/>
                  </a:lnTo>
                  <a:lnTo>
                    <a:pt x="12" y="28"/>
                  </a:lnTo>
                  <a:lnTo>
                    <a:pt x="6" y="40"/>
                  </a:lnTo>
                  <a:lnTo>
                    <a:pt x="2" y="52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2" y="80"/>
                  </a:lnTo>
                  <a:lnTo>
                    <a:pt x="6" y="92"/>
                  </a:lnTo>
                  <a:lnTo>
                    <a:pt x="12" y="104"/>
                  </a:lnTo>
                  <a:lnTo>
                    <a:pt x="20" y="114"/>
                  </a:lnTo>
                  <a:lnTo>
                    <a:pt x="30" y="122"/>
                  </a:lnTo>
                  <a:lnTo>
                    <a:pt x="40" y="128"/>
                  </a:lnTo>
                  <a:lnTo>
                    <a:pt x="54" y="132"/>
                  </a:lnTo>
                  <a:lnTo>
                    <a:pt x="68" y="134"/>
                  </a:lnTo>
                  <a:lnTo>
                    <a:pt x="68" y="134"/>
                  </a:lnTo>
                  <a:lnTo>
                    <a:pt x="80" y="132"/>
                  </a:lnTo>
                  <a:lnTo>
                    <a:pt x="94" y="128"/>
                  </a:lnTo>
                  <a:lnTo>
                    <a:pt x="104" y="122"/>
                  </a:lnTo>
                  <a:lnTo>
                    <a:pt x="114" y="114"/>
                  </a:lnTo>
                  <a:lnTo>
                    <a:pt x="122" y="104"/>
                  </a:lnTo>
                  <a:lnTo>
                    <a:pt x="128" y="92"/>
                  </a:lnTo>
                  <a:lnTo>
                    <a:pt x="132" y="80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2" y="52"/>
                  </a:lnTo>
                  <a:lnTo>
                    <a:pt x="128" y="40"/>
                  </a:lnTo>
                  <a:lnTo>
                    <a:pt x="122" y="28"/>
                  </a:lnTo>
                  <a:lnTo>
                    <a:pt x="114" y="18"/>
                  </a:lnTo>
                  <a:lnTo>
                    <a:pt x="104" y="10"/>
                  </a:lnTo>
                  <a:lnTo>
                    <a:pt x="94" y="4"/>
                  </a:lnTo>
                  <a:lnTo>
                    <a:pt x="80" y="0"/>
                  </a:lnTo>
                  <a:lnTo>
                    <a:pt x="68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56" name="Freeform 200"/>
            <p:cNvSpPr>
              <a:spLocks/>
            </p:cNvSpPr>
            <p:nvPr/>
          </p:nvSpPr>
          <p:spPr bwMode="auto">
            <a:xfrm>
              <a:off x="7993692" y="6551707"/>
              <a:ext cx="153657" cy="153657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68" y="0"/>
                </a:cxn>
                <a:cxn ang="0">
                  <a:pos x="54" y="0"/>
                </a:cxn>
                <a:cxn ang="0">
                  <a:pos x="42" y="4"/>
                </a:cxn>
                <a:cxn ang="0">
                  <a:pos x="30" y="10"/>
                </a:cxn>
                <a:cxn ang="0">
                  <a:pos x="20" y="18"/>
                </a:cxn>
                <a:cxn ang="0">
                  <a:pos x="12" y="28"/>
                </a:cxn>
                <a:cxn ang="0">
                  <a:pos x="6" y="40"/>
                </a:cxn>
                <a:cxn ang="0">
                  <a:pos x="2" y="52"/>
                </a:cxn>
                <a:cxn ang="0">
                  <a:pos x="0" y="66"/>
                </a:cxn>
                <a:cxn ang="0">
                  <a:pos x="0" y="66"/>
                </a:cxn>
                <a:cxn ang="0">
                  <a:pos x="2" y="80"/>
                </a:cxn>
                <a:cxn ang="0">
                  <a:pos x="6" y="92"/>
                </a:cxn>
                <a:cxn ang="0">
                  <a:pos x="12" y="104"/>
                </a:cxn>
                <a:cxn ang="0">
                  <a:pos x="20" y="114"/>
                </a:cxn>
                <a:cxn ang="0">
                  <a:pos x="30" y="122"/>
                </a:cxn>
                <a:cxn ang="0">
                  <a:pos x="42" y="128"/>
                </a:cxn>
                <a:cxn ang="0">
                  <a:pos x="54" y="132"/>
                </a:cxn>
                <a:cxn ang="0">
                  <a:pos x="68" y="134"/>
                </a:cxn>
                <a:cxn ang="0">
                  <a:pos x="68" y="134"/>
                </a:cxn>
                <a:cxn ang="0">
                  <a:pos x="80" y="132"/>
                </a:cxn>
                <a:cxn ang="0">
                  <a:pos x="94" y="128"/>
                </a:cxn>
                <a:cxn ang="0">
                  <a:pos x="104" y="122"/>
                </a:cxn>
                <a:cxn ang="0">
                  <a:pos x="114" y="114"/>
                </a:cxn>
                <a:cxn ang="0">
                  <a:pos x="124" y="104"/>
                </a:cxn>
                <a:cxn ang="0">
                  <a:pos x="130" y="92"/>
                </a:cxn>
                <a:cxn ang="0">
                  <a:pos x="134" y="80"/>
                </a:cxn>
                <a:cxn ang="0">
                  <a:pos x="134" y="66"/>
                </a:cxn>
                <a:cxn ang="0">
                  <a:pos x="134" y="66"/>
                </a:cxn>
                <a:cxn ang="0">
                  <a:pos x="134" y="52"/>
                </a:cxn>
                <a:cxn ang="0">
                  <a:pos x="130" y="40"/>
                </a:cxn>
                <a:cxn ang="0">
                  <a:pos x="124" y="28"/>
                </a:cxn>
                <a:cxn ang="0">
                  <a:pos x="114" y="18"/>
                </a:cxn>
                <a:cxn ang="0">
                  <a:pos x="104" y="10"/>
                </a:cxn>
                <a:cxn ang="0">
                  <a:pos x="94" y="4"/>
                </a:cxn>
                <a:cxn ang="0">
                  <a:pos x="80" y="0"/>
                </a:cxn>
                <a:cxn ang="0">
                  <a:pos x="68" y="0"/>
                </a:cxn>
              </a:cxnLst>
              <a:rect l="0" t="0" r="r" b="b"/>
              <a:pathLst>
                <a:path w="134" h="134">
                  <a:moveTo>
                    <a:pt x="68" y="0"/>
                  </a:moveTo>
                  <a:lnTo>
                    <a:pt x="68" y="0"/>
                  </a:lnTo>
                  <a:lnTo>
                    <a:pt x="54" y="0"/>
                  </a:lnTo>
                  <a:lnTo>
                    <a:pt x="42" y="4"/>
                  </a:lnTo>
                  <a:lnTo>
                    <a:pt x="30" y="10"/>
                  </a:lnTo>
                  <a:lnTo>
                    <a:pt x="20" y="18"/>
                  </a:lnTo>
                  <a:lnTo>
                    <a:pt x="12" y="28"/>
                  </a:lnTo>
                  <a:lnTo>
                    <a:pt x="6" y="40"/>
                  </a:lnTo>
                  <a:lnTo>
                    <a:pt x="2" y="52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2" y="80"/>
                  </a:lnTo>
                  <a:lnTo>
                    <a:pt x="6" y="92"/>
                  </a:lnTo>
                  <a:lnTo>
                    <a:pt x="12" y="104"/>
                  </a:lnTo>
                  <a:lnTo>
                    <a:pt x="20" y="114"/>
                  </a:lnTo>
                  <a:lnTo>
                    <a:pt x="30" y="122"/>
                  </a:lnTo>
                  <a:lnTo>
                    <a:pt x="42" y="128"/>
                  </a:lnTo>
                  <a:lnTo>
                    <a:pt x="54" y="132"/>
                  </a:lnTo>
                  <a:lnTo>
                    <a:pt x="68" y="134"/>
                  </a:lnTo>
                  <a:lnTo>
                    <a:pt x="68" y="134"/>
                  </a:lnTo>
                  <a:lnTo>
                    <a:pt x="80" y="132"/>
                  </a:lnTo>
                  <a:lnTo>
                    <a:pt x="94" y="128"/>
                  </a:lnTo>
                  <a:lnTo>
                    <a:pt x="104" y="122"/>
                  </a:lnTo>
                  <a:lnTo>
                    <a:pt x="114" y="114"/>
                  </a:lnTo>
                  <a:lnTo>
                    <a:pt x="124" y="104"/>
                  </a:lnTo>
                  <a:lnTo>
                    <a:pt x="130" y="92"/>
                  </a:lnTo>
                  <a:lnTo>
                    <a:pt x="134" y="80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4" y="52"/>
                  </a:lnTo>
                  <a:lnTo>
                    <a:pt x="130" y="40"/>
                  </a:lnTo>
                  <a:lnTo>
                    <a:pt x="124" y="28"/>
                  </a:lnTo>
                  <a:lnTo>
                    <a:pt x="114" y="18"/>
                  </a:lnTo>
                  <a:lnTo>
                    <a:pt x="104" y="10"/>
                  </a:lnTo>
                  <a:lnTo>
                    <a:pt x="94" y="4"/>
                  </a:lnTo>
                  <a:lnTo>
                    <a:pt x="80" y="0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57" name="Freeform 201"/>
            <p:cNvSpPr>
              <a:spLocks/>
            </p:cNvSpPr>
            <p:nvPr/>
          </p:nvSpPr>
          <p:spPr bwMode="auto">
            <a:xfrm>
              <a:off x="7993692" y="6551707"/>
              <a:ext cx="153657" cy="153657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68" y="0"/>
                </a:cxn>
                <a:cxn ang="0">
                  <a:pos x="54" y="0"/>
                </a:cxn>
                <a:cxn ang="0">
                  <a:pos x="42" y="4"/>
                </a:cxn>
                <a:cxn ang="0">
                  <a:pos x="30" y="10"/>
                </a:cxn>
                <a:cxn ang="0">
                  <a:pos x="20" y="18"/>
                </a:cxn>
                <a:cxn ang="0">
                  <a:pos x="12" y="28"/>
                </a:cxn>
                <a:cxn ang="0">
                  <a:pos x="6" y="40"/>
                </a:cxn>
                <a:cxn ang="0">
                  <a:pos x="2" y="52"/>
                </a:cxn>
                <a:cxn ang="0">
                  <a:pos x="0" y="66"/>
                </a:cxn>
                <a:cxn ang="0">
                  <a:pos x="0" y="66"/>
                </a:cxn>
                <a:cxn ang="0">
                  <a:pos x="2" y="80"/>
                </a:cxn>
                <a:cxn ang="0">
                  <a:pos x="6" y="92"/>
                </a:cxn>
                <a:cxn ang="0">
                  <a:pos x="12" y="104"/>
                </a:cxn>
                <a:cxn ang="0">
                  <a:pos x="20" y="114"/>
                </a:cxn>
                <a:cxn ang="0">
                  <a:pos x="30" y="122"/>
                </a:cxn>
                <a:cxn ang="0">
                  <a:pos x="42" y="128"/>
                </a:cxn>
                <a:cxn ang="0">
                  <a:pos x="54" y="132"/>
                </a:cxn>
                <a:cxn ang="0">
                  <a:pos x="68" y="134"/>
                </a:cxn>
                <a:cxn ang="0">
                  <a:pos x="68" y="134"/>
                </a:cxn>
                <a:cxn ang="0">
                  <a:pos x="80" y="132"/>
                </a:cxn>
                <a:cxn ang="0">
                  <a:pos x="94" y="128"/>
                </a:cxn>
                <a:cxn ang="0">
                  <a:pos x="104" y="122"/>
                </a:cxn>
                <a:cxn ang="0">
                  <a:pos x="114" y="114"/>
                </a:cxn>
                <a:cxn ang="0">
                  <a:pos x="124" y="104"/>
                </a:cxn>
                <a:cxn ang="0">
                  <a:pos x="130" y="92"/>
                </a:cxn>
                <a:cxn ang="0">
                  <a:pos x="134" y="80"/>
                </a:cxn>
                <a:cxn ang="0">
                  <a:pos x="134" y="66"/>
                </a:cxn>
                <a:cxn ang="0">
                  <a:pos x="134" y="66"/>
                </a:cxn>
                <a:cxn ang="0">
                  <a:pos x="134" y="52"/>
                </a:cxn>
                <a:cxn ang="0">
                  <a:pos x="130" y="40"/>
                </a:cxn>
                <a:cxn ang="0">
                  <a:pos x="124" y="28"/>
                </a:cxn>
                <a:cxn ang="0">
                  <a:pos x="114" y="18"/>
                </a:cxn>
                <a:cxn ang="0">
                  <a:pos x="104" y="10"/>
                </a:cxn>
                <a:cxn ang="0">
                  <a:pos x="94" y="4"/>
                </a:cxn>
                <a:cxn ang="0">
                  <a:pos x="80" y="0"/>
                </a:cxn>
                <a:cxn ang="0">
                  <a:pos x="68" y="0"/>
                </a:cxn>
              </a:cxnLst>
              <a:rect l="0" t="0" r="r" b="b"/>
              <a:pathLst>
                <a:path w="134" h="134">
                  <a:moveTo>
                    <a:pt x="68" y="0"/>
                  </a:moveTo>
                  <a:lnTo>
                    <a:pt x="68" y="0"/>
                  </a:lnTo>
                  <a:lnTo>
                    <a:pt x="54" y="0"/>
                  </a:lnTo>
                  <a:lnTo>
                    <a:pt x="42" y="4"/>
                  </a:lnTo>
                  <a:lnTo>
                    <a:pt x="30" y="10"/>
                  </a:lnTo>
                  <a:lnTo>
                    <a:pt x="20" y="18"/>
                  </a:lnTo>
                  <a:lnTo>
                    <a:pt x="12" y="28"/>
                  </a:lnTo>
                  <a:lnTo>
                    <a:pt x="6" y="40"/>
                  </a:lnTo>
                  <a:lnTo>
                    <a:pt x="2" y="52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2" y="80"/>
                  </a:lnTo>
                  <a:lnTo>
                    <a:pt x="6" y="92"/>
                  </a:lnTo>
                  <a:lnTo>
                    <a:pt x="12" y="104"/>
                  </a:lnTo>
                  <a:lnTo>
                    <a:pt x="20" y="114"/>
                  </a:lnTo>
                  <a:lnTo>
                    <a:pt x="30" y="122"/>
                  </a:lnTo>
                  <a:lnTo>
                    <a:pt x="42" y="128"/>
                  </a:lnTo>
                  <a:lnTo>
                    <a:pt x="54" y="132"/>
                  </a:lnTo>
                  <a:lnTo>
                    <a:pt x="68" y="134"/>
                  </a:lnTo>
                  <a:lnTo>
                    <a:pt x="68" y="134"/>
                  </a:lnTo>
                  <a:lnTo>
                    <a:pt x="80" y="132"/>
                  </a:lnTo>
                  <a:lnTo>
                    <a:pt x="94" y="128"/>
                  </a:lnTo>
                  <a:lnTo>
                    <a:pt x="104" y="122"/>
                  </a:lnTo>
                  <a:lnTo>
                    <a:pt x="114" y="114"/>
                  </a:lnTo>
                  <a:lnTo>
                    <a:pt x="124" y="104"/>
                  </a:lnTo>
                  <a:lnTo>
                    <a:pt x="130" y="92"/>
                  </a:lnTo>
                  <a:lnTo>
                    <a:pt x="134" y="80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4" y="52"/>
                  </a:lnTo>
                  <a:lnTo>
                    <a:pt x="130" y="40"/>
                  </a:lnTo>
                  <a:lnTo>
                    <a:pt x="124" y="28"/>
                  </a:lnTo>
                  <a:lnTo>
                    <a:pt x="114" y="18"/>
                  </a:lnTo>
                  <a:lnTo>
                    <a:pt x="104" y="10"/>
                  </a:lnTo>
                  <a:lnTo>
                    <a:pt x="94" y="4"/>
                  </a:lnTo>
                  <a:lnTo>
                    <a:pt x="80" y="0"/>
                  </a:lnTo>
                  <a:lnTo>
                    <a:pt x="68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58" name="Freeform 202"/>
            <p:cNvSpPr>
              <a:spLocks/>
            </p:cNvSpPr>
            <p:nvPr/>
          </p:nvSpPr>
          <p:spPr bwMode="auto">
            <a:xfrm>
              <a:off x="8456958" y="4772033"/>
              <a:ext cx="153657" cy="153657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68" y="0"/>
                </a:cxn>
                <a:cxn ang="0">
                  <a:pos x="54" y="2"/>
                </a:cxn>
                <a:cxn ang="0">
                  <a:pos x="42" y="6"/>
                </a:cxn>
                <a:cxn ang="0">
                  <a:pos x="30" y="12"/>
                </a:cxn>
                <a:cxn ang="0">
                  <a:pos x="20" y="20"/>
                </a:cxn>
                <a:cxn ang="0">
                  <a:pos x="12" y="30"/>
                </a:cxn>
                <a:cxn ang="0">
                  <a:pos x="6" y="42"/>
                </a:cxn>
                <a:cxn ang="0">
                  <a:pos x="2" y="54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2" y="80"/>
                </a:cxn>
                <a:cxn ang="0">
                  <a:pos x="6" y="94"/>
                </a:cxn>
                <a:cxn ang="0">
                  <a:pos x="12" y="104"/>
                </a:cxn>
                <a:cxn ang="0">
                  <a:pos x="20" y="114"/>
                </a:cxn>
                <a:cxn ang="0">
                  <a:pos x="30" y="124"/>
                </a:cxn>
                <a:cxn ang="0">
                  <a:pos x="42" y="130"/>
                </a:cxn>
                <a:cxn ang="0">
                  <a:pos x="54" y="134"/>
                </a:cxn>
                <a:cxn ang="0">
                  <a:pos x="68" y="134"/>
                </a:cxn>
                <a:cxn ang="0">
                  <a:pos x="68" y="134"/>
                </a:cxn>
                <a:cxn ang="0">
                  <a:pos x="82" y="134"/>
                </a:cxn>
                <a:cxn ang="0">
                  <a:pos x="94" y="130"/>
                </a:cxn>
                <a:cxn ang="0">
                  <a:pos x="106" y="124"/>
                </a:cxn>
                <a:cxn ang="0">
                  <a:pos x="116" y="114"/>
                </a:cxn>
                <a:cxn ang="0">
                  <a:pos x="124" y="104"/>
                </a:cxn>
                <a:cxn ang="0">
                  <a:pos x="130" y="94"/>
                </a:cxn>
                <a:cxn ang="0">
                  <a:pos x="134" y="80"/>
                </a:cxn>
                <a:cxn ang="0">
                  <a:pos x="134" y="68"/>
                </a:cxn>
                <a:cxn ang="0">
                  <a:pos x="134" y="68"/>
                </a:cxn>
                <a:cxn ang="0">
                  <a:pos x="134" y="54"/>
                </a:cxn>
                <a:cxn ang="0">
                  <a:pos x="130" y="42"/>
                </a:cxn>
                <a:cxn ang="0">
                  <a:pos x="124" y="30"/>
                </a:cxn>
                <a:cxn ang="0">
                  <a:pos x="116" y="20"/>
                </a:cxn>
                <a:cxn ang="0">
                  <a:pos x="106" y="12"/>
                </a:cxn>
                <a:cxn ang="0">
                  <a:pos x="94" y="6"/>
                </a:cxn>
                <a:cxn ang="0">
                  <a:pos x="82" y="2"/>
                </a:cxn>
                <a:cxn ang="0">
                  <a:pos x="68" y="0"/>
                </a:cxn>
              </a:cxnLst>
              <a:rect l="0" t="0" r="r" b="b"/>
              <a:pathLst>
                <a:path w="134" h="134">
                  <a:moveTo>
                    <a:pt x="68" y="0"/>
                  </a:moveTo>
                  <a:lnTo>
                    <a:pt x="68" y="0"/>
                  </a:lnTo>
                  <a:lnTo>
                    <a:pt x="54" y="2"/>
                  </a:lnTo>
                  <a:lnTo>
                    <a:pt x="42" y="6"/>
                  </a:lnTo>
                  <a:lnTo>
                    <a:pt x="30" y="12"/>
                  </a:lnTo>
                  <a:lnTo>
                    <a:pt x="20" y="20"/>
                  </a:lnTo>
                  <a:lnTo>
                    <a:pt x="12" y="30"/>
                  </a:lnTo>
                  <a:lnTo>
                    <a:pt x="6" y="42"/>
                  </a:lnTo>
                  <a:lnTo>
                    <a:pt x="2" y="54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80"/>
                  </a:lnTo>
                  <a:lnTo>
                    <a:pt x="6" y="94"/>
                  </a:lnTo>
                  <a:lnTo>
                    <a:pt x="12" y="104"/>
                  </a:lnTo>
                  <a:lnTo>
                    <a:pt x="20" y="114"/>
                  </a:lnTo>
                  <a:lnTo>
                    <a:pt x="30" y="124"/>
                  </a:lnTo>
                  <a:lnTo>
                    <a:pt x="42" y="130"/>
                  </a:lnTo>
                  <a:lnTo>
                    <a:pt x="54" y="134"/>
                  </a:lnTo>
                  <a:lnTo>
                    <a:pt x="68" y="134"/>
                  </a:lnTo>
                  <a:lnTo>
                    <a:pt x="68" y="134"/>
                  </a:lnTo>
                  <a:lnTo>
                    <a:pt x="82" y="134"/>
                  </a:lnTo>
                  <a:lnTo>
                    <a:pt x="94" y="130"/>
                  </a:lnTo>
                  <a:lnTo>
                    <a:pt x="106" y="124"/>
                  </a:lnTo>
                  <a:lnTo>
                    <a:pt x="116" y="114"/>
                  </a:lnTo>
                  <a:lnTo>
                    <a:pt x="124" y="104"/>
                  </a:lnTo>
                  <a:lnTo>
                    <a:pt x="130" y="94"/>
                  </a:lnTo>
                  <a:lnTo>
                    <a:pt x="134" y="80"/>
                  </a:lnTo>
                  <a:lnTo>
                    <a:pt x="134" y="68"/>
                  </a:lnTo>
                  <a:lnTo>
                    <a:pt x="134" y="68"/>
                  </a:lnTo>
                  <a:lnTo>
                    <a:pt x="134" y="54"/>
                  </a:lnTo>
                  <a:lnTo>
                    <a:pt x="130" y="42"/>
                  </a:lnTo>
                  <a:lnTo>
                    <a:pt x="124" y="30"/>
                  </a:lnTo>
                  <a:lnTo>
                    <a:pt x="116" y="20"/>
                  </a:lnTo>
                  <a:lnTo>
                    <a:pt x="106" y="12"/>
                  </a:lnTo>
                  <a:lnTo>
                    <a:pt x="94" y="6"/>
                  </a:lnTo>
                  <a:lnTo>
                    <a:pt x="82" y="2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59" name="Freeform 203"/>
            <p:cNvSpPr>
              <a:spLocks/>
            </p:cNvSpPr>
            <p:nvPr/>
          </p:nvSpPr>
          <p:spPr bwMode="auto">
            <a:xfrm>
              <a:off x="8456958" y="4772033"/>
              <a:ext cx="153657" cy="153657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68" y="0"/>
                </a:cxn>
                <a:cxn ang="0">
                  <a:pos x="54" y="2"/>
                </a:cxn>
                <a:cxn ang="0">
                  <a:pos x="42" y="6"/>
                </a:cxn>
                <a:cxn ang="0">
                  <a:pos x="30" y="12"/>
                </a:cxn>
                <a:cxn ang="0">
                  <a:pos x="20" y="20"/>
                </a:cxn>
                <a:cxn ang="0">
                  <a:pos x="12" y="30"/>
                </a:cxn>
                <a:cxn ang="0">
                  <a:pos x="6" y="42"/>
                </a:cxn>
                <a:cxn ang="0">
                  <a:pos x="2" y="54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2" y="80"/>
                </a:cxn>
                <a:cxn ang="0">
                  <a:pos x="6" y="94"/>
                </a:cxn>
                <a:cxn ang="0">
                  <a:pos x="12" y="104"/>
                </a:cxn>
                <a:cxn ang="0">
                  <a:pos x="20" y="114"/>
                </a:cxn>
                <a:cxn ang="0">
                  <a:pos x="30" y="124"/>
                </a:cxn>
                <a:cxn ang="0">
                  <a:pos x="42" y="130"/>
                </a:cxn>
                <a:cxn ang="0">
                  <a:pos x="54" y="134"/>
                </a:cxn>
                <a:cxn ang="0">
                  <a:pos x="68" y="134"/>
                </a:cxn>
                <a:cxn ang="0">
                  <a:pos x="68" y="134"/>
                </a:cxn>
                <a:cxn ang="0">
                  <a:pos x="82" y="134"/>
                </a:cxn>
                <a:cxn ang="0">
                  <a:pos x="94" y="130"/>
                </a:cxn>
                <a:cxn ang="0">
                  <a:pos x="106" y="124"/>
                </a:cxn>
                <a:cxn ang="0">
                  <a:pos x="116" y="114"/>
                </a:cxn>
                <a:cxn ang="0">
                  <a:pos x="124" y="104"/>
                </a:cxn>
                <a:cxn ang="0">
                  <a:pos x="130" y="94"/>
                </a:cxn>
                <a:cxn ang="0">
                  <a:pos x="134" y="80"/>
                </a:cxn>
                <a:cxn ang="0">
                  <a:pos x="134" y="68"/>
                </a:cxn>
                <a:cxn ang="0">
                  <a:pos x="134" y="68"/>
                </a:cxn>
                <a:cxn ang="0">
                  <a:pos x="134" y="54"/>
                </a:cxn>
                <a:cxn ang="0">
                  <a:pos x="130" y="42"/>
                </a:cxn>
                <a:cxn ang="0">
                  <a:pos x="124" y="30"/>
                </a:cxn>
                <a:cxn ang="0">
                  <a:pos x="116" y="20"/>
                </a:cxn>
                <a:cxn ang="0">
                  <a:pos x="106" y="12"/>
                </a:cxn>
                <a:cxn ang="0">
                  <a:pos x="94" y="6"/>
                </a:cxn>
                <a:cxn ang="0">
                  <a:pos x="82" y="2"/>
                </a:cxn>
                <a:cxn ang="0">
                  <a:pos x="68" y="0"/>
                </a:cxn>
              </a:cxnLst>
              <a:rect l="0" t="0" r="r" b="b"/>
              <a:pathLst>
                <a:path w="134" h="134">
                  <a:moveTo>
                    <a:pt x="68" y="0"/>
                  </a:moveTo>
                  <a:lnTo>
                    <a:pt x="68" y="0"/>
                  </a:lnTo>
                  <a:lnTo>
                    <a:pt x="54" y="2"/>
                  </a:lnTo>
                  <a:lnTo>
                    <a:pt x="42" y="6"/>
                  </a:lnTo>
                  <a:lnTo>
                    <a:pt x="30" y="12"/>
                  </a:lnTo>
                  <a:lnTo>
                    <a:pt x="20" y="20"/>
                  </a:lnTo>
                  <a:lnTo>
                    <a:pt x="12" y="30"/>
                  </a:lnTo>
                  <a:lnTo>
                    <a:pt x="6" y="42"/>
                  </a:lnTo>
                  <a:lnTo>
                    <a:pt x="2" y="54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80"/>
                  </a:lnTo>
                  <a:lnTo>
                    <a:pt x="6" y="94"/>
                  </a:lnTo>
                  <a:lnTo>
                    <a:pt x="12" y="104"/>
                  </a:lnTo>
                  <a:lnTo>
                    <a:pt x="20" y="114"/>
                  </a:lnTo>
                  <a:lnTo>
                    <a:pt x="30" y="124"/>
                  </a:lnTo>
                  <a:lnTo>
                    <a:pt x="42" y="130"/>
                  </a:lnTo>
                  <a:lnTo>
                    <a:pt x="54" y="134"/>
                  </a:lnTo>
                  <a:lnTo>
                    <a:pt x="68" y="134"/>
                  </a:lnTo>
                  <a:lnTo>
                    <a:pt x="68" y="134"/>
                  </a:lnTo>
                  <a:lnTo>
                    <a:pt x="82" y="134"/>
                  </a:lnTo>
                  <a:lnTo>
                    <a:pt x="94" y="130"/>
                  </a:lnTo>
                  <a:lnTo>
                    <a:pt x="106" y="124"/>
                  </a:lnTo>
                  <a:lnTo>
                    <a:pt x="116" y="114"/>
                  </a:lnTo>
                  <a:lnTo>
                    <a:pt x="124" y="104"/>
                  </a:lnTo>
                  <a:lnTo>
                    <a:pt x="130" y="94"/>
                  </a:lnTo>
                  <a:lnTo>
                    <a:pt x="134" y="80"/>
                  </a:lnTo>
                  <a:lnTo>
                    <a:pt x="134" y="68"/>
                  </a:lnTo>
                  <a:lnTo>
                    <a:pt x="134" y="68"/>
                  </a:lnTo>
                  <a:lnTo>
                    <a:pt x="134" y="54"/>
                  </a:lnTo>
                  <a:lnTo>
                    <a:pt x="130" y="42"/>
                  </a:lnTo>
                  <a:lnTo>
                    <a:pt x="124" y="30"/>
                  </a:lnTo>
                  <a:lnTo>
                    <a:pt x="116" y="20"/>
                  </a:lnTo>
                  <a:lnTo>
                    <a:pt x="106" y="12"/>
                  </a:lnTo>
                  <a:lnTo>
                    <a:pt x="94" y="6"/>
                  </a:lnTo>
                  <a:lnTo>
                    <a:pt x="82" y="2"/>
                  </a:lnTo>
                  <a:lnTo>
                    <a:pt x="68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60" name="Freeform 204"/>
            <p:cNvSpPr>
              <a:spLocks/>
            </p:cNvSpPr>
            <p:nvPr/>
          </p:nvSpPr>
          <p:spPr bwMode="auto">
            <a:xfrm>
              <a:off x="6950198" y="5847635"/>
              <a:ext cx="153657" cy="153657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0"/>
                </a:cxn>
                <a:cxn ang="0">
                  <a:pos x="52" y="2"/>
                </a:cxn>
                <a:cxn ang="0">
                  <a:pos x="40" y="6"/>
                </a:cxn>
                <a:cxn ang="0">
                  <a:pos x="28" y="12"/>
                </a:cxn>
                <a:cxn ang="0">
                  <a:pos x="20" y="20"/>
                </a:cxn>
                <a:cxn ang="0">
                  <a:pos x="10" y="30"/>
                </a:cxn>
                <a:cxn ang="0">
                  <a:pos x="4" y="42"/>
                </a:cxn>
                <a:cxn ang="0">
                  <a:pos x="0" y="54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0" y="80"/>
                </a:cxn>
                <a:cxn ang="0">
                  <a:pos x="4" y="94"/>
                </a:cxn>
                <a:cxn ang="0">
                  <a:pos x="10" y="104"/>
                </a:cxn>
                <a:cxn ang="0">
                  <a:pos x="20" y="114"/>
                </a:cxn>
                <a:cxn ang="0">
                  <a:pos x="28" y="122"/>
                </a:cxn>
                <a:cxn ang="0">
                  <a:pos x="40" y="130"/>
                </a:cxn>
                <a:cxn ang="0">
                  <a:pos x="52" y="134"/>
                </a:cxn>
                <a:cxn ang="0">
                  <a:pos x="66" y="134"/>
                </a:cxn>
                <a:cxn ang="0">
                  <a:pos x="66" y="134"/>
                </a:cxn>
                <a:cxn ang="0">
                  <a:pos x="80" y="134"/>
                </a:cxn>
                <a:cxn ang="0">
                  <a:pos x="92" y="130"/>
                </a:cxn>
                <a:cxn ang="0">
                  <a:pos x="104" y="122"/>
                </a:cxn>
                <a:cxn ang="0">
                  <a:pos x="114" y="114"/>
                </a:cxn>
                <a:cxn ang="0">
                  <a:pos x="122" y="104"/>
                </a:cxn>
                <a:cxn ang="0">
                  <a:pos x="128" y="94"/>
                </a:cxn>
                <a:cxn ang="0">
                  <a:pos x="132" y="80"/>
                </a:cxn>
                <a:cxn ang="0">
                  <a:pos x="134" y="68"/>
                </a:cxn>
                <a:cxn ang="0">
                  <a:pos x="134" y="68"/>
                </a:cxn>
                <a:cxn ang="0">
                  <a:pos x="132" y="54"/>
                </a:cxn>
                <a:cxn ang="0">
                  <a:pos x="128" y="42"/>
                </a:cxn>
                <a:cxn ang="0">
                  <a:pos x="122" y="30"/>
                </a:cxn>
                <a:cxn ang="0">
                  <a:pos x="114" y="20"/>
                </a:cxn>
                <a:cxn ang="0">
                  <a:pos x="104" y="12"/>
                </a:cxn>
                <a:cxn ang="0">
                  <a:pos x="92" y="6"/>
                </a:cxn>
                <a:cxn ang="0">
                  <a:pos x="80" y="2"/>
                </a:cxn>
                <a:cxn ang="0">
                  <a:pos x="66" y="0"/>
                </a:cxn>
              </a:cxnLst>
              <a:rect l="0" t="0" r="r" b="b"/>
              <a:pathLst>
                <a:path w="134" h="134">
                  <a:moveTo>
                    <a:pt x="66" y="0"/>
                  </a:moveTo>
                  <a:lnTo>
                    <a:pt x="66" y="0"/>
                  </a:lnTo>
                  <a:lnTo>
                    <a:pt x="52" y="2"/>
                  </a:lnTo>
                  <a:lnTo>
                    <a:pt x="40" y="6"/>
                  </a:lnTo>
                  <a:lnTo>
                    <a:pt x="28" y="12"/>
                  </a:lnTo>
                  <a:lnTo>
                    <a:pt x="20" y="20"/>
                  </a:lnTo>
                  <a:lnTo>
                    <a:pt x="10" y="30"/>
                  </a:lnTo>
                  <a:lnTo>
                    <a:pt x="4" y="42"/>
                  </a:lnTo>
                  <a:lnTo>
                    <a:pt x="0" y="54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80"/>
                  </a:lnTo>
                  <a:lnTo>
                    <a:pt x="4" y="94"/>
                  </a:lnTo>
                  <a:lnTo>
                    <a:pt x="10" y="104"/>
                  </a:lnTo>
                  <a:lnTo>
                    <a:pt x="20" y="114"/>
                  </a:lnTo>
                  <a:lnTo>
                    <a:pt x="28" y="122"/>
                  </a:lnTo>
                  <a:lnTo>
                    <a:pt x="40" y="130"/>
                  </a:lnTo>
                  <a:lnTo>
                    <a:pt x="52" y="134"/>
                  </a:lnTo>
                  <a:lnTo>
                    <a:pt x="66" y="134"/>
                  </a:lnTo>
                  <a:lnTo>
                    <a:pt x="66" y="134"/>
                  </a:lnTo>
                  <a:lnTo>
                    <a:pt x="80" y="134"/>
                  </a:lnTo>
                  <a:lnTo>
                    <a:pt x="92" y="130"/>
                  </a:lnTo>
                  <a:lnTo>
                    <a:pt x="104" y="122"/>
                  </a:lnTo>
                  <a:lnTo>
                    <a:pt x="114" y="114"/>
                  </a:lnTo>
                  <a:lnTo>
                    <a:pt x="122" y="104"/>
                  </a:lnTo>
                  <a:lnTo>
                    <a:pt x="128" y="94"/>
                  </a:lnTo>
                  <a:lnTo>
                    <a:pt x="132" y="80"/>
                  </a:lnTo>
                  <a:lnTo>
                    <a:pt x="134" y="68"/>
                  </a:lnTo>
                  <a:lnTo>
                    <a:pt x="134" y="68"/>
                  </a:lnTo>
                  <a:lnTo>
                    <a:pt x="132" y="54"/>
                  </a:lnTo>
                  <a:lnTo>
                    <a:pt x="128" y="42"/>
                  </a:lnTo>
                  <a:lnTo>
                    <a:pt x="122" y="30"/>
                  </a:lnTo>
                  <a:lnTo>
                    <a:pt x="114" y="20"/>
                  </a:lnTo>
                  <a:lnTo>
                    <a:pt x="104" y="12"/>
                  </a:lnTo>
                  <a:lnTo>
                    <a:pt x="92" y="6"/>
                  </a:lnTo>
                  <a:lnTo>
                    <a:pt x="80" y="2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61" name="Freeform 205"/>
            <p:cNvSpPr>
              <a:spLocks/>
            </p:cNvSpPr>
            <p:nvPr/>
          </p:nvSpPr>
          <p:spPr bwMode="auto">
            <a:xfrm>
              <a:off x="6950198" y="5847635"/>
              <a:ext cx="153657" cy="153657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0"/>
                </a:cxn>
                <a:cxn ang="0">
                  <a:pos x="52" y="2"/>
                </a:cxn>
                <a:cxn ang="0">
                  <a:pos x="40" y="6"/>
                </a:cxn>
                <a:cxn ang="0">
                  <a:pos x="28" y="12"/>
                </a:cxn>
                <a:cxn ang="0">
                  <a:pos x="20" y="20"/>
                </a:cxn>
                <a:cxn ang="0">
                  <a:pos x="10" y="30"/>
                </a:cxn>
                <a:cxn ang="0">
                  <a:pos x="4" y="42"/>
                </a:cxn>
                <a:cxn ang="0">
                  <a:pos x="0" y="54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0" y="80"/>
                </a:cxn>
                <a:cxn ang="0">
                  <a:pos x="4" y="94"/>
                </a:cxn>
                <a:cxn ang="0">
                  <a:pos x="10" y="104"/>
                </a:cxn>
                <a:cxn ang="0">
                  <a:pos x="20" y="114"/>
                </a:cxn>
                <a:cxn ang="0">
                  <a:pos x="28" y="122"/>
                </a:cxn>
                <a:cxn ang="0">
                  <a:pos x="40" y="130"/>
                </a:cxn>
                <a:cxn ang="0">
                  <a:pos x="52" y="134"/>
                </a:cxn>
                <a:cxn ang="0">
                  <a:pos x="66" y="134"/>
                </a:cxn>
                <a:cxn ang="0">
                  <a:pos x="66" y="134"/>
                </a:cxn>
                <a:cxn ang="0">
                  <a:pos x="80" y="134"/>
                </a:cxn>
                <a:cxn ang="0">
                  <a:pos x="92" y="130"/>
                </a:cxn>
                <a:cxn ang="0">
                  <a:pos x="104" y="122"/>
                </a:cxn>
                <a:cxn ang="0">
                  <a:pos x="114" y="114"/>
                </a:cxn>
                <a:cxn ang="0">
                  <a:pos x="122" y="104"/>
                </a:cxn>
                <a:cxn ang="0">
                  <a:pos x="128" y="94"/>
                </a:cxn>
                <a:cxn ang="0">
                  <a:pos x="132" y="80"/>
                </a:cxn>
                <a:cxn ang="0">
                  <a:pos x="134" y="68"/>
                </a:cxn>
                <a:cxn ang="0">
                  <a:pos x="134" y="68"/>
                </a:cxn>
                <a:cxn ang="0">
                  <a:pos x="132" y="54"/>
                </a:cxn>
                <a:cxn ang="0">
                  <a:pos x="128" y="42"/>
                </a:cxn>
                <a:cxn ang="0">
                  <a:pos x="122" y="30"/>
                </a:cxn>
                <a:cxn ang="0">
                  <a:pos x="114" y="20"/>
                </a:cxn>
                <a:cxn ang="0">
                  <a:pos x="104" y="12"/>
                </a:cxn>
                <a:cxn ang="0">
                  <a:pos x="92" y="6"/>
                </a:cxn>
                <a:cxn ang="0">
                  <a:pos x="80" y="2"/>
                </a:cxn>
                <a:cxn ang="0">
                  <a:pos x="66" y="0"/>
                </a:cxn>
              </a:cxnLst>
              <a:rect l="0" t="0" r="r" b="b"/>
              <a:pathLst>
                <a:path w="134" h="134">
                  <a:moveTo>
                    <a:pt x="66" y="0"/>
                  </a:moveTo>
                  <a:lnTo>
                    <a:pt x="66" y="0"/>
                  </a:lnTo>
                  <a:lnTo>
                    <a:pt x="52" y="2"/>
                  </a:lnTo>
                  <a:lnTo>
                    <a:pt x="40" y="6"/>
                  </a:lnTo>
                  <a:lnTo>
                    <a:pt x="28" y="12"/>
                  </a:lnTo>
                  <a:lnTo>
                    <a:pt x="20" y="20"/>
                  </a:lnTo>
                  <a:lnTo>
                    <a:pt x="10" y="30"/>
                  </a:lnTo>
                  <a:lnTo>
                    <a:pt x="4" y="42"/>
                  </a:lnTo>
                  <a:lnTo>
                    <a:pt x="0" y="54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80"/>
                  </a:lnTo>
                  <a:lnTo>
                    <a:pt x="4" y="94"/>
                  </a:lnTo>
                  <a:lnTo>
                    <a:pt x="10" y="104"/>
                  </a:lnTo>
                  <a:lnTo>
                    <a:pt x="20" y="114"/>
                  </a:lnTo>
                  <a:lnTo>
                    <a:pt x="28" y="122"/>
                  </a:lnTo>
                  <a:lnTo>
                    <a:pt x="40" y="130"/>
                  </a:lnTo>
                  <a:lnTo>
                    <a:pt x="52" y="134"/>
                  </a:lnTo>
                  <a:lnTo>
                    <a:pt x="66" y="134"/>
                  </a:lnTo>
                  <a:lnTo>
                    <a:pt x="66" y="134"/>
                  </a:lnTo>
                  <a:lnTo>
                    <a:pt x="80" y="134"/>
                  </a:lnTo>
                  <a:lnTo>
                    <a:pt x="92" y="130"/>
                  </a:lnTo>
                  <a:lnTo>
                    <a:pt x="104" y="122"/>
                  </a:lnTo>
                  <a:lnTo>
                    <a:pt x="114" y="114"/>
                  </a:lnTo>
                  <a:lnTo>
                    <a:pt x="122" y="104"/>
                  </a:lnTo>
                  <a:lnTo>
                    <a:pt x="128" y="94"/>
                  </a:lnTo>
                  <a:lnTo>
                    <a:pt x="132" y="80"/>
                  </a:lnTo>
                  <a:lnTo>
                    <a:pt x="134" y="68"/>
                  </a:lnTo>
                  <a:lnTo>
                    <a:pt x="134" y="68"/>
                  </a:lnTo>
                  <a:lnTo>
                    <a:pt x="132" y="54"/>
                  </a:lnTo>
                  <a:lnTo>
                    <a:pt x="128" y="42"/>
                  </a:lnTo>
                  <a:lnTo>
                    <a:pt x="122" y="30"/>
                  </a:lnTo>
                  <a:lnTo>
                    <a:pt x="114" y="20"/>
                  </a:lnTo>
                  <a:lnTo>
                    <a:pt x="104" y="12"/>
                  </a:lnTo>
                  <a:lnTo>
                    <a:pt x="92" y="6"/>
                  </a:lnTo>
                  <a:lnTo>
                    <a:pt x="80" y="2"/>
                  </a:lnTo>
                  <a:lnTo>
                    <a:pt x="66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62" name="Freeform 207"/>
            <p:cNvSpPr>
              <a:spLocks/>
            </p:cNvSpPr>
            <p:nvPr/>
          </p:nvSpPr>
          <p:spPr bwMode="auto">
            <a:xfrm>
              <a:off x="7512080" y="5466931"/>
              <a:ext cx="288968" cy="288968"/>
            </a:xfrm>
            <a:custGeom>
              <a:avLst/>
              <a:gdLst/>
              <a:ahLst/>
              <a:cxnLst>
                <a:cxn ang="0">
                  <a:pos x="126" y="0"/>
                </a:cxn>
                <a:cxn ang="0">
                  <a:pos x="126" y="0"/>
                </a:cxn>
                <a:cxn ang="0">
                  <a:pos x="114" y="2"/>
                </a:cxn>
                <a:cxn ang="0">
                  <a:pos x="102" y="4"/>
                </a:cxn>
                <a:cxn ang="0">
                  <a:pos x="90" y="6"/>
                </a:cxn>
                <a:cxn ang="0">
                  <a:pos x="78" y="10"/>
                </a:cxn>
                <a:cxn ang="0">
                  <a:pos x="56" y="22"/>
                </a:cxn>
                <a:cxn ang="0">
                  <a:pos x="38" y="38"/>
                </a:cxn>
                <a:cxn ang="0">
                  <a:pos x="22" y="56"/>
                </a:cxn>
                <a:cxn ang="0">
                  <a:pos x="10" y="78"/>
                </a:cxn>
                <a:cxn ang="0">
                  <a:pos x="6" y="88"/>
                </a:cxn>
                <a:cxn ang="0">
                  <a:pos x="4" y="100"/>
                </a:cxn>
                <a:cxn ang="0">
                  <a:pos x="2" y="114"/>
                </a:cxn>
                <a:cxn ang="0">
                  <a:pos x="0" y="126"/>
                </a:cxn>
                <a:cxn ang="0">
                  <a:pos x="0" y="126"/>
                </a:cxn>
                <a:cxn ang="0">
                  <a:pos x="2" y="140"/>
                </a:cxn>
                <a:cxn ang="0">
                  <a:pos x="4" y="152"/>
                </a:cxn>
                <a:cxn ang="0">
                  <a:pos x="6" y="164"/>
                </a:cxn>
                <a:cxn ang="0">
                  <a:pos x="10" y="176"/>
                </a:cxn>
                <a:cxn ang="0">
                  <a:pos x="22" y="196"/>
                </a:cxn>
                <a:cxn ang="0">
                  <a:pos x="38" y="216"/>
                </a:cxn>
                <a:cxn ang="0">
                  <a:pos x="56" y="230"/>
                </a:cxn>
                <a:cxn ang="0">
                  <a:pos x="78" y="242"/>
                </a:cxn>
                <a:cxn ang="0">
                  <a:pos x="90" y="246"/>
                </a:cxn>
                <a:cxn ang="0">
                  <a:pos x="102" y="250"/>
                </a:cxn>
                <a:cxn ang="0">
                  <a:pos x="114" y="252"/>
                </a:cxn>
                <a:cxn ang="0">
                  <a:pos x="126" y="252"/>
                </a:cxn>
                <a:cxn ang="0">
                  <a:pos x="126" y="252"/>
                </a:cxn>
                <a:cxn ang="0">
                  <a:pos x="140" y="252"/>
                </a:cxn>
                <a:cxn ang="0">
                  <a:pos x="152" y="250"/>
                </a:cxn>
                <a:cxn ang="0">
                  <a:pos x="164" y="246"/>
                </a:cxn>
                <a:cxn ang="0">
                  <a:pos x="176" y="242"/>
                </a:cxn>
                <a:cxn ang="0">
                  <a:pos x="196" y="230"/>
                </a:cxn>
                <a:cxn ang="0">
                  <a:pos x="216" y="216"/>
                </a:cxn>
                <a:cxn ang="0">
                  <a:pos x="230" y="196"/>
                </a:cxn>
                <a:cxn ang="0">
                  <a:pos x="242" y="176"/>
                </a:cxn>
                <a:cxn ang="0">
                  <a:pos x="246" y="164"/>
                </a:cxn>
                <a:cxn ang="0">
                  <a:pos x="250" y="152"/>
                </a:cxn>
                <a:cxn ang="0">
                  <a:pos x="252" y="140"/>
                </a:cxn>
                <a:cxn ang="0">
                  <a:pos x="252" y="126"/>
                </a:cxn>
                <a:cxn ang="0">
                  <a:pos x="252" y="126"/>
                </a:cxn>
                <a:cxn ang="0">
                  <a:pos x="252" y="114"/>
                </a:cxn>
                <a:cxn ang="0">
                  <a:pos x="250" y="100"/>
                </a:cxn>
                <a:cxn ang="0">
                  <a:pos x="246" y="88"/>
                </a:cxn>
                <a:cxn ang="0">
                  <a:pos x="242" y="78"/>
                </a:cxn>
                <a:cxn ang="0">
                  <a:pos x="230" y="56"/>
                </a:cxn>
                <a:cxn ang="0">
                  <a:pos x="216" y="38"/>
                </a:cxn>
                <a:cxn ang="0">
                  <a:pos x="196" y="22"/>
                </a:cxn>
                <a:cxn ang="0">
                  <a:pos x="176" y="10"/>
                </a:cxn>
                <a:cxn ang="0">
                  <a:pos x="164" y="6"/>
                </a:cxn>
                <a:cxn ang="0">
                  <a:pos x="152" y="4"/>
                </a:cxn>
                <a:cxn ang="0">
                  <a:pos x="140" y="2"/>
                </a:cxn>
                <a:cxn ang="0">
                  <a:pos x="126" y="0"/>
                </a:cxn>
              </a:cxnLst>
              <a:rect l="0" t="0" r="r" b="b"/>
              <a:pathLst>
                <a:path w="252" h="252">
                  <a:moveTo>
                    <a:pt x="126" y="0"/>
                  </a:moveTo>
                  <a:lnTo>
                    <a:pt x="126" y="0"/>
                  </a:lnTo>
                  <a:lnTo>
                    <a:pt x="114" y="2"/>
                  </a:lnTo>
                  <a:lnTo>
                    <a:pt x="102" y="4"/>
                  </a:lnTo>
                  <a:lnTo>
                    <a:pt x="90" y="6"/>
                  </a:lnTo>
                  <a:lnTo>
                    <a:pt x="78" y="10"/>
                  </a:lnTo>
                  <a:lnTo>
                    <a:pt x="56" y="22"/>
                  </a:lnTo>
                  <a:lnTo>
                    <a:pt x="38" y="38"/>
                  </a:lnTo>
                  <a:lnTo>
                    <a:pt x="22" y="56"/>
                  </a:lnTo>
                  <a:lnTo>
                    <a:pt x="10" y="78"/>
                  </a:lnTo>
                  <a:lnTo>
                    <a:pt x="6" y="88"/>
                  </a:lnTo>
                  <a:lnTo>
                    <a:pt x="4" y="100"/>
                  </a:lnTo>
                  <a:lnTo>
                    <a:pt x="2" y="114"/>
                  </a:lnTo>
                  <a:lnTo>
                    <a:pt x="0" y="126"/>
                  </a:lnTo>
                  <a:lnTo>
                    <a:pt x="0" y="126"/>
                  </a:lnTo>
                  <a:lnTo>
                    <a:pt x="2" y="140"/>
                  </a:lnTo>
                  <a:lnTo>
                    <a:pt x="4" y="152"/>
                  </a:lnTo>
                  <a:lnTo>
                    <a:pt x="6" y="164"/>
                  </a:lnTo>
                  <a:lnTo>
                    <a:pt x="10" y="176"/>
                  </a:lnTo>
                  <a:lnTo>
                    <a:pt x="22" y="196"/>
                  </a:lnTo>
                  <a:lnTo>
                    <a:pt x="38" y="216"/>
                  </a:lnTo>
                  <a:lnTo>
                    <a:pt x="56" y="230"/>
                  </a:lnTo>
                  <a:lnTo>
                    <a:pt x="78" y="242"/>
                  </a:lnTo>
                  <a:lnTo>
                    <a:pt x="90" y="246"/>
                  </a:lnTo>
                  <a:lnTo>
                    <a:pt x="102" y="250"/>
                  </a:lnTo>
                  <a:lnTo>
                    <a:pt x="114" y="252"/>
                  </a:lnTo>
                  <a:lnTo>
                    <a:pt x="126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52" y="250"/>
                  </a:lnTo>
                  <a:lnTo>
                    <a:pt x="164" y="246"/>
                  </a:lnTo>
                  <a:lnTo>
                    <a:pt x="176" y="242"/>
                  </a:lnTo>
                  <a:lnTo>
                    <a:pt x="196" y="230"/>
                  </a:lnTo>
                  <a:lnTo>
                    <a:pt x="216" y="216"/>
                  </a:lnTo>
                  <a:lnTo>
                    <a:pt x="230" y="196"/>
                  </a:lnTo>
                  <a:lnTo>
                    <a:pt x="242" y="176"/>
                  </a:lnTo>
                  <a:lnTo>
                    <a:pt x="246" y="164"/>
                  </a:lnTo>
                  <a:lnTo>
                    <a:pt x="250" y="152"/>
                  </a:lnTo>
                  <a:lnTo>
                    <a:pt x="252" y="140"/>
                  </a:lnTo>
                  <a:lnTo>
                    <a:pt x="252" y="126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50" y="100"/>
                  </a:lnTo>
                  <a:lnTo>
                    <a:pt x="246" y="88"/>
                  </a:lnTo>
                  <a:lnTo>
                    <a:pt x="242" y="78"/>
                  </a:lnTo>
                  <a:lnTo>
                    <a:pt x="230" y="56"/>
                  </a:lnTo>
                  <a:lnTo>
                    <a:pt x="216" y="38"/>
                  </a:lnTo>
                  <a:lnTo>
                    <a:pt x="196" y="22"/>
                  </a:lnTo>
                  <a:lnTo>
                    <a:pt x="176" y="10"/>
                  </a:lnTo>
                  <a:lnTo>
                    <a:pt x="164" y="6"/>
                  </a:lnTo>
                  <a:lnTo>
                    <a:pt x="152" y="4"/>
                  </a:lnTo>
                  <a:lnTo>
                    <a:pt x="140" y="2"/>
                  </a:lnTo>
                  <a:lnTo>
                    <a:pt x="126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63" name="Freeform 208"/>
            <p:cNvSpPr>
              <a:spLocks/>
            </p:cNvSpPr>
            <p:nvPr/>
          </p:nvSpPr>
          <p:spPr bwMode="auto">
            <a:xfrm>
              <a:off x="8846835" y="5563254"/>
              <a:ext cx="153657" cy="153657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68" y="0"/>
                </a:cxn>
                <a:cxn ang="0">
                  <a:pos x="54" y="2"/>
                </a:cxn>
                <a:cxn ang="0">
                  <a:pos x="42" y="6"/>
                </a:cxn>
                <a:cxn ang="0">
                  <a:pos x="30" y="12"/>
                </a:cxn>
                <a:cxn ang="0">
                  <a:pos x="20" y="20"/>
                </a:cxn>
                <a:cxn ang="0">
                  <a:pos x="12" y="30"/>
                </a:cxn>
                <a:cxn ang="0">
                  <a:pos x="6" y="42"/>
                </a:cxn>
                <a:cxn ang="0">
                  <a:pos x="2" y="54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2" y="80"/>
                </a:cxn>
                <a:cxn ang="0">
                  <a:pos x="6" y="94"/>
                </a:cxn>
                <a:cxn ang="0">
                  <a:pos x="12" y="104"/>
                </a:cxn>
                <a:cxn ang="0">
                  <a:pos x="20" y="114"/>
                </a:cxn>
                <a:cxn ang="0">
                  <a:pos x="30" y="122"/>
                </a:cxn>
                <a:cxn ang="0">
                  <a:pos x="42" y="130"/>
                </a:cxn>
                <a:cxn ang="0">
                  <a:pos x="54" y="132"/>
                </a:cxn>
                <a:cxn ang="0">
                  <a:pos x="68" y="134"/>
                </a:cxn>
                <a:cxn ang="0">
                  <a:pos x="68" y="134"/>
                </a:cxn>
                <a:cxn ang="0">
                  <a:pos x="82" y="132"/>
                </a:cxn>
                <a:cxn ang="0">
                  <a:pos x="94" y="130"/>
                </a:cxn>
                <a:cxn ang="0">
                  <a:pos x="106" y="122"/>
                </a:cxn>
                <a:cxn ang="0">
                  <a:pos x="116" y="114"/>
                </a:cxn>
                <a:cxn ang="0">
                  <a:pos x="124" y="104"/>
                </a:cxn>
                <a:cxn ang="0">
                  <a:pos x="130" y="94"/>
                </a:cxn>
                <a:cxn ang="0">
                  <a:pos x="134" y="80"/>
                </a:cxn>
                <a:cxn ang="0">
                  <a:pos x="134" y="68"/>
                </a:cxn>
                <a:cxn ang="0">
                  <a:pos x="134" y="68"/>
                </a:cxn>
                <a:cxn ang="0">
                  <a:pos x="134" y="54"/>
                </a:cxn>
                <a:cxn ang="0">
                  <a:pos x="130" y="42"/>
                </a:cxn>
                <a:cxn ang="0">
                  <a:pos x="124" y="30"/>
                </a:cxn>
                <a:cxn ang="0">
                  <a:pos x="116" y="20"/>
                </a:cxn>
                <a:cxn ang="0">
                  <a:pos x="106" y="12"/>
                </a:cxn>
                <a:cxn ang="0">
                  <a:pos x="94" y="6"/>
                </a:cxn>
                <a:cxn ang="0">
                  <a:pos x="82" y="2"/>
                </a:cxn>
                <a:cxn ang="0">
                  <a:pos x="68" y="0"/>
                </a:cxn>
              </a:cxnLst>
              <a:rect l="0" t="0" r="r" b="b"/>
              <a:pathLst>
                <a:path w="134" h="134">
                  <a:moveTo>
                    <a:pt x="68" y="0"/>
                  </a:moveTo>
                  <a:lnTo>
                    <a:pt x="68" y="0"/>
                  </a:lnTo>
                  <a:lnTo>
                    <a:pt x="54" y="2"/>
                  </a:lnTo>
                  <a:lnTo>
                    <a:pt x="42" y="6"/>
                  </a:lnTo>
                  <a:lnTo>
                    <a:pt x="30" y="12"/>
                  </a:lnTo>
                  <a:lnTo>
                    <a:pt x="20" y="20"/>
                  </a:lnTo>
                  <a:lnTo>
                    <a:pt x="12" y="30"/>
                  </a:lnTo>
                  <a:lnTo>
                    <a:pt x="6" y="42"/>
                  </a:lnTo>
                  <a:lnTo>
                    <a:pt x="2" y="54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80"/>
                  </a:lnTo>
                  <a:lnTo>
                    <a:pt x="6" y="94"/>
                  </a:lnTo>
                  <a:lnTo>
                    <a:pt x="12" y="104"/>
                  </a:lnTo>
                  <a:lnTo>
                    <a:pt x="20" y="114"/>
                  </a:lnTo>
                  <a:lnTo>
                    <a:pt x="30" y="122"/>
                  </a:lnTo>
                  <a:lnTo>
                    <a:pt x="42" y="130"/>
                  </a:lnTo>
                  <a:lnTo>
                    <a:pt x="54" y="132"/>
                  </a:lnTo>
                  <a:lnTo>
                    <a:pt x="68" y="134"/>
                  </a:lnTo>
                  <a:lnTo>
                    <a:pt x="68" y="134"/>
                  </a:lnTo>
                  <a:lnTo>
                    <a:pt x="82" y="132"/>
                  </a:lnTo>
                  <a:lnTo>
                    <a:pt x="94" y="130"/>
                  </a:lnTo>
                  <a:lnTo>
                    <a:pt x="106" y="122"/>
                  </a:lnTo>
                  <a:lnTo>
                    <a:pt x="116" y="114"/>
                  </a:lnTo>
                  <a:lnTo>
                    <a:pt x="124" y="104"/>
                  </a:lnTo>
                  <a:lnTo>
                    <a:pt x="130" y="94"/>
                  </a:lnTo>
                  <a:lnTo>
                    <a:pt x="134" y="80"/>
                  </a:lnTo>
                  <a:lnTo>
                    <a:pt x="134" y="68"/>
                  </a:lnTo>
                  <a:lnTo>
                    <a:pt x="134" y="68"/>
                  </a:lnTo>
                  <a:lnTo>
                    <a:pt x="134" y="54"/>
                  </a:lnTo>
                  <a:lnTo>
                    <a:pt x="130" y="42"/>
                  </a:lnTo>
                  <a:lnTo>
                    <a:pt x="124" y="30"/>
                  </a:lnTo>
                  <a:lnTo>
                    <a:pt x="116" y="20"/>
                  </a:lnTo>
                  <a:lnTo>
                    <a:pt x="106" y="12"/>
                  </a:lnTo>
                  <a:lnTo>
                    <a:pt x="94" y="6"/>
                  </a:lnTo>
                  <a:lnTo>
                    <a:pt x="82" y="2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64" name="Freeform 209"/>
            <p:cNvSpPr>
              <a:spLocks/>
            </p:cNvSpPr>
            <p:nvPr/>
          </p:nvSpPr>
          <p:spPr bwMode="auto">
            <a:xfrm>
              <a:off x="8846835" y="5563254"/>
              <a:ext cx="153657" cy="153657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68" y="0"/>
                </a:cxn>
                <a:cxn ang="0">
                  <a:pos x="54" y="2"/>
                </a:cxn>
                <a:cxn ang="0">
                  <a:pos x="42" y="6"/>
                </a:cxn>
                <a:cxn ang="0">
                  <a:pos x="30" y="12"/>
                </a:cxn>
                <a:cxn ang="0">
                  <a:pos x="20" y="20"/>
                </a:cxn>
                <a:cxn ang="0">
                  <a:pos x="12" y="30"/>
                </a:cxn>
                <a:cxn ang="0">
                  <a:pos x="6" y="42"/>
                </a:cxn>
                <a:cxn ang="0">
                  <a:pos x="2" y="54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2" y="80"/>
                </a:cxn>
                <a:cxn ang="0">
                  <a:pos x="6" y="94"/>
                </a:cxn>
                <a:cxn ang="0">
                  <a:pos x="12" y="104"/>
                </a:cxn>
                <a:cxn ang="0">
                  <a:pos x="20" y="114"/>
                </a:cxn>
                <a:cxn ang="0">
                  <a:pos x="30" y="122"/>
                </a:cxn>
                <a:cxn ang="0">
                  <a:pos x="42" y="130"/>
                </a:cxn>
                <a:cxn ang="0">
                  <a:pos x="54" y="132"/>
                </a:cxn>
                <a:cxn ang="0">
                  <a:pos x="68" y="134"/>
                </a:cxn>
                <a:cxn ang="0">
                  <a:pos x="68" y="134"/>
                </a:cxn>
                <a:cxn ang="0">
                  <a:pos x="82" y="132"/>
                </a:cxn>
                <a:cxn ang="0">
                  <a:pos x="94" y="130"/>
                </a:cxn>
                <a:cxn ang="0">
                  <a:pos x="106" y="122"/>
                </a:cxn>
                <a:cxn ang="0">
                  <a:pos x="116" y="114"/>
                </a:cxn>
                <a:cxn ang="0">
                  <a:pos x="124" y="104"/>
                </a:cxn>
                <a:cxn ang="0">
                  <a:pos x="130" y="94"/>
                </a:cxn>
                <a:cxn ang="0">
                  <a:pos x="134" y="80"/>
                </a:cxn>
                <a:cxn ang="0">
                  <a:pos x="134" y="68"/>
                </a:cxn>
                <a:cxn ang="0">
                  <a:pos x="134" y="68"/>
                </a:cxn>
                <a:cxn ang="0">
                  <a:pos x="134" y="54"/>
                </a:cxn>
                <a:cxn ang="0">
                  <a:pos x="130" y="42"/>
                </a:cxn>
                <a:cxn ang="0">
                  <a:pos x="124" y="30"/>
                </a:cxn>
                <a:cxn ang="0">
                  <a:pos x="116" y="20"/>
                </a:cxn>
                <a:cxn ang="0">
                  <a:pos x="106" y="12"/>
                </a:cxn>
                <a:cxn ang="0">
                  <a:pos x="94" y="6"/>
                </a:cxn>
                <a:cxn ang="0">
                  <a:pos x="82" y="2"/>
                </a:cxn>
                <a:cxn ang="0">
                  <a:pos x="68" y="0"/>
                </a:cxn>
              </a:cxnLst>
              <a:rect l="0" t="0" r="r" b="b"/>
              <a:pathLst>
                <a:path w="134" h="134">
                  <a:moveTo>
                    <a:pt x="68" y="0"/>
                  </a:moveTo>
                  <a:lnTo>
                    <a:pt x="68" y="0"/>
                  </a:lnTo>
                  <a:lnTo>
                    <a:pt x="54" y="2"/>
                  </a:lnTo>
                  <a:lnTo>
                    <a:pt x="42" y="6"/>
                  </a:lnTo>
                  <a:lnTo>
                    <a:pt x="30" y="12"/>
                  </a:lnTo>
                  <a:lnTo>
                    <a:pt x="20" y="20"/>
                  </a:lnTo>
                  <a:lnTo>
                    <a:pt x="12" y="30"/>
                  </a:lnTo>
                  <a:lnTo>
                    <a:pt x="6" y="42"/>
                  </a:lnTo>
                  <a:lnTo>
                    <a:pt x="2" y="54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80"/>
                  </a:lnTo>
                  <a:lnTo>
                    <a:pt x="6" y="94"/>
                  </a:lnTo>
                  <a:lnTo>
                    <a:pt x="12" y="104"/>
                  </a:lnTo>
                  <a:lnTo>
                    <a:pt x="20" y="114"/>
                  </a:lnTo>
                  <a:lnTo>
                    <a:pt x="30" y="122"/>
                  </a:lnTo>
                  <a:lnTo>
                    <a:pt x="42" y="130"/>
                  </a:lnTo>
                  <a:lnTo>
                    <a:pt x="54" y="132"/>
                  </a:lnTo>
                  <a:lnTo>
                    <a:pt x="68" y="134"/>
                  </a:lnTo>
                  <a:lnTo>
                    <a:pt x="68" y="134"/>
                  </a:lnTo>
                  <a:lnTo>
                    <a:pt x="82" y="132"/>
                  </a:lnTo>
                  <a:lnTo>
                    <a:pt x="94" y="130"/>
                  </a:lnTo>
                  <a:lnTo>
                    <a:pt x="106" y="122"/>
                  </a:lnTo>
                  <a:lnTo>
                    <a:pt x="116" y="114"/>
                  </a:lnTo>
                  <a:lnTo>
                    <a:pt x="124" y="104"/>
                  </a:lnTo>
                  <a:lnTo>
                    <a:pt x="130" y="94"/>
                  </a:lnTo>
                  <a:lnTo>
                    <a:pt x="134" y="80"/>
                  </a:lnTo>
                  <a:lnTo>
                    <a:pt x="134" y="68"/>
                  </a:lnTo>
                  <a:lnTo>
                    <a:pt x="134" y="68"/>
                  </a:lnTo>
                  <a:lnTo>
                    <a:pt x="134" y="54"/>
                  </a:lnTo>
                  <a:lnTo>
                    <a:pt x="130" y="42"/>
                  </a:lnTo>
                  <a:lnTo>
                    <a:pt x="124" y="30"/>
                  </a:lnTo>
                  <a:lnTo>
                    <a:pt x="116" y="20"/>
                  </a:lnTo>
                  <a:lnTo>
                    <a:pt x="106" y="12"/>
                  </a:lnTo>
                  <a:lnTo>
                    <a:pt x="94" y="6"/>
                  </a:lnTo>
                  <a:lnTo>
                    <a:pt x="82" y="2"/>
                  </a:lnTo>
                  <a:lnTo>
                    <a:pt x="68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65" name="Freeform 210"/>
            <p:cNvSpPr>
              <a:spLocks/>
            </p:cNvSpPr>
            <p:nvPr/>
          </p:nvSpPr>
          <p:spPr bwMode="auto">
            <a:xfrm>
              <a:off x="7920304" y="5891209"/>
              <a:ext cx="153657" cy="153657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68" y="0"/>
                </a:cxn>
                <a:cxn ang="0">
                  <a:pos x="54" y="2"/>
                </a:cxn>
                <a:cxn ang="0">
                  <a:pos x="42" y="6"/>
                </a:cxn>
                <a:cxn ang="0">
                  <a:pos x="30" y="12"/>
                </a:cxn>
                <a:cxn ang="0">
                  <a:pos x="20" y="20"/>
                </a:cxn>
                <a:cxn ang="0">
                  <a:pos x="12" y="30"/>
                </a:cxn>
                <a:cxn ang="0">
                  <a:pos x="6" y="42"/>
                </a:cxn>
                <a:cxn ang="0">
                  <a:pos x="2" y="54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2" y="82"/>
                </a:cxn>
                <a:cxn ang="0">
                  <a:pos x="6" y="94"/>
                </a:cxn>
                <a:cxn ang="0">
                  <a:pos x="12" y="106"/>
                </a:cxn>
                <a:cxn ang="0">
                  <a:pos x="20" y="116"/>
                </a:cxn>
                <a:cxn ang="0">
                  <a:pos x="30" y="124"/>
                </a:cxn>
                <a:cxn ang="0">
                  <a:pos x="42" y="130"/>
                </a:cxn>
                <a:cxn ang="0">
                  <a:pos x="54" y="134"/>
                </a:cxn>
                <a:cxn ang="0">
                  <a:pos x="68" y="134"/>
                </a:cxn>
                <a:cxn ang="0">
                  <a:pos x="68" y="134"/>
                </a:cxn>
                <a:cxn ang="0">
                  <a:pos x="80" y="134"/>
                </a:cxn>
                <a:cxn ang="0">
                  <a:pos x="94" y="130"/>
                </a:cxn>
                <a:cxn ang="0">
                  <a:pos x="104" y="124"/>
                </a:cxn>
                <a:cxn ang="0">
                  <a:pos x="114" y="116"/>
                </a:cxn>
                <a:cxn ang="0">
                  <a:pos x="122" y="106"/>
                </a:cxn>
                <a:cxn ang="0">
                  <a:pos x="130" y="94"/>
                </a:cxn>
                <a:cxn ang="0">
                  <a:pos x="132" y="82"/>
                </a:cxn>
                <a:cxn ang="0">
                  <a:pos x="134" y="68"/>
                </a:cxn>
                <a:cxn ang="0">
                  <a:pos x="134" y="68"/>
                </a:cxn>
                <a:cxn ang="0">
                  <a:pos x="132" y="54"/>
                </a:cxn>
                <a:cxn ang="0">
                  <a:pos x="130" y="42"/>
                </a:cxn>
                <a:cxn ang="0">
                  <a:pos x="122" y="30"/>
                </a:cxn>
                <a:cxn ang="0">
                  <a:pos x="114" y="20"/>
                </a:cxn>
                <a:cxn ang="0">
                  <a:pos x="104" y="12"/>
                </a:cxn>
                <a:cxn ang="0">
                  <a:pos x="94" y="6"/>
                </a:cxn>
                <a:cxn ang="0">
                  <a:pos x="80" y="2"/>
                </a:cxn>
                <a:cxn ang="0">
                  <a:pos x="68" y="0"/>
                </a:cxn>
              </a:cxnLst>
              <a:rect l="0" t="0" r="r" b="b"/>
              <a:pathLst>
                <a:path w="134" h="134">
                  <a:moveTo>
                    <a:pt x="68" y="0"/>
                  </a:moveTo>
                  <a:lnTo>
                    <a:pt x="68" y="0"/>
                  </a:lnTo>
                  <a:lnTo>
                    <a:pt x="54" y="2"/>
                  </a:lnTo>
                  <a:lnTo>
                    <a:pt x="42" y="6"/>
                  </a:lnTo>
                  <a:lnTo>
                    <a:pt x="30" y="12"/>
                  </a:lnTo>
                  <a:lnTo>
                    <a:pt x="20" y="20"/>
                  </a:lnTo>
                  <a:lnTo>
                    <a:pt x="12" y="30"/>
                  </a:lnTo>
                  <a:lnTo>
                    <a:pt x="6" y="42"/>
                  </a:lnTo>
                  <a:lnTo>
                    <a:pt x="2" y="54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82"/>
                  </a:lnTo>
                  <a:lnTo>
                    <a:pt x="6" y="94"/>
                  </a:lnTo>
                  <a:lnTo>
                    <a:pt x="12" y="106"/>
                  </a:lnTo>
                  <a:lnTo>
                    <a:pt x="20" y="116"/>
                  </a:lnTo>
                  <a:lnTo>
                    <a:pt x="30" y="124"/>
                  </a:lnTo>
                  <a:lnTo>
                    <a:pt x="42" y="130"/>
                  </a:lnTo>
                  <a:lnTo>
                    <a:pt x="54" y="134"/>
                  </a:lnTo>
                  <a:lnTo>
                    <a:pt x="68" y="134"/>
                  </a:lnTo>
                  <a:lnTo>
                    <a:pt x="68" y="134"/>
                  </a:lnTo>
                  <a:lnTo>
                    <a:pt x="80" y="134"/>
                  </a:lnTo>
                  <a:lnTo>
                    <a:pt x="94" y="130"/>
                  </a:lnTo>
                  <a:lnTo>
                    <a:pt x="104" y="124"/>
                  </a:lnTo>
                  <a:lnTo>
                    <a:pt x="114" y="116"/>
                  </a:lnTo>
                  <a:lnTo>
                    <a:pt x="122" y="106"/>
                  </a:lnTo>
                  <a:lnTo>
                    <a:pt x="130" y="94"/>
                  </a:lnTo>
                  <a:lnTo>
                    <a:pt x="132" y="82"/>
                  </a:lnTo>
                  <a:lnTo>
                    <a:pt x="134" y="68"/>
                  </a:lnTo>
                  <a:lnTo>
                    <a:pt x="134" y="68"/>
                  </a:lnTo>
                  <a:lnTo>
                    <a:pt x="132" y="54"/>
                  </a:lnTo>
                  <a:lnTo>
                    <a:pt x="130" y="42"/>
                  </a:lnTo>
                  <a:lnTo>
                    <a:pt x="122" y="30"/>
                  </a:lnTo>
                  <a:lnTo>
                    <a:pt x="114" y="20"/>
                  </a:lnTo>
                  <a:lnTo>
                    <a:pt x="104" y="12"/>
                  </a:lnTo>
                  <a:lnTo>
                    <a:pt x="94" y="6"/>
                  </a:lnTo>
                  <a:lnTo>
                    <a:pt x="80" y="2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66" name="Freeform 211"/>
            <p:cNvSpPr>
              <a:spLocks/>
            </p:cNvSpPr>
            <p:nvPr/>
          </p:nvSpPr>
          <p:spPr bwMode="auto">
            <a:xfrm>
              <a:off x="7920304" y="5891209"/>
              <a:ext cx="153657" cy="153657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68" y="0"/>
                </a:cxn>
                <a:cxn ang="0">
                  <a:pos x="54" y="2"/>
                </a:cxn>
                <a:cxn ang="0">
                  <a:pos x="42" y="6"/>
                </a:cxn>
                <a:cxn ang="0">
                  <a:pos x="30" y="12"/>
                </a:cxn>
                <a:cxn ang="0">
                  <a:pos x="20" y="20"/>
                </a:cxn>
                <a:cxn ang="0">
                  <a:pos x="12" y="30"/>
                </a:cxn>
                <a:cxn ang="0">
                  <a:pos x="6" y="42"/>
                </a:cxn>
                <a:cxn ang="0">
                  <a:pos x="2" y="54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2" y="82"/>
                </a:cxn>
                <a:cxn ang="0">
                  <a:pos x="6" y="94"/>
                </a:cxn>
                <a:cxn ang="0">
                  <a:pos x="12" y="106"/>
                </a:cxn>
                <a:cxn ang="0">
                  <a:pos x="20" y="116"/>
                </a:cxn>
                <a:cxn ang="0">
                  <a:pos x="30" y="124"/>
                </a:cxn>
                <a:cxn ang="0">
                  <a:pos x="42" y="130"/>
                </a:cxn>
                <a:cxn ang="0">
                  <a:pos x="54" y="134"/>
                </a:cxn>
                <a:cxn ang="0">
                  <a:pos x="68" y="134"/>
                </a:cxn>
                <a:cxn ang="0">
                  <a:pos x="68" y="134"/>
                </a:cxn>
                <a:cxn ang="0">
                  <a:pos x="80" y="134"/>
                </a:cxn>
                <a:cxn ang="0">
                  <a:pos x="94" y="130"/>
                </a:cxn>
                <a:cxn ang="0">
                  <a:pos x="104" y="124"/>
                </a:cxn>
                <a:cxn ang="0">
                  <a:pos x="114" y="116"/>
                </a:cxn>
                <a:cxn ang="0">
                  <a:pos x="122" y="106"/>
                </a:cxn>
                <a:cxn ang="0">
                  <a:pos x="130" y="94"/>
                </a:cxn>
                <a:cxn ang="0">
                  <a:pos x="132" y="82"/>
                </a:cxn>
                <a:cxn ang="0">
                  <a:pos x="134" y="68"/>
                </a:cxn>
                <a:cxn ang="0">
                  <a:pos x="134" y="68"/>
                </a:cxn>
                <a:cxn ang="0">
                  <a:pos x="132" y="54"/>
                </a:cxn>
                <a:cxn ang="0">
                  <a:pos x="130" y="42"/>
                </a:cxn>
                <a:cxn ang="0">
                  <a:pos x="122" y="30"/>
                </a:cxn>
                <a:cxn ang="0">
                  <a:pos x="114" y="20"/>
                </a:cxn>
                <a:cxn ang="0">
                  <a:pos x="104" y="12"/>
                </a:cxn>
                <a:cxn ang="0">
                  <a:pos x="94" y="6"/>
                </a:cxn>
                <a:cxn ang="0">
                  <a:pos x="80" y="2"/>
                </a:cxn>
                <a:cxn ang="0">
                  <a:pos x="68" y="0"/>
                </a:cxn>
              </a:cxnLst>
              <a:rect l="0" t="0" r="r" b="b"/>
              <a:pathLst>
                <a:path w="134" h="134">
                  <a:moveTo>
                    <a:pt x="68" y="0"/>
                  </a:moveTo>
                  <a:lnTo>
                    <a:pt x="68" y="0"/>
                  </a:lnTo>
                  <a:lnTo>
                    <a:pt x="54" y="2"/>
                  </a:lnTo>
                  <a:lnTo>
                    <a:pt x="42" y="6"/>
                  </a:lnTo>
                  <a:lnTo>
                    <a:pt x="30" y="12"/>
                  </a:lnTo>
                  <a:lnTo>
                    <a:pt x="20" y="20"/>
                  </a:lnTo>
                  <a:lnTo>
                    <a:pt x="12" y="30"/>
                  </a:lnTo>
                  <a:lnTo>
                    <a:pt x="6" y="42"/>
                  </a:lnTo>
                  <a:lnTo>
                    <a:pt x="2" y="54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82"/>
                  </a:lnTo>
                  <a:lnTo>
                    <a:pt x="6" y="94"/>
                  </a:lnTo>
                  <a:lnTo>
                    <a:pt x="12" y="106"/>
                  </a:lnTo>
                  <a:lnTo>
                    <a:pt x="20" y="116"/>
                  </a:lnTo>
                  <a:lnTo>
                    <a:pt x="30" y="124"/>
                  </a:lnTo>
                  <a:lnTo>
                    <a:pt x="42" y="130"/>
                  </a:lnTo>
                  <a:lnTo>
                    <a:pt x="54" y="134"/>
                  </a:lnTo>
                  <a:lnTo>
                    <a:pt x="68" y="134"/>
                  </a:lnTo>
                  <a:lnTo>
                    <a:pt x="68" y="134"/>
                  </a:lnTo>
                  <a:lnTo>
                    <a:pt x="80" y="134"/>
                  </a:lnTo>
                  <a:lnTo>
                    <a:pt x="94" y="130"/>
                  </a:lnTo>
                  <a:lnTo>
                    <a:pt x="104" y="124"/>
                  </a:lnTo>
                  <a:lnTo>
                    <a:pt x="114" y="116"/>
                  </a:lnTo>
                  <a:lnTo>
                    <a:pt x="122" y="106"/>
                  </a:lnTo>
                  <a:lnTo>
                    <a:pt x="130" y="94"/>
                  </a:lnTo>
                  <a:lnTo>
                    <a:pt x="132" y="82"/>
                  </a:lnTo>
                  <a:lnTo>
                    <a:pt x="134" y="68"/>
                  </a:lnTo>
                  <a:lnTo>
                    <a:pt x="134" y="68"/>
                  </a:lnTo>
                  <a:lnTo>
                    <a:pt x="132" y="54"/>
                  </a:lnTo>
                  <a:lnTo>
                    <a:pt x="130" y="42"/>
                  </a:lnTo>
                  <a:lnTo>
                    <a:pt x="122" y="30"/>
                  </a:lnTo>
                  <a:lnTo>
                    <a:pt x="114" y="20"/>
                  </a:lnTo>
                  <a:lnTo>
                    <a:pt x="104" y="12"/>
                  </a:lnTo>
                  <a:lnTo>
                    <a:pt x="94" y="6"/>
                  </a:lnTo>
                  <a:lnTo>
                    <a:pt x="80" y="2"/>
                  </a:lnTo>
                  <a:lnTo>
                    <a:pt x="68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67" name="Freeform 212"/>
            <p:cNvSpPr>
              <a:spLocks/>
            </p:cNvSpPr>
            <p:nvPr/>
          </p:nvSpPr>
          <p:spPr bwMode="auto">
            <a:xfrm>
              <a:off x="8505119" y="6388876"/>
              <a:ext cx="96323" cy="96323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42" y="0"/>
                </a:cxn>
                <a:cxn ang="0">
                  <a:pos x="34" y="0"/>
                </a:cxn>
                <a:cxn ang="0">
                  <a:pos x="26" y="2"/>
                </a:cxn>
                <a:cxn ang="0">
                  <a:pos x="18" y="6"/>
                </a:cxn>
                <a:cxn ang="0">
                  <a:pos x="12" y="12"/>
                </a:cxn>
                <a:cxn ang="0">
                  <a:pos x="6" y="18"/>
                </a:cxn>
                <a:cxn ang="0">
                  <a:pos x="2" y="24"/>
                </a:cxn>
                <a:cxn ang="0">
                  <a:pos x="0" y="32"/>
                </a:cxn>
                <a:cxn ang="0">
                  <a:pos x="0" y="42"/>
                </a:cxn>
                <a:cxn ang="0">
                  <a:pos x="0" y="42"/>
                </a:cxn>
                <a:cxn ang="0">
                  <a:pos x="0" y="50"/>
                </a:cxn>
                <a:cxn ang="0">
                  <a:pos x="2" y="58"/>
                </a:cxn>
                <a:cxn ang="0">
                  <a:pos x="6" y="66"/>
                </a:cxn>
                <a:cxn ang="0">
                  <a:pos x="12" y="72"/>
                </a:cxn>
                <a:cxn ang="0">
                  <a:pos x="18" y="76"/>
                </a:cxn>
                <a:cxn ang="0">
                  <a:pos x="26" y="80"/>
                </a:cxn>
                <a:cxn ang="0">
                  <a:pos x="34" y="82"/>
                </a:cxn>
                <a:cxn ang="0">
                  <a:pos x="42" y="84"/>
                </a:cxn>
                <a:cxn ang="0">
                  <a:pos x="42" y="84"/>
                </a:cxn>
                <a:cxn ang="0">
                  <a:pos x="50" y="82"/>
                </a:cxn>
                <a:cxn ang="0">
                  <a:pos x="58" y="80"/>
                </a:cxn>
                <a:cxn ang="0">
                  <a:pos x="66" y="76"/>
                </a:cxn>
                <a:cxn ang="0">
                  <a:pos x="72" y="72"/>
                </a:cxn>
                <a:cxn ang="0">
                  <a:pos x="76" y="66"/>
                </a:cxn>
                <a:cxn ang="0">
                  <a:pos x="80" y="58"/>
                </a:cxn>
                <a:cxn ang="0">
                  <a:pos x="84" y="50"/>
                </a:cxn>
                <a:cxn ang="0">
                  <a:pos x="84" y="42"/>
                </a:cxn>
                <a:cxn ang="0">
                  <a:pos x="84" y="42"/>
                </a:cxn>
                <a:cxn ang="0">
                  <a:pos x="84" y="32"/>
                </a:cxn>
                <a:cxn ang="0">
                  <a:pos x="80" y="24"/>
                </a:cxn>
                <a:cxn ang="0">
                  <a:pos x="76" y="18"/>
                </a:cxn>
                <a:cxn ang="0">
                  <a:pos x="72" y="12"/>
                </a:cxn>
                <a:cxn ang="0">
                  <a:pos x="66" y="6"/>
                </a:cxn>
                <a:cxn ang="0">
                  <a:pos x="58" y="2"/>
                </a:cxn>
                <a:cxn ang="0">
                  <a:pos x="50" y="0"/>
                </a:cxn>
                <a:cxn ang="0">
                  <a:pos x="42" y="0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lnTo>
                    <a:pt x="42" y="0"/>
                  </a:lnTo>
                  <a:lnTo>
                    <a:pt x="34" y="0"/>
                  </a:lnTo>
                  <a:lnTo>
                    <a:pt x="26" y="2"/>
                  </a:lnTo>
                  <a:lnTo>
                    <a:pt x="18" y="6"/>
                  </a:lnTo>
                  <a:lnTo>
                    <a:pt x="12" y="12"/>
                  </a:lnTo>
                  <a:lnTo>
                    <a:pt x="6" y="18"/>
                  </a:lnTo>
                  <a:lnTo>
                    <a:pt x="2" y="24"/>
                  </a:lnTo>
                  <a:lnTo>
                    <a:pt x="0" y="3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50"/>
                  </a:lnTo>
                  <a:lnTo>
                    <a:pt x="2" y="58"/>
                  </a:lnTo>
                  <a:lnTo>
                    <a:pt x="6" y="66"/>
                  </a:lnTo>
                  <a:lnTo>
                    <a:pt x="12" y="72"/>
                  </a:lnTo>
                  <a:lnTo>
                    <a:pt x="18" y="76"/>
                  </a:lnTo>
                  <a:lnTo>
                    <a:pt x="26" y="80"/>
                  </a:lnTo>
                  <a:lnTo>
                    <a:pt x="34" y="82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50" y="82"/>
                  </a:lnTo>
                  <a:lnTo>
                    <a:pt x="58" y="80"/>
                  </a:lnTo>
                  <a:lnTo>
                    <a:pt x="66" y="76"/>
                  </a:lnTo>
                  <a:lnTo>
                    <a:pt x="72" y="72"/>
                  </a:lnTo>
                  <a:lnTo>
                    <a:pt x="76" y="66"/>
                  </a:lnTo>
                  <a:lnTo>
                    <a:pt x="80" y="58"/>
                  </a:lnTo>
                  <a:lnTo>
                    <a:pt x="84" y="50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32"/>
                  </a:lnTo>
                  <a:lnTo>
                    <a:pt x="80" y="24"/>
                  </a:lnTo>
                  <a:lnTo>
                    <a:pt x="76" y="18"/>
                  </a:lnTo>
                  <a:lnTo>
                    <a:pt x="72" y="12"/>
                  </a:lnTo>
                  <a:lnTo>
                    <a:pt x="66" y="6"/>
                  </a:lnTo>
                  <a:lnTo>
                    <a:pt x="58" y="2"/>
                  </a:lnTo>
                  <a:lnTo>
                    <a:pt x="50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68" name="Freeform 213"/>
            <p:cNvSpPr>
              <a:spLocks/>
            </p:cNvSpPr>
            <p:nvPr/>
          </p:nvSpPr>
          <p:spPr bwMode="auto">
            <a:xfrm>
              <a:off x="8505119" y="6388876"/>
              <a:ext cx="96323" cy="96323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42" y="0"/>
                </a:cxn>
                <a:cxn ang="0">
                  <a:pos x="34" y="0"/>
                </a:cxn>
                <a:cxn ang="0">
                  <a:pos x="26" y="2"/>
                </a:cxn>
                <a:cxn ang="0">
                  <a:pos x="18" y="6"/>
                </a:cxn>
                <a:cxn ang="0">
                  <a:pos x="12" y="12"/>
                </a:cxn>
                <a:cxn ang="0">
                  <a:pos x="6" y="18"/>
                </a:cxn>
                <a:cxn ang="0">
                  <a:pos x="2" y="24"/>
                </a:cxn>
                <a:cxn ang="0">
                  <a:pos x="0" y="32"/>
                </a:cxn>
                <a:cxn ang="0">
                  <a:pos x="0" y="42"/>
                </a:cxn>
                <a:cxn ang="0">
                  <a:pos x="0" y="42"/>
                </a:cxn>
                <a:cxn ang="0">
                  <a:pos x="0" y="50"/>
                </a:cxn>
                <a:cxn ang="0">
                  <a:pos x="2" y="58"/>
                </a:cxn>
                <a:cxn ang="0">
                  <a:pos x="6" y="66"/>
                </a:cxn>
                <a:cxn ang="0">
                  <a:pos x="12" y="72"/>
                </a:cxn>
                <a:cxn ang="0">
                  <a:pos x="18" y="76"/>
                </a:cxn>
                <a:cxn ang="0">
                  <a:pos x="26" y="80"/>
                </a:cxn>
                <a:cxn ang="0">
                  <a:pos x="34" y="82"/>
                </a:cxn>
                <a:cxn ang="0">
                  <a:pos x="42" y="84"/>
                </a:cxn>
                <a:cxn ang="0">
                  <a:pos x="42" y="84"/>
                </a:cxn>
                <a:cxn ang="0">
                  <a:pos x="50" y="82"/>
                </a:cxn>
                <a:cxn ang="0">
                  <a:pos x="58" y="80"/>
                </a:cxn>
                <a:cxn ang="0">
                  <a:pos x="66" y="76"/>
                </a:cxn>
                <a:cxn ang="0">
                  <a:pos x="72" y="72"/>
                </a:cxn>
                <a:cxn ang="0">
                  <a:pos x="76" y="66"/>
                </a:cxn>
                <a:cxn ang="0">
                  <a:pos x="80" y="58"/>
                </a:cxn>
                <a:cxn ang="0">
                  <a:pos x="84" y="50"/>
                </a:cxn>
                <a:cxn ang="0">
                  <a:pos x="84" y="42"/>
                </a:cxn>
                <a:cxn ang="0">
                  <a:pos x="84" y="42"/>
                </a:cxn>
                <a:cxn ang="0">
                  <a:pos x="84" y="32"/>
                </a:cxn>
                <a:cxn ang="0">
                  <a:pos x="80" y="24"/>
                </a:cxn>
                <a:cxn ang="0">
                  <a:pos x="76" y="18"/>
                </a:cxn>
                <a:cxn ang="0">
                  <a:pos x="72" y="12"/>
                </a:cxn>
                <a:cxn ang="0">
                  <a:pos x="66" y="6"/>
                </a:cxn>
                <a:cxn ang="0">
                  <a:pos x="58" y="2"/>
                </a:cxn>
                <a:cxn ang="0">
                  <a:pos x="50" y="0"/>
                </a:cxn>
                <a:cxn ang="0">
                  <a:pos x="42" y="0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lnTo>
                    <a:pt x="42" y="0"/>
                  </a:lnTo>
                  <a:lnTo>
                    <a:pt x="34" y="0"/>
                  </a:lnTo>
                  <a:lnTo>
                    <a:pt x="26" y="2"/>
                  </a:lnTo>
                  <a:lnTo>
                    <a:pt x="18" y="6"/>
                  </a:lnTo>
                  <a:lnTo>
                    <a:pt x="12" y="12"/>
                  </a:lnTo>
                  <a:lnTo>
                    <a:pt x="6" y="18"/>
                  </a:lnTo>
                  <a:lnTo>
                    <a:pt x="2" y="24"/>
                  </a:lnTo>
                  <a:lnTo>
                    <a:pt x="0" y="3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50"/>
                  </a:lnTo>
                  <a:lnTo>
                    <a:pt x="2" y="58"/>
                  </a:lnTo>
                  <a:lnTo>
                    <a:pt x="6" y="66"/>
                  </a:lnTo>
                  <a:lnTo>
                    <a:pt x="12" y="72"/>
                  </a:lnTo>
                  <a:lnTo>
                    <a:pt x="18" y="76"/>
                  </a:lnTo>
                  <a:lnTo>
                    <a:pt x="26" y="80"/>
                  </a:lnTo>
                  <a:lnTo>
                    <a:pt x="34" y="82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50" y="82"/>
                  </a:lnTo>
                  <a:lnTo>
                    <a:pt x="58" y="80"/>
                  </a:lnTo>
                  <a:lnTo>
                    <a:pt x="66" y="76"/>
                  </a:lnTo>
                  <a:lnTo>
                    <a:pt x="72" y="72"/>
                  </a:lnTo>
                  <a:lnTo>
                    <a:pt x="76" y="66"/>
                  </a:lnTo>
                  <a:lnTo>
                    <a:pt x="80" y="58"/>
                  </a:lnTo>
                  <a:lnTo>
                    <a:pt x="84" y="50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32"/>
                  </a:lnTo>
                  <a:lnTo>
                    <a:pt x="80" y="24"/>
                  </a:lnTo>
                  <a:lnTo>
                    <a:pt x="76" y="18"/>
                  </a:lnTo>
                  <a:lnTo>
                    <a:pt x="72" y="12"/>
                  </a:lnTo>
                  <a:lnTo>
                    <a:pt x="66" y="6"/>
                  </a:lnTo>
                  <a:lnTo>
                    <a:pt x="58" y="2"/>
                  </a:lnTo>
                  <a:lnTo>
                    <a:pt x="50" y="0"/>
                  </a:lnTo>
                  <a:lnTo>
                    <a:pt x="42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69" name="Freeform 214"/>
            <p:cNvSpPr>
              <a:spLocks/>
            </p:cNvSpPr>
            <p:nvPr/>
          </p:nvSpPr>
          <p:spPr bwMode="auto">
            <a:xfrm>
              <a:off x="8179457" y="4611496"/>
              <a:ext cx="119256" cy="119256"/>
            </a:xfrm>
            <a:custGeom>
              <a:avLst/>
              <a:gdLst/>
              <a:ahLst/>
              <a:cxnLst>
                <a:cxn ang="0">
                  <a:pos x="52" y="0"/>
                </a:cxn>
                <a:cxn ang="0">
                  <a:pos x="52" y="0"/>
                </a:cxn>
                <a:cxn ang="0">
                  <a:pos x="42" y="2"/>
                </a:cxn>
                <a:cxn ang="0">
                  <a:pos x="32" y="4"/>
                </a:cxn>
                <a:cxn ang="0">
                  <a:pos x="24" y="10"/>
                </a:cxn>
                <a:cxn ang="0">
                  <a:pos x="16" y="16"/>
                </a:cxn>
                <a:cxn ang="0">
                  <a:pos x="10" y="24"/>
                </a:cxn>
                <a:cxn ang="0">
                  <a:pos x="4" y="32"/>
                </a:cxn>
                <a:cxn ang="0">
                  <a:pos x="2" y="42"/>
                </a:cxn>
                <a:cxn ang="0">
                  <a:pos x="0" y="52"/>
                </a:cxn>
                <a:cxn ang="0">
                  <a:pos x="0" y="52"/>
                </a:cxn>
                <a:cxn ang="0">
                  <a:pos x="2" y="64"/>
                </a:cxn>
                <a:cxn ang="0">
                  <a:pos x="4" y="74"/>
                </a:cxn>
                <a:cxn ang="0">
                  <a:pos x="10" y="82"/>
                </a:cxn>
                <a:cxn ang="0">
                  <a:pos x="16" y="90"/>
                </a:cxn>
                <a:cxn ang="0">
                  <a:pos x="24" y="96"/>
                </a:cxn>
                <a:cxn ang="0">
                  <a:pos x="32" y="100"/>
                </a:cxn>
                <a:cxn ang="0">
                  <a:pos x="42" y="104"/>
                </a:cxn>
                <a:cxn ang="0">
                  <a:pos x="52" y="104"/>
                </a:cxn>
                <a:cxn ang="0">
                  <a:pos x="52" y="104"/>
                </a:cxn>
                <a:cxn ang="0">
                  <a:pos x="64" y="104"/>
                </a:cxn>
                <a:cxn ang="0">
                  <a:pos x="74" y="100"/>
                </a:cxn>
                <a:cxn ang="0">
                  <a:pos x="82" y="96"/>
                </a:cxn>
                <a:cxn ang="0">
                  <a:pos x="90" y="90"/>
                </a:cxn>
                <a:cxn ang="0">
                  <a:pos x="96" y="82"/>
                </a:cxn>
                <a:cxn ang="0">
                  <a:pos x="100" y="74"/>
                </a:cxn>
                <a:cxn ang="0">
                  <a:pos x="104" y="64"/>
                </a:cxn>
                <a:cxn ang="0">
                  <a:pos x="104" y="52"/>
                </a:cxn>
                <a:cxn ang="0">
                  <a:pos x="104" y="52"/>
                </a:cxn>
                <a:cxn ang="0">
                  <a:pos x="104" y="42"/>
                </a:cxn>
                <a:cxn ang="0">
                  <a:pos x="100" y="32"/>
                </a:cxn>
                <a:cxn ang="0">
                  <a:pos x="96" y="24"/>
                </a:cxn>
                <a:cxn ang="0">
                  <a:pos x="90" y="16"/>
                </a:cxn>
                <a:cxn ang="0">
                  <a:pos x="82" y="10"/>
                </a:cxn>
                <a:cxn ang="0">
                  <a:pos x="74" y="4"/>
                </a:cxn>
                <a:cxn ang="0">
                  <a:pos x="64" y="2"/>
                </a:cxn>
                <a:cxn ang="0">
                  <a:pos x="52" y="0"/>
                </a:cxn>
              </a:cxnLst>
              <a:rect l="0" t="0" r="r" b="b"/>
              <a:pathLst>
                <a:path w="104" h="104">
                  <a:moveTo>
                    <a:pt x="52" y="0"/>
                  </a:moveTo>
                  <a:lnTo>
                    <a:pt x="52" y="0"/>
                  </a:lnTo>
                  <a:lnTo>
                    <a:pt x="42" y="2"/>
                  </a:lnTo>
                  <a:lnTo>
                    <a:pt x="32" y="4"/>
                  </a:lnTo>
                  <a:lnTo>
                    <a:pt x="24" y="10"/>
                  </a:lnTo>
                  <a:lnTo>
                    <a:pt x="16" y="16"/>
                  </a:lnTo>
                  <a:lnTo>
                    <a:pt x="10" y="24"/>
                  </a:lnTo>
                  <a:lnTo>
                    <a:pt x="4" y="32"/>
                  </a:lnTo>
                  <a:lnTo>
                    <a:pt x="2" y="4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2" y="64"/>
                  </a:lnTo>
                  <a:lnTo>
                    <a:pt x="4" y="74"/>
                  </a:lnTo>
                  <a:lnTo>
                    <a:pt x="10" y="82"/>
                  </a:lnTo>
                  <a:lnTo>
                    <a:pt x="16" y="90"/>
                  </a:lnTo>
                  <a:lnTo>
                    <a:pt x="24" y="96"/>
                  </a:lnTo>
                  <a:lnTo>
                    <a:pt x="32" y="100"/>
                  </a:lnTo>
                  <a:lnTo>
                    <a:pt x="4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64" y="104"/>
                  </a:lnTo>
                  <a:lnTo>
                    <a:pt x="74" y="100"/>
                  </a:lnTo>
                  <a:lnTo>
                    <a:pt x="82" y="96"/>
                  </a:lnTo>
                  <a:lnTo>
                    <a:pt x="90" y="90"/>
                  </a:lnTo>
                  <a:lnTo>
                    <a:pt x="96" y="82"/>
                  </a:lnTo>
                  <a:lnTo>
                    <a:pt x="100" y="74"/>
                  </a:lnTo>
                  <a:lnTo>
                    <a:pt x="104" y="64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42"/>
                  </a:lnTo>
                  <a:lnTo>
                    <a:pt x="100" y="32"/>
                  </a:lnTo>
                  <a:lnTo>
                    <a:pt x="96" y="24"/>
                  </a:lnTo>
                  <a:lnTo>
                    <a:pt x="90" y="16"/>
                  </a:lnTo>
                  <a:lnTo>
                    <a:pt x="82" y="10"/>
                  </a:lnTo>
                  <a:lnTo>
                    <a:pt x="74" y="4"/>
                  </a:lnTo>
                  <a:lnTo>
                    <a:pt x="64" y="2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70" name="Freeform 215"/>
            <p:cNvSpPr>
              <a:spLocks/>
            </p:cNvSpPr>
            <p:nvPr/>
          </p:nvSpPr>
          <p:spPr bwMode="auto">
            <a:xfrm>
              <a:off x="8179457" y="4611496"/>
              <a:ext cx="119256" cy="119256"/>
            </a:xfrm>
            <a:custGeom>
              <a:avLst/>
              <a:gdLst/>
              <a:ahLst/>
              <a:cxnLst>
                <a:cxn ang="0">
                  <a:pos x="52" y="0"/>
                </a:cxn>
                <a:cxn ang="0">
                  <a:pos x="52" y="0"/>
                </a:cxn>
                <a:cxn ang="0">
                  <a:pos x="42" y="2"/>
                </a:cxn>
                <a:cxn ang="0">
                  <a:pos x="32" y="4"/>
                </a:cxn>
                <a:cxn ang="0">
                  <a:pos x="24" y="10"/>
                </a:cxn>
                <a:cxn ang="0">
                  <a:pos x="16" y="16"/>
                </a:cxn>
                <a:cxn ang="0">
                  <a:pos x="10" y="24"/>
                </a:cxn>
                <a:cxn ang="0">
                  <a:pos x="4" y="32"/>
                </a:cxn>
                <a:cxn ang="0">
                  <a:pos x="2" y="42"/>
                </a:cxn>
                <a:cxn ang="0">
                  <a:pos x="0" y="52"/>
                </a:cxn>
                <a:cxn ang="0">
                  <a:pos x="0" y="52"/>
                </a:cxn>
                <a:cxn ang="0">
                  <a:pos x="2" y="64"/>
                </a:cxn>
                <a:cxn ang="0">
                  <a:pos x="4" y="74"/>
                </a:cxn>
                <a:cxn ang="0">
                  <a:pos x="10" y="82"/>
                </a:cxn>
                <a:cxn ang="0">
                  <a:pos x="16" y="90"/>
                </a:cxn>
                <a:cxn ang="0">
                  <a:pos x="24" y="96"/>
                </a:cxn>
                <a:cxn ang="0">
                  <a:pos x="32" y="100"/>
                </a:cxn>
                <a:cxn ang="0">
                  <a:pos x="42" y="104"/>
                </a:cxn>
                <a:cxn ang="0">
                  <a:pos x="52" y="104"/>
                </a:cxn>
                <a:cxn ang="0">
                  <a:pos x="52" y="104"/>
                </a:cxn>
                <a:cxn ang="0">
                  <a:pos x="64" y="104"/>
                </a:cxn>
                <a:cxn ang="0">
                  <a:pos x="74" y="100"/>
                </a:cxn>
                <a:cxn ang="0">
                  <a:pos x="82" y="96"/>
                </a:cxn>
                <a:cxn ang="0">
                  <a:pos x="90" y="90"/>
                </a:cxn>
                <a:cxn ang="0">
                  <a:pos x="96" y="82"/>
                </a:cxn>
                <a:cxn ang="0">
                  <a:pos x="100" y="74"/>
                </a:cxn>
                <a:cxn ang="0">
                  <a:pos x="104" y="64"/>
                </a:cxn>
                <a:cxn ang="0">
                  <a:pos x="104" y="52"/>
                </a:cxn>
                <a:cxn ang="0">
                  <a:pos x="104" y="52"/>
                </a:cxn>
                <a:cxn ang="0">
                  <a:pos x="104" y="42"/>
                </a:cxn>
                <a:cxn ang="0">
                  <a:pos x="100" y="32"/>
                </a:cxn>
                <a:cxn ang="0">
                  <a:pos x="96" y="24"/>
                </a:cxn>
                <a:cxn ang="0">
                  <a:pos x="90" y="16"/>
                </a:cxn>
                <a:cxn ang="0">
                  <a:pos x="82" y="10"/>
                </a:cxn>
                <a:cxn ang="0">
                  <a:pos x="74" y="4"/>
                </a:cxn>
                <a:cxn ang="0">
                  <a:pos x="64" y="2"/>
                </a:cxn>
                <a:cxn ang="0">
                  <a:pos x="52" y="0"/>
                </a:cxn>
              </a:cxnLst>
              <a:rect l="0" t="0" r="r" b="b"/>
              <a:pathLst>
                <a:path w="104" h="104">
                  <a:moveTo>
                    <a:pt x="52" y="0"/>
                  </a:moveTo>
                  <a:lnTo>
                    <a:pt x="52" y="0"/>
                  </a:lnTo>
                  <a:lnTo>
                    <a:pt x="42" y="2"/>
                  </a:lnTo>
                  <a:lnTo>
                    <a:pt x="32" y="4"/>
                  </a:lnTo>
                  <a:lnTo>
                    <a:pt x="24" y="10"/>
                  </a:lnTo>
                  <a:lnTo>
                    <a:pt x="16" y="16"/>
                  </a:lnTo>
                  <a:lnTo>
                    <a:pt x="10" y="24"/>
                  </a:lnTo>
                  <a:lnTo>
                    <a:pt x="4" y="32"/>
                  </a:lnTo>
                  <a:lnTo>
                    <a:pt x="2" y="4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2" y="64"/>
                  </a:lnTo>
                  <a:lnTo>
                    <a:pt x="4" y="74"/>
                  </a:lnTo>
                  <a:lnTo>
                    <a:pt x="10" y="82"/>
                  </a:lnTo>
                  <a:lnTo>
                    <a:pt x="16" y="90"/>
                  </a:lnTo>
                  <a:lnTo>
                    <a:pt x="24" y="96"/>
                  </a:lnTo>
                  <a:lnTo>
                    <a:pt x="32" y="100"/>
                  </a:lnTo>
                  <a:lnTo>
                    <a:pt x="4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64" y="104"/>
                  </a:lnTo>
                  <a:lnTo>
                    <a:pt x="74" y="100"/>
                  </a:lnTo>
                  <a:lnTo>
                    <a:pt x="82" y="96"/>
                  </a:lnTo>
                  <a:lnTo>
                    <a:pt x="90" y="90"/>
                  </a:lnTo>
                  <a:lnTo>
                    <a:pt x="96" y="82"/>
                  </a:lnTo>
                  <a:lnTo>
                    <a:pt x="100" y="74"/>
                  </a:lnTo>
                  <a:lnTo>
                    <a:pt x="104" y="64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42"/>
                  </a:lnTo>
                  <a:lnTo>
                    <a:pt x="100" y="32"/>
                  </a:lnTo>
                  <a:lnTo>
                    <a:pt x="96" y="24"/>
                  </a:lnTo>
                  <a:lnTo>
                    <a:pt x="90" y="16"/>
                  </a:lnTo>
                  <a:lnTo>
                    <a:pt x="82" y="10"/>
                  </a:lnTo>
                  <a:lnTo>
                    <a:pt x="74" y="4"/>
                  </a:lnTo>
                  <a:lnTo>
                    <a:pt x="64" y="2"/>
                  </a:lnTo>
                  <a:lnTo>
                    <a:pt x="52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71" name="Freeform 216"/>
            <p:cNvSpPr>
              <a:spLocks/>
            </p:cNvSpPr>
            <p:nvPr/>
          </p:nvSpPr>
          <p:spPr bwMode="auto">
            <a:xfrm>
              <a:off x="6927264" y="5446291"/>
              <a:ext cx="61922" cy="61922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6" y="0"/>
                </a:cxn>
                <a:cxn ang="0">
                  <a:pos x="16" y="2"/>
                </a:cxn>
                <a:cxn ang="0">
                  <a:pos x="8" y="8"/>
                </a:cxn>
                <a:cxn ang="0">
                  <a:pos x="2" y="16"/>
                </a:cxn>
                <a:cxn ang="0">
                  <a:pos x="0" y="26"/>
                </a:cxn>
                <a:cxn ang="0">
                  <a:pos x="0" y="26"/>
                </a:cxn>
                <a:cxn ang="0">
                  <a:pos x="2" y="38"/>
                </a:cxn>
                <a:cxn ang="0">
                  <a:pos x="8" y="46"/>
                </a:cxn>
                <a:cxn ang="0">
                  <a:pos x="16" y="52"/>
                </a:cxn>
                <a:cxn ang="0">
                  <a:pos x="26" y="54"/>
                </a:cxn>
                <a:cxn ang="0">
                  <a:pos x="26" y="54"/>
                </a:cxn>
                <a:cxn ang="0">
                  <a:pos x="38" y="52"/>
                </a:cxn>
                <a:cxn ang="0">
                  <a:pos x="46" y="46"/>
                </a:cxn>
                <a:cxn ang="0">
                  <a:pos x="52" y="38"/>
                </a:cxn>
                <a:cxn ang="0">
                  <a:pos x="54" y="26"/>
                </a:cxn>
                <a:cxn ang="0">
                  <a:pos x="54" y="26"/>
                </a:cxn>
                <a:cxn ang="0">
                  <a:pos x="52" y="16"/>
                </a:cxn>
                <a:cxn ang="0">
                  <a:pos x="46" y="8"/>
                </a:cxn>
                <a:cxn ang="0">
                  <a:pos x="38" y="2"/>
                </a:cxn>
                <a:cxn ang="0">
                  <a:pos x="26" y="0"/>
                </a:cxn>
              </a:cxnLst>
              <a:rect l="0" t="0" r="r" b="b"/>
              <a:pathLst>
                <a:path w="54" h="54">
                  <a:moveTo>
                    <a:pt x="26" y="0"/>
                  </a:moveTo>
                  <a:lnTo>
                    <a:pt x="26" y="0"/>
                  </a:lnTo>
                  <a:lnTo>
                    <a:pt x="16" y="2"/>
                  </a:lnTo>
                  <a:lnTo>
                    <a:pt x="8" y="8"/>
                  </a:lnTo>
                  <a:lnTo>
                    <a:pt x="2" y="1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38"/>
                  </a:lnTo>
                  <a:lnTo>
                    <a:pt x="8" y="46"/>
                  </a:lnTo>
                  <a:lnTo>
                    <a:pt x="16" y="52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38" y="52"/>
                  </a:lnTo>
                  <a:lnTo>
                    <a:pt x="46" y="46"/>
                  </a:lnTo>
                  <a:lnTo>
                    <a:pt x="52" y="38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2" y="16"/>
                  </a:lnTo>
                  <a:lnTo>
                    <a:pt x="46" y="8"/>
                  </a:lnTo>
                  <a:lnTo>
                    <a:pt x="38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72" name="Freeform 217"/>
            <p:cNvSpPr>
              <a:spLocks/>
            </p:cNvSpPr>
            <p:nvPr/>
          </p:nvSpPr>
          <p:spPr bwMode="auto">
            <a:xfrm>
              <a:off x="6927264" y="5446291"/>
              <a:ext cx="61922" cy="61922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6" y="0"/>
                </a:cxn>
                <a:cxn ang="0">
                  <a:pos x="16" y="2"/>
                </a:cxn>
                <a:cxn ang="0">
                  <a:pos x="8" y="8"/>
                </a:cxn>
                <a:cxn ang="0">
                  <a:pos x="2" y="16"/>
                </a:cxn>
                <a:cxn ang="0">
                  <a:pos x="0" y="26"/>
                </a:cxn>
                <a:cxn ang="0">
                  <a:pos x="0" y="26"/>
                </a:cxn>
                <a:cxn ang="0">
                  <a:pos x="2" y="38"/>
                </a:cxn>
                <a:cxn ang="0">
                  <a:pos x="8" y="46"/>
                </a:cxn>
                <a:cxn ang="0">
                  <a:pos x="16" y="52"/>
                </a:cxn>
                <a:cxn ang="0">
                  <a:pos x="26" y="54"/>
                </a:cxn>
                <a:cxn ang="0">
                  <a:pos x="26" y="54"/>
                </a:cxn>
                <a:cxn ang="0">
                  <a:pos x="38" y="52"/>
                </a:cxn>
                <a:cxn ang="0">
                  <a:pos x="46" y="46"/>
                </a:cxn>
                <a:cxn ang="0">
                  <a:pos x="52" y="38"/>
                </a:cxn>
                <a:cxn ang="0">
                  <a:pos x="54" y="26"/>
                </a:cxn>
                <a:cxn ang="0">
                  <a:pos x="54" y="26"/>
                </a:cxn>
                <a:cxn ang="0">
                  <a:pos x="52" y="16"/>
                </a:cxn>
                <a:cxn ang="0">
                  <a:pos x="46" y="8"/>
                </a:cxn>
                <a:cxn ang="0">
                  <a:pos x="38" y="2"/>
                </a:cxn>
                <a:cxn ang="0">
                  <a:pos x="26" y="0"/>
                </a:cxn>
              </a:cxnLst>
              <a:rect l="0" t="0" r="r" b="b"/>
              <a:pathLst>
                <a:path w="54" h="54">
                  <a:moveTo>
                    <a:pt x="26" y="0"/>
                  </a:moveTo>
                  <a:lnTo>
                    <a:pt x="26" y="0"/>
                  </a:lnTo>
                  <a:lnTo>
                    <a:pt x="16" y="2"/>
                  </a:lnTo>
                  <a:lnTo>
                    <a:pt x="8" y="8"/>
                  </a:lnTo>
                  <a:lnTo>
                    <a:pt x="2" y="1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38"/>
                  </a:lnTo>
                  <a:lnTo>
                    <a:pt x="8" y="46"/>
                  </a:lnTo>
                  <a:lnTo>
                    <a:pt x="16" y="52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38" y="52"/>
                  </a:lnTo>
                  <a:lnTo>
                    <a:pt x="46" y="46"/>
                  </a:lnTo>
                  <a:lnTo>
                    <a:pt x="52" y="38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2" y="16"/>
                  </a:lnTo>
                  <a:lnTo>
                    <a:pt x="46" y="8"/>
                  </a:lnTo>
                  <a:lnTo>
                    <a:pt x="38" y="2"/>
                  </a:lnTo>
                  <a:lnTo>
                    <a:pt x="26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73" name="Freeform 218"/>
            <p:cNvSpPr>
              <a:spLocks/>
            </p:cNvSpPr>
            <p:nvPr/>
          </p:nvSpPr>
          <p:spPr bwMode="auto">
            <a:xfrm>
              <a:off x="7502906" y="4751393"/>
              <a:ext cx="208699" cy="208699"/>
            </a:xfrm>
            <a:custGeom>
              <a:avLst/>
              <a:gdLst/>
              <a:ahLst/>
              <a:cxnLst>
                <a:cxn ang="0">
                  <a:pos x="92" y="0"/>
                </a:cxn>
                <a:cxn ang="0">
                  <a:pos x="92" y="0"/>
                </a:cxn>
                <a:cxn ang="0">
                  <a:pos x="72" y="2"/>
                </a:cxn>
                <a:cxn ang="0">
                  <a:pos x="56" y="8"/>
                </a:cxn>
                <a:cxn ang="0">
                  <a:pos x="40" y="16"/>
                </a:cxn>
                <a:cxn ang="0">
                  <a:pos x="26" y="28"/>
                </a:cxn>
                <a:cxn ang="0">
                  <a:pos x="16" y="40"/>
                </a:cxn>
                <a:cxn ang="0">
                  <a:pos x="8" y="56"/>
                </a:cxn>
                <a:cxn ang="0">
                  <a:pos x="2" y="74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2" y="110"/>
                </a:cxn>
                <a:cxn ang="0">
                  <a:pos x="8" y="128"/>
                </a:cxn>
                <a:cxn ang="0">
                  <a:pos x="16" y="142"/>
                </a:cxn>
                <a:cxn ang="0">
                  <a:pos x="26" y="156"/>
                </a:cxn>
                <a:cxn ang="0">
                  <a:pos x="40" y="168"/>
                </a:cxn>
                <a:cxn ang="0">
                  <a:pos x="56" y="176"/>
                </a:cxn>
                <a:cxn ang="0">
                  <a:pos x="72" y="182"/>
                </a:cxn>
                <a:cxn ang="0">
                  <a:pos x="92" y="182"/>
                </a:cxn>
                <a:cxn ang="0">
                  <a:pos x="92" y="182"/>
                </a:cxn>
                <a:cxn ang="0">
                  <a:pos x="110" y="182"/>
                </a:cxn>
                <a:cxn ang="0">
                  <a:pos x="126" y="176"/>
                </a:cxn>
                <a:cxn ang="0">
                  <a:pos x="142" y="168"/>
                </a:cxn>
                <a:cxn ang="0">
                  <a:pos x="156" y="156"/>
                </a:cxn>
                <a:cxn ang="0">
                  <a:pos x="168" y="142"/>
                </a:cxn>
                <a:cxn ang="0">
                  <a:pos x="176" y="128"/>
                </a:cxn>
                <a:cxn ang="0">
                  <a:pos x="180" y="110"/>
                </a:cxn>
                <a:cxn ang="0">
                  <a:pos x="182" y="92"/>
                </a:cxn>
                <a:cxn ang="0">
                  <a:pos x="182" y="92"/>
                </a:cxn>
                <a:cxn ang="0">
                  <a:pos x="180" y="74"/>
                </a:cxn>
                <a:cxn ang="0">
                  <a:pos x="176" y="56"/>
                </a:cxn>
                <a:cxn ang="0">
                  <a:pos x="168" y="40"/>
                </a:cxn>
                <a:cxn ang="0">
                  <a:pos x="156" y="28"/>
                </a:cxn>
                <a:cxn ang="0">
                  <a:pos x="142" y="16"/>
                </a:cxn>
                <a:cxn ang="0">
                  <a:pos x="126" y="8"/>
                </a:cxn>
                <a:cxn ang="0">
                  <a:pos x="110" y="2"/>
                </a:cxn>
                <a:cxn ang="0">
                  <a:pos x="92" y="0"/>
                </a:cxn>
              </a:cxnLst>
              <a:rect l="0" t="0" r="r" b="b"/>
              <a:pathLst>
                <a:path w="182" h="182">
                  <a:moveTo>
                    <a:pt x="92" y="0"/>
                  </a:moveTo>
                  <a:lnTo>
                    <a:pt x="92" y="0"/>
                  </a:lnTo>
                  <a:lnTo>
                    <a:pt x="72" y="2"/>
                  </a:lnTo>
                  <a:lnTo>
                    <a:pt x="56" y="8"/>
                  </a:lnTo>
                  <a:lnTo>
                    <a:pt x="40" y="16"/>
                  </a:lnTo>
                  <a:lnTo>
                    <a:pt x="26" y="28"/>
                  </a:lnTo>
                  <a:lnTo>
                    <a:pt x="16" y="40"/>
                  </a:lnTo>
                  <a:lnTo>
                    <a:pt x="8" y="56"/>
                  </a:lnTo>
                  <a:lnTo>
                    <a:pt x="2" y="74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2" y="110"/>
                  </a:lnTo>
                  <a:lnTo>
                    <a:pt x="8" y="128"/>
                  </a:lnTo>
                  <a:lnTo>
                    <a:pt x="16" y="142"/>
                  </a:lnTo>
                  <a:lnTo>
                    <a:pt x="26" y="156"/>
                  </a:lnTo>
                  <a:lnTo>
                    <a:pt x="40" y="168"/>
                  </a:lnTo>
                  <a:lnTo>
                    <a:pt x="56" y="176"/>
                  </a:lnTo>
                  <a:lnTo>
                    <a:pt x="72" y="182"/>
                  </a:lnTo>
                  <a:lnTo>
                    <a:pt x="92" y="182"/>
                  </a:lnTo>
                  <a:lnTo>
                    <a:pt x="92" y="182"/>
                  </a:lnTo>
                  <a:lnTo>
                    <a:pt x="110" y="182"/>
                  </a:lnTo>
                  <a:lnTo>
                    <a:pt x="126" y="176"/>
                  </a:lnTo>
                  <a:lnTo>
                    <a:pt x="142" y="168"/>
                  </a:lnTo>
                  <a:lnTo>
                    <a:pt x="156" y="156"/>
                  </a:lnTo>
                  <a:lnTo>
                    <a:pt x="168" y="142"/>
                  </a:lnTo>
                  <a:lnTo>
                    <a:pt x="176" y="128"/>
                  </a:lnTo>
                  <a:lnTo>
                    <a:pt x="180" y="110"/>
                  </a:lnTo>
                  <a:lnTo>
                    <a:pt x="182" y="92"/>
                  </a:lnTo>
                  <a:lnTo>
                    <a:pt x="182" y="92"/>
                  </a:lnTo>
                  <a:lnTo>
                    <a:pt x="180" y="74"/>
                  </a:lnTo>
                  <a:lnTo>
                    <a:pt x="176" y="56"/>
                  </a:lnTo>
                  <a:lnTo>
                    <a:pt x="168" y="40"/>
                  </a:lnTo>
                  <a:lnTo>
                    <a:pt x="156" y="28"/>
                  </a:lnTo>
                  <a:lnTo>
                    <a:pt x="142" y="16"/>
                  </a:lnTo>
                  <a:lnTo>
                    <a:pt x="126" y="8"/>
                  </a:lnTo>
                  <a:lnTo>
                    <a:pt x="110" y="2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74" name="Freeform 219"/>
            <p:cNvSpPr>
              <a:spLocks/>
            </p:cNvSpPr>
            <p:nvPr/>
          </p:nvSpPr>
          <p:spPr bwMode="auto">
            <a:xfrm>
              <a:off x="7502906" y="4751393"/>
              <a:ext cx="208699" cy="208699"/>
            </a:xfrm>
            <a:custGeom>
              <a:avLst/>
              <a:gdLst/>
              <a:ahLst/>
              <a:cxnLst>
                <a:cxn ang="0">
                  <a:pos x="92" y="0"/>
                </a:cxn>
                <a:cxn ang="0">
                  <a:pos x="92" y="0"/>
                </a:cxn>
                <a:cxn ang="0">
                  <a:pos x="72" y="2"/>
                </a:cxn>
                <a:cxn ang="0">
                  <a:pos x="56" y="8"/>
                </a:cxn>
                <a:cxn ang="0">
                  <a:pos x="40" y="16"/>
                </a:cxn>
                <a:cxn ang="0">
                  <a:pos x="26" y="28"/>
                </a:cxn>
                <a:cxn ang="0">
                  <a:pos x="16" y="40"/>
                </a:cxn>
                <a:cxn ang="0">
                  <a:pos x="8" y="56"/>
                </a:cxn>
                <a:cxn ang="0">
                  <a:pos x="2" y="74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2" y="110"/>
                </a:cxn>
                <a:cxn ang="0">
                  <a:pos x="8" y="128"/>
                </a:cxn>
                <a:cxn ang="0">
                  <a:pos x="16" y="142"/>
                </a:cxn>
                <a:cxn ang="0">
                  <a:pos x="26" y="156"/>
                </a:cxn>
                <a:cxn ang="0">
                  <a:pos x="40" y="168"/>
                </a:cxn>
                <a:cxn ang="0">
                  <a:pos x="56" y="176"/>
                </a:cxn>
                <a:cxn ang="0">
                  <a:pos x="72" y="182"/>
                </a:cxn>
                <a:cxn ang="0">
                  <a:pos x="92" y="182"/>
                </a:cxn>
                <a:cxn ang="0">
                  <a:pos x="92" y="182"/>
                </a:cxn>
                <a:cxn ang="0">
                  <a:pos x="110" y="182"/>
                </a:cxn>
                <a:cxn ang="0">
                  <a:pos x="126" y="176"/>
                </a:cxn>
                <a:cxn ang="0">
                  <a:pos x="142" y="168"/>
                </a:cxn>
                <a:cxn ang="0">
                  <a:pos x="156" y="156"/>
                </a:cxn>
                <a:cxn ang="0">
                  <a:pos x="168" y="142"/>
                </a:cxn>
                <a:cxn ang="0">
                  <a:pos x="176" y="128"/>
                </a:cxn>
                <a:cxn ang="0">
                  <a:pos x="180" y="110"/>
                </a:cxn>
                <a:cxn ang="0">
                  <a:pos x="182" y="92"/>
                </a:cxn>
                <a:cxn ang="0">
                  <a:pos x="182" y="92"/>
                </a:cxn>
                <a:cxn ang="0">
                  <a:pos x="180" y="74"/>
                </a:cxn>
                <a:cxn ang="0">
                  <a:pos x="176" y="56"/>
                </a:cxn>
                <a:cxn ang="0">
                  <a:pos x="168" y="40"/>
                </a:cxn>
                <a:cxn ang="0">
                  <a:pos x="156" y="28"/>
                </a:cxn>
                <a:cxn ang="0">
                  <a:pos x="142" y="16"/>
                </a:cxn>
                <a:cxn ang="0">
                  <a:pos x="126" y="8"/>
                </a:cxn>
                <a:cxn ang="0">
                  <a:pos x="110" y="2"/>
                </a:cxn>
                <a:cxn ang="0">
                  <a:pos x="92" y="0"/>
                </a:cxn>
              </a:cxnLst>
              <a:rect l="0" t="0" r="r" b="b"/>
              <a:pathLst>
                <a:path w="182" h="182">
                  <a:moveTo>
                    <a:pt x="92" y="0"/>
                  </a:moveTo>
                  <a:lnTo>
                    <a:pt x="92" y="0"/>
                  </a:lnTo>
                  <a:lnTo>
                    <a:pt x="72" y="2"/>
                  </a:lnTo>
                  <a:lnTo>
                    <a:pt x="56" y="8"/>
                  </a:lnTo>
                  <a:lnTo>
                    <a:pt x="40" y="16"/>
                  </a:lnTo>
                  <a:lnTo>
                    <a:pt x="26" y="28"/>
                  </a:lnTo>
                  <a:lnTo>
                    <a:pt x="16" y="40"/>
                  </a:lnTo>
                  <a:lnTo>
                    <a:pt x="8" y="56"/>
                  </a:lnTo>
                  <a:lnTo>
                    <a:pt x="2" y="74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2" y="110"/>
                  </a:lnTo>
                  <a:lnTo>
                    <a:pt x="8" y="128"/>
                  </a:lnTo>
                  <a:lnTo>
                    <a:pt x="16" y="142"/>
                  </a:lnTo>
                  <a:lnTo>
                    <a:pt x="26" y="156"/>
                  </a:lnTo>
                  <a:lnTo>
                    <a:pt x="40" y="168"/>
                  </a:lnTo>
                  <a:lnTo>
                    <a:pt x="56" y="176"/>
                  </a:lnTo>
                  <a:lnTo>
                    <a:pt x="72" y="182"/>
                  </a:lnTo>
                  <a:lnTo>
                    <a:pt x="92" y="182"/>
                  </a:lnTo>
                  <a:lnTo>
                    <a:pt x="92" y="182"/>
                  </a:lnTo>
                  <a:lnTo>
                    <a:pt x="110" y="182"/>
                  </a:lnTo>
                  <a:lnTo>
                    <a:pt x="126" y="176"/>
                  </a:lnTo>
                  <a:lnTo>
                    <a:pt x="142" y="168"/>
                  </a:lnTo>
                  <a:lnTo>
                    <a:pt x="156" y="156"/>
                  </a:lnTo>
                  <a:lnTo>
                    <a:pt x="168" y="142"/>
                  </a:lnTo>
                  <a:lnTo>
                    <a:pt x="176" y="128"/>
                  </a:lnTo>
                  <a:lnTo>
                    <a:pt x="180" y="110"/>
                  </a:lnTo>
                  <a:lnTo>
                    <a:pt x="182" y="92"/>
                  </a:lnTo>
                  <a:lnTo>
                    <a:pt x="182" y="92"/>
                  </a:lnTo>
                  <a:lnTo>
                    <a:pt x="180" y="74"/>
                  </a:lnTo>
                  <a:lnTo>
                    <a:pt x="176" y="56"/>
                  </a:lnTo>
                  <a:lnTo>
                    <a:pt x="168" y="40"/>
                  </a:lnTo>
                  <a:lnTo>
                    <a:pt x="156" y="28"/>
                  </a:lnTo>
                  <a:lnTo>
                    <a:pt x="142" y="16"/>
                  </a:lnTo>
                  <a:lnTo>
                    <a:pt x="126" y="8"/>
                  </a:lnTo>
                  <a:lnTo>
                    <a:pt x="110" y="2"/>
                  </a:lnTo>
                  <a:lnTo>
                    <a:pt x="92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75" name="Freeform 220"/>
            <p:cNvSpPr>
              <a:spLocks/>
            </p:cNvSpPr>
            <p:nvPr/>
          </p:nvSpPr>
          <p:spPr bwMode="auto">
            <a:xfrm>
              <a:off x="7250633" y="5478398"/>
              <a:ext cx="208699" cy="208699"/>
            </a:xfrm>
            <a:custGeom>
              <a:avLst/>
              <a:gdLst/>
              <a:ahLst/>
              <a:cxnLst>
                <a:cxn ang="0">
                  <a:pos x="92" y="0"/>
                </a:cxn>
                <a:cxn ang="0">
                  <a:pos x="92" y="0"/>
                </a:cxn>
                <a:cxn ang="0">
                  <a:pos x="72" y="2"/>
                </a:cxn>
                <a:cxn ang="0">
                  <a:pos x="56" y="6"/>
                </a:cxn>
                <a:cxn ang="0">
                  <a:pos x="40" y="14"/>
                </a:cxn>
                <a:cxn ang="0">
                  <a:pos x="26" y="26"/>
                </a:cxn>
                <a:cxn ang="0">
                  <a:pos x="16" y="40"/>
                </a:cxn>
                <a:cxn ang="0">
                  <a:pos x="6" y="54"/>
                </a:cxn>
                <a:cxn ang="0">
                  <a:pos x="2" y="72"/>
                </a:cxn>
                <a:cxn ang="0">
                  <a:pos x="0" y="90"/>
                </a:cxn>
                <a:cxn ang="0">
                  <a:pos x="0" y="90"/>
                </a:cxn>
                <a:cxn ang="0">
                  <a:pos x="2" y="108"/>
                </a:cxn>
                <a:cxn ang="0">
                  <a:pos x="6" y="126"/>
                </a:cxn>
                <a:cxn ang="0">
                  <a:pos x="16" y="142"/>
                </a:cxn>
                <a:cxn ang="0">
                  <a:pos x="26" y="156"/>
                </a:cxn>
                <a:cxn ang="0">
                  <a:pos x="40" y="166"/>
                </a:cxn>
                <a:cxn ang="0">
                  <a:pos x="56" y="174"/>
                </a:cxn>
                <a:cxn ang="0">
                  <a:pos x="72" y="180"/>
                </a:cxn>
                <a:cxn ang="0">
                  <a:pos x="92" y="182"/>
                </a:cxn>
                <a:cxn ang="0">
                  <a:pos x="92" y="182"/>
                </a:cxn>
                <a:cxn ang="0">
                  <a:pos x="110" y="180"/>
                </a:cxn>
                <a:cxn ang="0">
                  <a:pos x="126" y="174"/>
                </a:cxn>
                <a:cxn ang="0">
                  <a:pos x="142" y="166"/>
                </a:cxn>
                <a:cxn ang="0">
                  <a:pos x="156" y="156"/>
                </a:cxn>
                <a:cxn ang="0">
                  <a:pos x="166" y="142"/>
                </a:cxn>
                <a:cxn ang="0">
                  <a:pos x="176" y="126"/>
                </a:cxn>
                <a:cxn ang="0">
                  <a:pos x="180" y="108"/>
                </a:cxn>
                <a:cxn ang="0">
                  <a:pos x="182" y="90"/>
                </a:cxn>
                <a:cxn ang="0">
                  <a:pos x="182" y="90"/>
                </a:cxn>
                <a:cxn ang="0">
                  <a:pos x="180" y="72"/>
                </a:cxn>
                <a:cxn ang="0">
                  <a:pos x="176" y="54"/>
                </a:cxn>
                <a:cxn ang="0">
                  <a:pos x="166" y="40"/>
                </a:cxn>
                <a:cxn ang="0">
                  <a:pos x="156" y="26"/>
                </a:cxn>
                <a:cxn ang="0">
                  <a:pos x="142" y="14"/>
                </a:cxn>
                <a:cxn ang="0">
                  <a:pos x="126" y="6"/>
                </a:cxn>
                <a:cxn ang="0">
                  <a:pos x="110" y="2"/>
                </a:cxn>
                <a:cxn ang="0">
                  <a:pos x="92" y="0"/>
                </a:cxn>
              </a:cxnLst>
              <a:rect l="0" t="0" r="r" b="b"/>
              <a:pathLst>
                <a:path w="182" h="182">
                  <a:moveTo>
                    <a:pt x="92" y="0"/>
                  </a:moveTo>
                  <a:lnTo>
                    <a:pt x="92" y="0"/>
                  </a:lnTo>
                  <a:lnTo>
                    <a:pt x="72" y="2"/>
                  </a:lnTo>
                  <a:lnTo>
                    <a:pt x="56" y="6"/>
                  </a:lnTo>
                  <a:lnTo>
                    <a:pt x="40" y="14"/>
                  </a:lnTo>
                  <a:lnTo>
                    <a:pt x="26" y="26"/>
                  </a:lnTo>
                  <a:lnTo>
                    <a:pt x="16" y="40"/>
                  </a:lnTo>
                  <a:lnTo>
                    <a:pt x="6" y="54"/>
                  </a:lnTo>
                  <a:lnTo>
                    <a:pt x="2" y="72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2" y="108"/>
                  </a:lnTo>
                  <a:lnTo>
                    <a:pt x="6" y="126"/>
                  </a:lnTo>
                  <a:lnTo>
                    <a:pt x="16" y="142"/>
                  </a:lnTo>
                  <a:lnTo>
                    <a:pt x="26" y="156"/>
                  </a:lnTo>
                  <a:lnTo>
                    <a:pt x="40" y="166"/>
                  </a:lnTo>
                  <a:lnTo>
                    <a:pt x="56" y="174"/>
                  </a:lnTo>
                  <a:lnTo>
                    <a:pt x="72" y="180"/>
                  </a:lnTo>
                  <a:lnTo>
                    <a:pt x="92" y="182"/>
                  </a:lnTo>
                  <a:lnTo>
                    <a:pt x="92" y="182"/>
                  </a:lnTo>
                  <a:lnTo>
                    <a:pt x="110" y="180"/>
                  </a:lnTo>
                  <a:lnTo>
                    <a:pt x="126" y="174"/>
                  </a:lnTo>
                  <a:lnTo>
                    <a:pt x="142" y="166"/>
                  </a:lnTo>
                  <a:lnTo>
                    <a:pt x="156" y="156"/>
                  </a:lnTo>
                  <a:lnTo>
                    <a:pt x="166" y="142"/>
                  </a:lnTo>
                  <a:lnTo>
                    <a:pt x="176" y="126"/>
                  </a:lnTo>
                  <a:lnTo>
                    <a:pt x="180" y="108"/>
                  </a:lnTo>
                  <a:lnTo>
                    <a:pt x="182" y="90"/>
                  </a:lnTo>
                  <a:lnTo>
                    <a:pt x="182" y="90"/>
                  </a:lnTo>
                  <a:lnTo>
                    <a:pt x="180" y="72"/>
                  </a:lnTo>
                  <a:lnTo>
                    <a:pt x="176" y="54"/>
                  </a:lnTo>
                  <a:lnTo>
                    <a:pt x="166" y="40"/>
                  </a:lnTo>
                  <a:lnTo>
                    <a:pt x="156" y="26"/>
                  </a:lnTo>
                  <a:lnTo>
                    <a:pt x="142" y="14"/>
                  </a:lnTo>
                  <a:lnTo>
                    <a:pt x="126" y="6"/>
                  </a:lnTo>
                  <a:lnTo>
                    <a:pt x="110" y="2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76" name="Freeform 221"/>
            <p:cNvSpPr>
              <a:spLocks/>
            </p:cNvSpPr>
            <p:nvPr/>
          </p:nvSpPr>
          <p:spPr bwMode="auto">
            <a:xfrm>
              <a:off x="7250633" y="5478398"/>
              <a:ext cx="208699" cy="208699"/>
            </a:xfrm>
            <a:custGeom>
              <a:avLst/>
              <a:gdLst/>
              <a:ahLst/>
              <a:cxnLst>
                <a:cxn ang="0">
                  <a:pos x="92" y="0"/>
                </a:cxn>
                <a:cxn ang="0">
                  <a:pos x="92" y="0"/>
                </a:cxn>
                <a:cxn ang="0">
                  <a:pos x="72" y="2"/>
                </a:cxn>
                <a:cxn ang="0">
                  <a:pos x="56" y="6"/>
                </a:cxn>
                <a:cxn ang="0">
                  <a:pos x="40" y="14"/>
                </a:cxn>
                <a:cxn ang="0">
                  <a:pos x="26" y="26"/>
                </a:cxn>
                <a:cxn ang="0">
                  <a:pos x="16" y="40"/>
                </a:cxn>
                <a:cxn ang="0">
                  <a:pos x="6" y="54"/>
                </a:cxn>
                <a:cxn ang="0">
                  <a:pos x="2" y="72"/>
                </a:cxn>
                <a:cxn ang="0">
                  <a:pos x="0" y="90"/>
                </a:cxn>
                <a:cxn ang="0">
                  <a:pos x="0" y="90"/>
                </a:cxn>
                <a:cxn ang="0">
                  <a:pos x="2" y="108"/>
                </a:cxn>
                <a:cxn ang="0">
                  <a:pos x="6" y="126"/>
                </a:cxn>
                <a:cxn ang="0">
                  <a:pos x="16" y="142"/>
                </a:cxn>
                <a:cxn ang="0">
                  <a:pos x="26" y="156"/>
                </a:cxn>
                <a:cxn ang="0">
                  <a:pos x="40" y="166"/>
                </a:cxn>
                <a:cxn ang="0">
                  <a:pos x="56" y="174"/>
                </a:cxn>
                <a:cxn ang="0">
                  <a:pos x="72" y="180"/>
                </a:cxn>
                <a:cxn ang="0">
                  <a:pos x="92" y="182"/>
                </a:cxn>
                <a:cxn ang="0">
                  <a:pos x="92" y="182"/>
                </a:cxn>
                <a:cxn ang="0">
                  <a:pos x="110" y="180"/>
                </a:cxn>
                <a:cxn ang="0">
                  <a:pos x="126" y="174"/>
                </a:cxn>
                <a:cxn ang="0">
                  <a:pos x="142" y="166"/>
                </a:cxn>
                <a:cxn ang="0">
                  <a:pos x="156" y="156"/>
                </a:cxn>
                <a:cxn ang="0">
                  <a:pos x="166" y="142"/>
                </a:cxn>
                <a:cxn ang="0">
                  <a:pos x="176" y="126"/>
                </a:cxn>
                <a:cxn ang="0">
                  <a:pos x="180" y="108"/>
                </a:cxn>
                <a:cxn ang="0">
                  <a:pos x="182" y="90"/>
                </a:cxn>
                <a:cxn ang="0">
                  <a:pos x="182" y="90"/>
                </a:cxn>
                <a:cxn ang="0">
                  <a:pos x="180" y="72"/>
                </a:cxn>
                <a:cxn ang="0">
                  <a:pos x="176" y="54"/>
                </a:cxn>
                <a:cxn ang="0">
                  <a:pos x="166" y="40"/>
                </a:cxn>
                <a:cxn ang="0">
                  <a:pos x="156" y="26"/>
                </a:cxn>
                <a:cxn ang="0">
                  <a:pos x="142" y="14"/>
                </a:cxn>
                <a:cxn ang="0">
                  <a:pos x="126" y="6"/>
                </a:cxn>
                <a:cxn ang="0">
                  <a:pos x="110" y="2"/>
                </a:cxn>
                <a:cxn ang="0">
                  <a:pos x="92" y="0"/>
                </a:cxn>
              </a:cxnLst>
              <a:rect l="0" t="0" r="r" b="b"/>
              <a:pathLst>
                <a:path w="182" h="182">
                  <a:moveTo>
                    <a:pt x="92" y="0"/>
                  </a:moveTo>
                  <a:lnTo>
                    <a:pt x="92" y="0"/>
                  </a:lnTo>
                  <a:lnTo>
                    <a:pt x="72" y="2"/>
                  </a:lnTo>
                  <a:lnTo>
                    <a:pt x="56" y="6"/>
                  </a:lnTo>
                  <a:lnTo>
                    <a:pt x="40" y="14"/>
                  </a:lnTo>
                  <a:lnTo>
                    <a:pt x="26" y="26"/>
                  </a:lnTo>
                  <a:lnTo>
                    <a:pt x="16" y="40"/>
                  </a:lnTo>
                  <a:lnTo>
                    <a:pt x="6" y="54"/>
                  </a:lnTo>
                  <a:lnTo>
                    <a:pt x="2" y="72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2" y="108"/>
                  </a:lnTo>
                  <a:lnTo>
                    <a:pt x="6" y="126"/>
                  </a:lnTo>
                  <a:lnTo>
                    <a:pt x="16" y="142"/>
                  </a:lnTo>
                  <a:lnTo>
                    <a:pt x="26" y="156"/>
                  </a:lnTo>
                  <a:lnTo>
                    <a:pt x="40" y="166"/>
                  </a:lnTo>
                  <a:lnTo>
                    <a:pt x="56" y="174"/>
                  </a:lnTo>
                  <a:lnTo>
                    <a:pt x="72" y="180"/>
                  </a:lnTo>
                  <a:lnTo>
                    <a:pt x="92" y="182"/>
                  </a:lnTo>
                  <a:lnTo>
                    <a:pt x="92" y="182"/>
                  </a:lnTo>
                  <a:lnTo>
                    <a:pt x="110" y="180"/>
                  </a:lnTo>
                  <a:lnTo>
                    <a:pt x="126" y="174"/>
                  </a:lnTo>
                  <a:lnTo>
                    <a:pt x="142" y="166"/>
                  </a:lnTo>
                  <a:lnTo>
                    <a:pt x="156" y="156"/>
                  </a:lnTo>
                  <a:lnTo>
                    <a:pt x="166" y="142"/>
                  </a:lnTo>
                  <a:lnTo>
                    <a:pt x="176" y="126"/>
                  </a:lnTo>
                  <a:lnTo>
                    <a:pt x="180" y="108"/>
                  </a:lnTo>
                  <a:lnTo>
                    <a:pt x="182" y="90"/>
                  </a:lnTo>
                  <a:lnTo>
                    <a:pt x="182" y="90"/>
                  </a:lnTo>
                  <a:lnTo>
                    <a:pt x="180" y="72"/>
                  </a:lnTo>
                  <a:lnTo>
                    <a:pt x="176" y="54"/>
                  </a:lnTo>
                  <a:lnTo>
                    <a:pt x="166" y="40"/>
                  </a:lnTo>
                  <a:lnTo>
                    <a:pt x="156" y="26"/>
                  </a:lnTo>
                  <a:lnTo>
                    <a:pt x="142" y="14"/>
                  </a:lnTo>
                  <a:lnTo>
                    <a:pt x="126" y="6"/>
                  </a:lnTo>
                  <a:lnTo>
                    <a:pt x="110" y="2"/>
                  </a:lnTo>
                  <a:lnTo>
                    <a:pt x="92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77" name="Freeform 223"/>
            <p:cNvSpPr>
              <a:spLocks/>
            </p:cNvSpPr>
            <p:nvPr/>
          </p:nvSpPr>
          <p:spPr bwMode="auto">
            <a:xfrm>
              <a:off x="8615202" y="5219245"/>
              <a:ext cx="348596" cy="348596"/>
            </a:xfrm>
            <a:custGeom>
              <a:avLst/>
              <a:gdLst/>
              <a:ahLst/>
              <a:cxnLst>
                <a:cxn ang="0">
                  <a:pos x="152" y="0"/>
                </a:cxn>
                <a:cxn ang="0">
                  <a:pos x="122" y="2"/>
                </a:cxn>
                <a:cxn ang="0">
                  <a:pos x="94" y="12"/>
                </a:cxn>
                <a:cxn ang="0">
                  <a:pos x="68" y="26"/>
                </a:cxn>
                <a:cxn ang="0">
                  <a:pos x="46" y="44"/>
                </a:cxn>
                <a:cxn ang="0">
                  <a:pos x="26" y="66"/>
                </a:cxn>
                <a:cxn ang="0">
                  <a:pos x="12" y="92"/>
                </a:cxn>
                <a:cxn ang="0">
                  <a:pos x="4" y="120"/>
                </a:cxn>
                <a:cxn ang="0">
                  <a:pos x="0" y="152"/>
                </a:cxn>
                <a:cxn ang="0">
                  <a:pos x="2" y="168"/>
                </a:cxn>
                <a:cxn ang="0">
                  <a:pos x="8" y="196"/>
                </a:cxn>
                <a:cxn ang="0">
                  <a:pos x="20" y="224"/>
                </a:cxn>
                <a:cxn ang="0">
                  <a:pos x="36" y="248"/>
                </a:cxn>
                <a:cxn ang="0">
                  <a:pos x="56" y="268"/>
                </a:cxn>
                <a:cxn ang="0">
                  <a:pos x="80" y="284"/>
                </a:cxn>
                <a:cxn ang="0">
                  <a:pos x="108" y="296"/>
                </a:cxn>
                <a:cxn ang="0">
                  <a:pos x="136" y="302"/>
                </a:cxn>
                <a:cxn ang="0">
                  <a:pos x="152" y="304"/>
                </a:cxn>
                <a:cxn ang="0">
                  <a:pos x="184" y="300"/>
                </a:cxn>
                <a:cxn ang="0">
                  <a:pos x="212" y="292"/>
                </a:cxn>
                <a:cxn ang="0">
                  <a:pos x="238" y="278"/>
                </a:cxn>
                <a:cxn ang="0">
                  <a:pos x="260" y="258"/>
                </a:cxn>
                <a:cxn ang="0">
                  <a:pos x="278" y="236"/>
                </a:cxn>
                <a:cxn ang="0">
                  <a:pos x="292" y="210"/>
                </a:cxn>
                <a:cxn ang="0">
                  <a:pos x="302" y="182"/>
                </a:cxn>
                <a:cxn ang="0">
                  <a:pos x="304" y="152"/>
                </a:cxn>
                <a:cxn ang="0">
                  <a:pos x="304" y="136"/>
                </a:cxn>
                <a:cxn ang="0">
                  <a:pos x="298" y="106"/>
                </a:cxn>
                <a:cxn ang="0">
                  <a:pos x="286" y="80"/>
                </a:cxn>
                <a:cxn ang="0">
                  <a:pos x="270" y="54"/>
                </a:cxn>
                <a:cxn ang="0">
                  <a:pos x="250" y="34"/>
                </a:cxn>
                <a:cxn ang="0">
                  <a:pos x="224" y="18"/>
                </a:cxn>
                <a:cxn ang="0">
                  <a:pos x="198" y="6"/>
                </a:cxn>
                <a:cxn ang="0">
                  <a:pos x="168" y="0"/>
                </a:cxn>
              </a:cxnLst>
              <a:rect l="0" t="0" r="r" b="b"/>
              <a:pathLst>
                <a:path w="304" h="304">
                  <a:moveTo>
                    <a:pt x="152" y="0"/>
                  </a:moveTo>
                  <a:lnTo>
                    <a:pt x="152" y="0"/>
                  </a:lnTo>
                  <a:lnTo>
                    <a:pt x="136" y="0"/>
                  </a:lnTo>
                  <a:lnTo>
                    <a:pt x="122" y="2"/>
                  </a:lnTo>
                  <a:lnTo>
                    <a:pt x="108" y="6"/>
                  </a:lnTo>
                  <a:lnTo>
                    <a:pt x="94" y="12"/>
                  </a:lnTo>
                  <a:lnTo>
                    <a:pt x="80" y="18"/>
                  </a:lnTo>
                  <a:lnTo>
                    <a:pt x="68" y="26"/>
                  </a:lnTo>
                  <a:lnTo>
                    <a:pt x="56" y="34"/>
                  </a:lnTo>
                  <a:lnTo>
                    <a:pt x="46" y="44"/>
                  </a:lnTo>
                  <a:lnTo>
                    <a:pt x="36" y="54"/>
                  </a:lnTo>
                  <a:lnTo>
                    <a:pt x="26" y="66"/>
                  </a:lnTo>
                  <a:lnTo>
                    <a:pt x="20" y="80"/>
                  </a:lnTo>
                  <a:lnTo>
                    <a:pt x="12" y="92"/>
                  </a:lnTo>
                  <a:lnTo>
                    <a:pt x="8" y="106"/>
                  </a:lnTo>
                  <a:lnTo>
                    <a:pt x="4" y="120"/>
                  </a:lnTo>
                  <a:lnTo>
                    <a:pt x="2" y="136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2" y="168"/>
                  </a:lnTo>
                  <a:lnTo>
                    <a:pt x="4" y="182"/>
                  </a:lnTo>
                  <a:lnTo>
                    <a:pt x="8" y="196"/>
                  </a:lnTo>
                  <a:lnTo>
                    <a:pt x="12" y="210"/>
                  </a:lnTo>
                  <a:lnTo>
                    <a:pt x="20" y="224"/>
                  </a:lnTo>
                  <a:lnTo>
                    <a:pt x="26" y="236"/>
                  </a:lnTo>
                  <a:lnTo>
                    <a:pt x="36" y="248"/>
                  </a:lnTo>
                  <a:lnTo>
                    <a:pt x="46" y="258"/>
                  </a:lnTo>
                  <a:lnTo>
                    <a:pt x="56" y="268"/>
                  </a:lnTo>
                  <a:lnTo>
                    <a:pt x="68" y="278"/>
                  </a:lnTo>
                  <a:lnTo>
                    <a:pt x="80" y="284"/>
                  </a:lnTo>
                  <a:lnTo>
                    <a:pt x="94" y="292"/>
                  </a:lnTo>
                  <a:lnTo>
                    <a:pt x="108" y="296"/>
                  </a:lnTo>
                  <a:lnTo>
                    <a:pt x="122" y="300"/>
                  </a:lnTo>
                  <a:lnTo>
                    <a:pt x="136" y="302"/>
                  </a:lnTo>
                  <a:lnTo>
                    <a:pt x="152" y="304"/>
                  </a:lnTo>
                  <a:lnTo>
                    <a:pt x="152" y="304"/>
                  </a:lnTo>
                  <a:lnTo>
                    <a:pt x="168" y="302"/>
                  </a:lnTo>
                  <a:lnTo>
                    <a:pt x="184" y="300"/>
                  </a:lnTo>
                  <a:lnTo>
                    <a:pt x="198" y="296"/>
                  </a:lnTo>
                  <a:lnTo>
                    <a:pt x="212" y="292"/>
                  </a:lnTo>
                  <a:lnTo>
                    <a:pt x="224" y="284"/>
                  </a:lnTo>
                  <a:lnTo>
                    <a:pt x="238" y="278"/>
                  </a:lnTo>
                  <a:lnTo>
                    <a:pt x="250" y="268"/>
                  </a:lnTo>
                  <a:lnTo>
                    <a:pt x="260" y="258"/>
                  </a:lnTo>
                  <a:lnTo>
                    <a:pt x="270" y="248"/>
                  </a:lnTo>
                  <a:lnTo>
                    <a:pt x="278" y="236"/>
                  </a:lnTo>
                  <a:lnTo>
                    <a:pt x="286" y="224"/>
                  </a:lnTo>
                  <a:lnTo>
                    <a:pt x="292" y="210"/>
                  </a:lnTo>
                  <a:lnTo>
                    <a:pt x="298" y="196"/>
                  </a:lnTo>
                  <a:lnTo>
                    <a:pt x="302" y="182"/>
                  </a:lnTo>
                  <a:lnTo>
                    <a:pt x="304" y="168"/>
                  </a:lnTo>
                  <a:lnTo>
                    <a:pt x="304" y="152"/>
                  </a:lnTo>
                  <a:lnTo>
                    <a:pt x="304" y="152"/>
                  </a:lnTo>
                  <a:lnTo>
                    <a:pt x="304" y="136"/>
                  </a:lnTo>
                  <a:lnTo>
                    <a:pt x="302" y="120"/>
                  </a:lnTo>
                  <a:lnTo>
                    <a:pt x="298" y="106"/>
                  </a:lnTo>
                  <a:lnTo>
                    <a:pt x="292" y="92"/>
                  </a:lnTo>
                  <a:lnTo>
                    <a:pt x="286" y="80"/>
                  </a:lnTo>
                  <a:lnTo>
                    <a:pt x="278" y="66"/>
                  </a:lnTo>
                  <a:lnTo>
                    <a:pt x="270" y="54"/>
                  </a:lnTo>
                  <a:lnTo>
                    <a:pt x="260" y="44"/>
                  </a:lnTo>
                  <a:lnTo>
                    <a:pt x="250" y="34"/>
                  </a:lnTo>
                  <a:lnTo>
                    <a:pt x="238" y="26"/>
                  </a:lnTo>
                  <a:lnTo>
                    <a:pt x="224" y="18"/>
                  </a:lnTo>
                  <a:lnTo>
                    <a:pt x="212" y="12"/>
                  </a:lnTo>
                  <a:lnTo>
                    <a:pt x="198" y="6"/>
                  </a:lnTo>
                  <a:lnTo>
                    <a:pt x="184" y="2"/>
                  </a:lnTo>
                  <a:lnTo>
                    <a:pt x="168" y="0"/>
                  </a:lnTo>
                  <a:lnTo>
                    <a:pt x="152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78" name="Freeform 224"/>
            <p:cNvSpPr>
              <a:spLocks/>
            </p:cNvSpPr>
            <p:nvPr/>
          </p:nvSpPr>
          <p:spPr bwMode="auto">
            <a:xfrm>
              <a:off x="8484478" y="5836168"/>
              <a:ext cx="64215" cy="64215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28" y="0"/>
                </a:cxn>
                <a:cxn ang="0">
                  <a:pos x="18" y="2"/>
                </a:cxn>
                <a:cxn ang="0">
                  <a:pos x="8" y="8"/>
                </a:cxn>
                <a:cxn ang="0">
                  <a:pos x="2" y="16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2" y="38"/>
                </a:cxn>
                <a:cxn ang="0">
                  <a:pos x="8" y="46"/>
                </a:cxn>
                <a:cxn ang="0">
                  <a:pos x="18" y="52"/>
                </a:cxn>
                <a:cxn ang="0">
                  <a:pos x="28" y="56"/>
                </a:cxn>
                <a:cxn ang="0">
                  <a:pos x="28" y="56"/>
                </a:cxn>
                <a:cxn ang="0">
                  <a:pos x="38" y="52"/>
                </a:cxn>
                <a:cxn ang="0">
                  <a:pos x="48" y="46"/>
                </a:cxn>
                <a:cxn ang="0">
                  <a:pos x="54" y="38"/>
                </a:cxn>
                <a:cxn ang="0">
                  <a:pos x="56" y="28"/>
                </a:cxn>
                <a:cxn ang="0">
                  <a:pos x="56" y="28"/>
                </a:cxn>
                <a:cxn ang="0">
                  <a:pos x="54" y="16"/>
                </a:cxn>
                <a:cxn ang="0">
                  <a:pos x="48" y="8"/>
                </a:cxn>
                <a:cxn ang="0">
                  <a:pos x="38" y="2"/>
                </a:cxn>
                <a:cxn ang="0">
                  <a:pos x="28" y="0"/>
                </a:cxn>
              </a:cxnLst>
              <a:rect l="0" t="0" r="r" b="b"/>
              <a:pathLst>
                <a:path w="56" h="56">
                  <a:moveTo>
                    <a:pt x="28" y="0"/>
                  </a:moveTo>
                  <a:lnTo>
                    <a:pt x="28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38"/>
                  </a:lnTo>
                  <a:lnTo>
                    <a:pt x="8" y="46"/>
                  </a:lnTo>
                  <a:lnTo>
                    <a:pt x="18" y="52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38" y="52"/>
                  </a:lnTo>
                  <a:lnTo>
                    <a:pt x="48" y="46"/>
                  </a:lnTo>
                  <a:lnTo>
                    <a:pt x="54" y="38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4" y="16"/>
                  </a:lnTo>
                  <a:lnTo>
                    <a:pt x="48" y="8"/>
                  </a:lnTo>
                  <a:lnTo>
                    <a:pt x="38" y="2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79" name="Freeform 225"/>
            <p:cNvSpPr>
              <a:spLocks/>
            </p:cNvSpPr>
            <p:nvPr/>
          </p:nvSpPr>
          <p:spPr bwMode="auto">
            <a:xfrm>
              <a:off x="8484478" y="5836168"/>
              <a:ext cx="64215" cy="64215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28" y="0"/>
                </a:cxn>
                <a:cxn ang="0">
                  <a:pos x="18" y="2"/>
                </a:cxn>
                <a:cxn ang="0">
                  <a:pos x="8" y="8"/>
                </a:cxn>
                <a:cxn ang="0">
                  <a:pos x="2" y="16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2" y="38"/>
                </a:cxn>
                <a:cxn ang="0">
                  <a:pos x="8" y="46"/>
                </a:cxn>
                <a:cxn ang="0">
                  <a:pos x="18" y="52"/>
                </a:cxn>
                <a:cxn ang="0">
                  <a:pos x="28" y="56"/>
                </a:cxn>
                <a:cxn ang="0">
                  <a:pos x="28" y="56"/>
                </a:cxn>
                <a:cxn ang="0">
                  <a:pos x="38" y="52"/>
                </a:cxn>
                <a:cxn ang="0">
                  <a:pos x="48" y="46"/>
                </a:cxn>
                <a:cxn ang="0">
                  <a:pos x="54" y="38"/>
                </a:cxn>
                <a:cxn ang="0">
                  <a:pos x="56" y="28"/>
                </a:cxn>
                <a:cxn ang="0">
                  <a:pos x="56" y="28"/>
                </a:cxn>
                <a:cxn ang="0">
                  <a:pos x="54" y="16"/>
                </a:cxn>
                <a:cxn ang="0">
                  <a:pos x="48" y="8"/>
                </a:cxn>
                <a:cxn ang="0">
                  <a:pos x="38" y="2"/>
                </a:cxn>
                <a:cxn ang="0">
                  <a:pos x="28" y="0"/>
                </a:cxn>
              </a:cxnLst>
              <a:rect l="0" t="0" r="r" b="b"/>
              <a:pathLst>
                <a:path w="56" h="56">
                  <a:moveTo>
                    <a:pt x="28" y="0"/>
                  </a:moveTo>
                  <a:lnTo>
                    <a:pt x="28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38"/>
                  </a:lnTo>
                  <a:lnTo>
                    <a:pt x="8" y="46"/>
                  </a:lnTo>
                  <a:lnTo>
                    <a:pt x="18" y="52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38" y="52"/>
                  </a:lnTo>
                  <a:lnTo>
                    <a:pt x="48" y="46"/>
                  </a:lnTo>
                  <a:lnTo>
                    <a:pt x="54" y="38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4" y="16"/>
                  </a:lnTo>
                  <a:lnTo>
                    <a:pt x="48" y="8"/>
                  </a:lnTo>
                  <a:lnTo>
                    <a:pt x="38" y="2"/>
                  </a:lnTo>
                  <a:lnTo>
                    <a:pt x="28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80" name="Freeform 226"/>
            <p:cNvSpPr>
              <a:spLocks/>
            </p:cNvSpPr>
            <p:nvPr/>
          </p:nvSpPr>
          <p:spPr bwMode="auto">
            <a:xfrm>
              <a:off x="7771233" y="4937158"/>
              <a:ext cx="89442" cy="89442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40" y="0"/>
                </a:cxn>
                <a:cxn ang="0">
                  <a:pos x="32" y="0"/>
                </a:cxn>
                <a:cxn ang="0">
                  <a:pos x="24" y="2"/>
                </a:cxn>
                <a:cxn ang="0">
                  <a:pos x="18" y="6"/>
                </a:cxn>
                <a:cxn ang="0">
                  <a:pos x="12" y="10"/>
                </a:cxn>
                <a:cxn ang="0">
                  <a:pos x="8" y="16"/>
                </a:cxn>
                <a:cxn ang="0">
                  <a:pos x="4" y="24"/>
                </a:cxn>
                <a:cxn ang="0">
                  <a:pos x="2" y="30"/>
                </a:cxn>
                <a:cxn ang="0">
                  <a:pos x="0" y="38"/>
                </a:cxn>
                <a:cxn ang="0">
                  <a:pos x="0" y="38"/>
                </a:cxn>
                <a:cxn ang="0">
                  <a:pos x="2" y="46"/>
                </a:cxn>
                <a:cxn ang="0">
                  <a:pos x="4" y="54"/>
                </a:cxn>
                <a:cxn ang="0">
                  <a:pos x="8" y="60"/>
                </a:cxn>
                <a:cxn ang="0">
                  <a:pos x="12" y="66"/>
                </a:cxn>
                <a:cxn ang="0">
                  <a:pos x="18" y="70"/>
                </a:cxn>
                <a:cxn ang="0">
                  <a:pos x="24" y="74"/>
                </a:cxn>
                <a:cxn ang="0">
                  <a:pos x="32" y="76"/>
                </a:cxn>
                <a:cxn ang="0">
                  <a:pos x="40" y="78"/>
                </a:cxn>
                <a:cxn ang="0">
                  <a:pos x="40" y="78"/>
                </a:cxn>
                <a:cxn ang="0">
                  <a:pos x="48" y="76"/>
                </a:cxn>
                <a:cxn ang="0">
                  <a:pos x="56" y="74"/>
                </a:cxn>
                <a:cxn ang="0">
                  <a:pos x="62" y="70"/>
                </a:cxn>
                <a:cxn ang="0">
                  <a:pos x="68" y="66"/>
                </a:cxn>
                <a:cxn ang="0">
                  <a:pos x="72" y="60"/>
                </a:cxn>
                <a:cxn ang="0">
                  <a:pos x="76" y="54"/>
                </a:cxn>
                <a:cxn ang="0">
                  <a:pos x="78" y="46"/>
                </a:cxn>
                <a:cxn ang="0">
                  <a:pos x="78" y="38"/>
                </a:cxn>
                <a:cxn ang="0">
                  <a:pos x="78" y="38"/>
                </a:cxn>
                <a:cxn ang="0">
                  <a:pos x="78" y="30"/>
                </a:cxn>
                <a:cxn ang="0">
                  <a:pos x="76" y="24"/>
                </a:cxn>
                <a:cxn ang="0">
                  <a:pos x="72" y="16"/>
                </a:cxn>
                <a:cxn ang="0">
                  <a:pos x="68" y="10"/>
                </a:cxn>
                <a:cxn ang="0">
                  <a:pos x="62" y="6"/>
                </a:cxn>
                <a:cxn ang="0">
                  <a:pos x="56" y="2"/>
                </a:cxn>
                <a:cxn ang="0">
                  <a:pos x="48" y="0"/>
                </a:cxn>
                <a:cxn ang="0">
                  <a:pos x="40" y="0"/>
                </a:cxn>
              </a:cxnLst>
              <a:rect l="0" t="0" r="r" b="b"/>
              <a:pathLst>
                <a:path w="78" h="78">
                  <a:moveTo>
                    <a:pt x="40" y="0"/>
                  </a:moveTo>
                  <a:lnTo>
                    <a:pt x="40" y="0"/>
                  </a:lnTo>
                  <a:lnTo>
                    <a:pt x="32" y="0"/>
                  </a:lnTo>
                  <a:lnTo>
                    <a:pt x="24" y="2"/>
                  </a:lnTo>
                  <a:lnTo>
                    <a:pt x="18" y="6"/>
                  </a:lnTo>
                  <a:lnTo>
                    <a:pt x="12" y="10"/>
                  </a:lnTo>
                  <a:lnTo>
                    <a:pt x="8" y="16"/>
                  </a:lnTo>
                  <a:lnTo>
                    <a:pt x="4" y="24"/>
                  </a:lnTo>
                  <a:lnTo>
                    <a:pt x="2" y="30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2" y="46"/>
                  </a:lnTo>
                  <a:lnTo>
                    <a:pt x="4" y="54"/>
                  </a:lnTo>
                  <a:lnTo>
                    <a:pt x="8" y="60"/>
                  </a:lnTo>
                  <a:lnTo>
                    <a:pt x="12" y="66"/>
                  </a:lnTo>
                  <a:lnTo>
                    <a:pt x="18" y="70"/>
                  </a:lnTo>
                  <a:lnTo>
                    <a:pt x="24" y="74"/>
                  </a:lnTo>
                  <a:lnTo>
                    <a:pt x="32" y="76"/>
                  </a:lnTo>
                  <a:lnTo>
                    <a:pt x="40" y="78"/>
                  </a:lnTo>
                  <a:lnTo>
                    <a:pt x="40" y="78"/>
                  </a:lnTo>
                  <a:lnTo>
                    <a:pt x="48" y="76"/>
                  </a:lnTo>
                  <a:lnTo>
                    <a:pt x="56" y="74"/>
                  </a:lnTo>
                  <a:lnTo>
                    <a:pt x="62" y="70"/>
                  </a:lnTo>
                  <a:lnTo>
                    <a:pt x="68" y="66"/>
                  </a:lnTo>
                  <a:lnTo>
                    <a:pt x="72" y="60"/>
                  </a:lnTo>
                  <a:lnTo>
                    <a:pt x="76" y="54"/>
                  </a:lnTo>
                  <a:lnTo>
                    <a:pt x="78" y="46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0"/>
                  </a:lnTo>
                  <a:lnTo>
                    <a:pt x="76" y="24"/>
                  </a:lnTo>
                  <a:lnTo>
                    <a:pt x="72" y="16"/>
                  </a:lnTo>
                  <a:lnTo>
                    <a:pt x="68" y="10"/>
                  </a:lnTo>
                  <a:lnTo>
                    <a:pt x="62" y="6"/>
                  </a:lnTo>
                  <a:lnTo>
                    <a:pt x="56" y="2"/>
                  </a:lnTo>
                  <a:lnTo>
                    <a:pt x="48" y="0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81" name="Freeform 227"/>
            <p:cNvSpPr>
              <a:spLocks/>
            </p:cNvSpPr>
            <p:nvPr/>
          </p:nvSpPr>
          <p:spPr bwMode="auto">
            <a:xfrm>
              <a:off x="7771233" y="4937158"/>
              <a:ext cx="89442" cy="89442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40" y="0"/>
                </a:cxn>
                <a:cxn ang="0">
                  <a:pos x="32" y="0"/>
                </a:cxn>
                <a:cxn ang="0">
                  <a:pos x="24" y="2"/>
                </a:cxn>
                <a:cxn ang="0">
                  <a:pos x="18" y="6"/>
                </a:cxn>
                <a:cxn ang="0">
                  <a:pos x="12" y="10"/>
                </a:cxn>
                <a:cxn ang="0">
                  <a:pos x="8" y="16"/>
                </a:cxn>
                <a:cxn ang="0">
                  <a:pos x="4" y="24"/>
                </a:cxn>
                <a:cxn ang="0">
                  <a:pos x="2" y="30"/>
                </a:cxn>
                <a:cxn ang="0">
                  <a:pos x="0" y="38"/>
                </a:cxn>
                <a:cxn ang="0">
                  <a:pos x="0" y="38"/>
                </a:cxn>
                <a:cxn ang="0">
                  <a:pos x="2" y="46"/>
                </a:cxn>
                <a:cxn ang="0">
                  <a:pos x="4" y="54"/>
                </a:cxn>
                <a:cxn ang="0">
                  <a:pos x="8" y="60"/>
                </a:cxn>
                <a:cxn ang="0">
                  <a:pos x="12" y="66"/>
                </a:cxn>
                <a:cxn ang="0">
                  <a:pos x="18" y="70"/>
                </a:cxn>
                <a:cxn ang="0">
                  <a:pos x="24" y="74"/>
                </a:cxn>
                <a:cxn ang="0">
                  <a:pos x="32" y="76"/>
                </a:cxn>
                <a:cxn ang="0">
                  <a:pos x="40" y="78"/>
                </a:cxn>
                <a:cxn ang="0">
                  <a:pos x="40" y="78"/>
                </a:cxn>
                <a:cxn ang="0">
                  <a:pos x="48" y="76"/>
                </a:cxn>
                <a:cxn ang="0">
                  <a:pos x="56" y="74"/>
                </a:cxn>
                <a:cxn ang="0">
                  <a:pos x="62" y="70"/>
                </a:cxn>
                <a:cxn ang="0">
                  <a:pos x="68" y="66"/>
                </a:cxn>
                <a:cxn ang="0">
                  <a:pos x="72" y="60"/>
                </a:cxn>
                <a:cxn ang="0">
                  <a:pos x="76" y="54"/>
                </a:cxn>
                <a:cxn ang="0">
                  <a:pos x="78" y="46"/>
                </a:cxn>
                <a:cxn ang="0">
                  <a:pos x="78" y="38"/>
                </a:cxn>
                <a:cxn ang="0">
                  <a:pos x="78" y="38"/>
                </a:cxn>
                <a:cxn ang="0">
                  <a:pos x="78" y="30"/>
                </a:cxn>
                <a:cxn ang="0">
                  <a:pos x="76" y="24"/>
                </a:cxn>
                <a:cxn ang="0">
                  <a:pos x="72" y="16"/>
                </a:cxn>
                <a:cxn ang="0">
                  <a:pos x="68" y="10"/>
                </a:cxn>
                <a:cxn ang="0">
                  <a:pos x="62" y="6"/>
                </a:cxn>
                <a:cxn ang="0">
                  <a:pos x="56" y="2"/>
                </a:cxn>
                <a:cxn ang="0">
                  <a:pos x="48" y="0"/>
                </a:cxn>
                <a:cxn ang="0">
                  <a:pos x="40" y="0"/>
                </a:cxn>
              </a:cxnLst>
              <a:rect l="0" t="0" r="r" b="b"/>
              <a:pathLst>
                <a:path w="78" h="78">
                  <a:moveTo>
                    <a:pt x="40" y="0"/>
                  </a:moveTo>
                  <a:lnTo>
                    <a:pt x="40" y="0"/>
                  </a:lnTo>
                  <a:lnTo>
                    <a:pt x="32" y="0"/>
                  </a:lnTo>
                  <a:lnTo>
                    <a:pt x="24" y="2"/>
                  </a:lnTo>
                  <a:lnTo>
                    <a:pt x="18" y="6"/>
                  </a:lnTo>
                  <a:lnTo>
                    <a:pt x="12" y="10"/>
                  </a:lnTo>
                  <a:lnTo>
                    <a:pt x="8" y="16"/>
                  </a:lnTo>
                  <a:lnTo>
                    <a:pt x="4" y="24"/>
                  </a:lnTo>
                  <a:lnTo>
                    <a:pt x="2" y="30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2" y="46"/>
                  </a:lnTo>
                  <a:lnTo>
                    <a:pt x="4" y="54"/>
                  </a:lnTo>
                  <a:lnTo>
                    <a:pt x="8" y="60"/>
                  </a:lnTo>
                  <a:lnTo>
                    <a:pt x="12" y="66"/>
                  </a:lnTo>
                  <a:lnTo>
                    <a:pt x="18" y="70"/>
                  </a:lnTo>
                  <a:lnTo>
                    <a:pt x="24" y="74"/>
                  </a:lnTo>
                  <a:lnTo>
                    <a:pt x="32" y="76"/>
                  </a:lnTo>
                  <a:lnTo>
                    <a:pt x="40" y="78"/>
                  </a:lnTo>
                  <a:lnTo>
                    <a:pt x="40" y="78"/>
                  </a:lnTo>
                  <a:lnTo>
                    <a:pt x="48" y="76"/>
                  </a:lnTo>
                  <a:lnTo>
                    <a:pt x="56" y="74"/>
                  </a:lnTo>
                  <a:lnTo>
                    <a:pt x="62" y="70"/>
                  </a:lnTo>
                  <a:lnTo>
                    <a:pt x="68" y="66"/>
                  </a:lnTo>
                  <a:lnTo>
                    <a:pt x="72" y="60"/>
                  </a:lnTo>
                  <a:lnTo>
                    <a:pt x="76" y="54"/>
                  </a:lnTo>
                  <a:lnTo>
                    <a:pt x="78" y="46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0"/>
                  </a:lnTo>
                  <a:lnTo>
                    <a:pt x="76" y="24"/>
                  </a:lnTo>
                  <a:lnTo>
                    <a:pt x="72" y="16"/>
                  </a:lnTo>
                  <a:lnTo>
                    <a:pt x="68" y="10"/>
                  </a:lnTo>
                  <a:lnTo>
                    <a:pt x="62" y="6"/>
                  </a:lnTo>
                  <a:lnTo>
                    <a:pt x="56" y="2"/>
                  </a:lnTo>
                  <a:lnTo>
                    <a:pt x="48" y="0"/>
                  </a:lnTo>
                  <a:lnTo>
                    <a:pt x="40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82" name="Freeform 229"/>
            <p:cNvSpPr>
              <a:spLocks/>
            </p:cNvSpPr>
            <p:nvPr/>
          </p:nvSpPr>
          <p:spPr bwMode="auto">
            <a:xfrm>
              <a:off x="8154230" y="5008253"/>
              <a:ext cx="261447" cy="263740"/>
            </a:xfrm>
            <a:custGeom>
              <a:avLst/>
              <a:gdLst/>
              <a:ahLst/>
              <a:cxnLst>
                <a:cxn ang="0">
                  <a:pos x="114" y="0"/>
                </a:cxn>
                <a:cxn ang="0">
                  <a:pos x="114" y="0"/>
                </a:cxn>
                <a:cxn ang="0">
                  <a:pos x="90" y="2"/>
                </a:cxn>
                <a:cxn ang="0">
                  <a:pos x="70" y="10"/>
                </a:cxn>
                <a:cxn ang="0">
                  <a:pos x="50" y="20"/>
                </a:cxn>
                <a:cxn ang="0">
                  <a:pos x="32" y="34"/>
                </a:cxn>
                <a:cxn ang="0">
                  <a:pos x="18" y="50"/>
                </a:cxn>
                <a:cxn ang="0">
                  <a:pos x="8" y="70"/>
                </a:cxn>
                <a:cxn ang="0">
                  <a:pos x="2" y="92"/>
                </a:cxn>
                <a:cxn ang="0">
                  <a:pos x="0" y="116"/>
                </a:cxn>
                <a:cxn ang="0">
                  <a:pos x="0" y="116"/>
                </a:cxn>
                <a:cxn ang="0">
                  <a:pos x="2" y="138"/>
                </a:cxn>
                <a:cxn ang="0">
                  <a:pos x="8" y="160"/>
                </a:cxn>
                <a:cxn ang="0">
                  <a:pos x="18" y="180"/>
                </a:cxn>
                <a:cxn ang="0">
                  <a:pos x="32" y="196"/>
                </a:cxn>
                <a:cxn ang="0">
                  <a:pos x="50" y="210"/>
                </a:cxn>
                <a:cxn ang="0">
                  <a:pos x="70" y="220"/>
                </a:cxn>
                <a:cxn ang="0">
                  <a:pos x="90" y="228"/>
                </a:cxn>
                <a:cxn ang="0">
                  <a:pos x="114" y="230"/>
                </a:cxn>
                <a:cxn ang="0">
                  <a:pos x="114" y="230"/>
                </a:cxn>
                <a:cxn ang="0">
                  <a:pos x="136" y="228"/>
                </a:cxn>
                <a:cxn ang="0">
                  <a:pos x="158" y="220"/>
                </a:cxn>
                <a:cxn ang="0">
                  <a:pos x="178" y="210"/>
                </a:cxn>
                <a:cxn ang="0">
                  <a:pos x="194" y="196"/>
                </a:cxn>
                <a:cxn ang="0">
                  <a:pos x="208" y="180"/>
                </a:cxn>
                <a:cxn ang="0">
                  <a:pos x="220" y="160"/>
                </a:cxn>
                <a:cxn ang="0">
                  <a:pos x="226" y="138"/>
                </a:cxn>
                <a:cxn ang="0">
                  <a:pos x="228" y="116"/>
                </a:cxn>
                <a:cxn ang="0">
                  <a:pos x="228" y="116"/>
                </a:cxn>
                <a:cxn ang="0">
                  <a:pos x="226" y="92"/>
                </a:cxn>
                <a:cxn ang="0">
                  <a:pos x="220" y="70"/>
                </a:cxn>
                <a:cxn ang="0">
                  <a:pos x="208" y="50"/>
                </a:cxn>
                <a:cxn ang="0">
                  <a:pos x="194" y="34"/>
                </a:cxn>
                <a:cxn ang="0">
                  <a:pos x="178" y="20"/>
                </a:cxn>
                <a:cxn ang="0">
                  <a:pos x="158" y="10"/>
                </a:cxn>
                <a:cxn ang="0">
                  <a:pos x="136" y="2"/>
                </a:cxn>
                <a:cxn ang="0">
                  <a:pos x="114" y="0"/>
                </a:cxn>
              </a:cxnLst>
              <a:rect l="0" t="0" r="r" b="b"/>
              <a:pathLst>
                <a:path w="228" h="230">
                  <a:moveTo>
                    <a:pt x="114" y="0"/>
                  </a:moveTo>
                  <a:lnTo>
                    <a:pt x="114" y="0"/>
                  </a:lnTo>
                  <a:lnTo>
                    <a:pt x="90" y="2"/>
                  </a:lnTo>
                  <a:lnTo>
                    <a:pt x="70" y="10"/>
                  </a:lnTo>
                  <a:lnTo>
                    <a:pt x="50" y="20"/>
                  </a:lnTo>
                  <a:lnTo>
                    <a:pt x="32" y="34"/>
                  </a:lnTo>
                  <a:lnTo>
                    <a:pt x="18" y="50"/>
                  </a:lnTo>
                  <a:lnTo>
                    <a:pt x="8" y="70"/>
                  </a:lnTo>
                  <a:lnTo>
                    <a:pt x="2" y="92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2" y="138"/>
                  </a:lnTo>
                  <a:lnTo>
                    <a:pt x="8" y="160"/>
                  </a:lnTo>
                  <a:lnTo>
                    <a:pt x="18" y="180"/>
                  </a:lnTo>
                  <a:lnTo>
                    <a:pt x="32" y="196"/>
                  </a:lnTo>
                  <a:lnTo>
                    <a:pt x="50" y="210"/>
                  </a:lnTo>
                  <a:lnTo>
                    <a:pt x="70" y="220"/>
                  </a:lnTo>
                  <a:lnTo>
                    <a:pt x="90" y="228"/>
                  </a:lnTo>
                  <a:lnTo>
                    <a:pt x="114" y="230"/>
                  </a:lnTo>
                  <a:lnTo>
                    <a:pt x="114" y="230"/>
                  </a:lnTo>
                  <a:lnTo>
                    <a:pt x="136" y="228"/>
                  </a:lnTo>
                  <a:lnTo>
                    <a:pt x="158" y="220"/>
                  </a:lnTo>
                  <a:lnTo>
                    <a:pt x="178" y="210"/>
                  </a:lnTo>
                  <a:lnTo>
                    <a:pt x="194" y="196"/>
                  </a:lnTo>
                  <a:lnTo>
                    <a:pt x="208" y="180"/>
                  </a:lnTo>
                  <a:lnTo>
                    <a:pt x="220" y="160"/>
                  </a:lnTo>
                  <a:lnTo>
                    <a:pt x="226" y="138"/>
                  </a:lnTo>
                  <a:lnTo>
                    <a:pt x="228" y="116"/>
                  </a:lnTo>
                  <a:lnTo>
                    <a:pt x="228" y="116"/>
                  </a:lnTo>
                  <a:lnTo>
                    <a:pt x="226" y="92"/>
                  </a:lnTo>
                  <a:lnTo>
                    <a:pt x="220" y="70"/>
                  </a:lnTo>
                  <a:lnTo>
                    <a:pt x="208" y="50"/>
                  </a:lnTo>
                  <a:lnTo>
                    <a:pt x="194" y="34"/>
                  </a:lnTo>
                  <a:lnTo>
                    <a:pt x="178" y="20"/>
                  </a:lnTo>
                  <a:lnTo>
                    <a:pt x="158" y="10"/>
                  </a:lnTo>
                  <a:lnTo>
                    <a:pt x="136" y="2"/>
                  </a:lnTo>
                  <a:lnTo>
                    <a:pt x="114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83" name="Freeform 230"/>
            <p:cNvSpPr>
              <a:spLocks/>
            </p:cNvSpPr>
            <p:nvPr/>
          </p:nvSpPr>
          <p:spPr bwMode="auto">
            <a:xfrm>
              <a:off x="8782620" y="5088522"/>
              <a:ext cx="82562" cy="82562"/>
            </a:xfrm>
            <a:custGeom>
              <a:avLst/>
              <a:gdLst/>
              <a:ahLst/>
              <a:cxnLst>
                <a:cxn ang="0">
                  <a:pos x="36" y="0"/>
                </a:cxn>
                <a:cxn ang="0">
                  <a:pos x="36" y="0"/>
                </a:cxn>
                <a:cxn ang="0">
                  <a:pos x="28" y="0"/>
                </a:cxn>
                <a:cxn ang="0">
                  <a:pos x="22" y="4"/>
                </a:cxn>
                <a:cxn ang="0">
                  <a:pos x="16" y="6"/>
                </a:cxn>
                <a:cxn ang="0">
                  <a:pos x="10" y="10"/>
                </a:cxn>
                <a:cxn ang="0">
                  <a:pos x="6" y="16"/>
                </a:cxn>
                <a:cxn ang="0">
                  <a:pos x="2" y="22"/>
                </a:cxn>
                <a:cxn ang="0">
                  <a:pos x="0" y="30"/>
                </a:cxn>
                <a:cxn ang="0">
                  <a:pos x="0" y="36"/>
                </a:cxn>
                <a:cxn ang="0">
                  <a:pos x="0" y="36"/>
                </a:cxn>
                <a:cxn ang="0">
                  <a:pos x="0" y="44"/>
                </a:cxn>
                <a:cxn ang="0">
                  <a:pos x="2" y="50"/>
                </a:cxn>
                <a:cxn ang="0">
                  <a:pos x="6" y="56"/>
                </a:cxn>
                <a:cxn ang="0">
                  <a:pos x="10" y="62"/>
                </a:cxn>
                <a:cxn ang="0">
                  <a:pos x="16" y="66"/>
                </a:cxn>
                <a:cxn ang="0">
                  <a:pos x="22" y="70"/>
                </a:cxn>
                <a:cxn ang="0">
                  <a:pos x="28" y="72"/>
                </a:cxn>
                <a:cxn ang="0">
                  <a:pos x="36" y="72"/>
                </a:cxn>
                <a:cxn ang="0">
                  <a:pos x="36" y="72"/>
                </a:cxn>
                <a:cxn ang="0">
                  <a:pos x="44" y="72"/>
                </a:cxn>
                <a:cxn ang="0">
                  <a:pos x="50" y="70"/>
                </a:cxn>
                <a:cxn ang="0">
                  <a:pos x="56" y="66"/>
                </a:cxn>
                <a:cxn ang="0">
                  <a:pos x="62" y="62"/>
                </a:cxn>
                <a:cxn ang="0">
                  <a:pos x="66" y="56"/>
                </a:cxn>
                <a:cxn ang="0">
                  <a:pos x="70" y="50"/>
                </a:cxn>
                <a:cxn ang="0">
                  <a:pos x="72" y="44"/>
                </a:cxn>
                <a:cxn ang="0">
                  <a:pos x="72" y="36"/>
                </a:cxn>
                <a:cxn ang="0">
                  <a:pos x="72" y="36"/>
                </a:cxn>
                <a:cxn ang="0">
                  <a:pos x="72" y="30"/>
                </a:cxn>
                <a:cxn ang="0">
                  <a:pos x="70" y="22"/>
                </a:cxn>
                <a:cxn ang="0">
                  <a:pos x="66" y="16"/>
                </a:cxn>
                <a:cxn ang="0">
                  <a:pos x="62" y="10"/>
                </a:cxn>
                <a:cxn ang="0">
                  <a:pos x="56" y="6"/>
                </a:cxn>
                <a:cxn ang="0">
                  <a:pos x="50" y="4"/>
                </a:cxn>
                <a:cxn ang="0">
                  <a:pos x="44" y="0"/>
                </a:cxn>
                <a:cxn ang="0">
                  <a:pos x="36" y="0"/>
                </a:cxn>
              </a:cxnLst>
              <a:rect l="0" t="0" r="r" b="b"/>
              <a:pathLst>
                <a:path w="72" h="72">
                  <a:moveTo>
                    <a:pt x="36" y="0"/>
                  </a:moveTo>
                  <a:lnTo>
                    <a:pt x="36" y="0"/>
                  </a:lnTo>
                  <a:lnTo>
                    <a:pt x="28" y="0"/>
                  </a:lnTo>
                  <a:lnTo>
                    <a:pt x="22" y="4"/>
                  </a:lnTo>
                  <a:lnTo>
                    <a:pt x="16" y="6"/>
                  </a:lnTo>
                  <a:lnTo>
                    <a:pt x="10" y="10"/>
                  </a:lnTo>
                  <a:lnTo>
                    <a:pt x="6" y="16"/>
                  </a:lnTo>
                  <a:lnTo>
                    <a:pt x="2" y="2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4"/>
                  </a:lnTo>
                  <a:lnTo>
                    <a:pt x="2" y="50"/>
                  </a:lnTo>
                  <a:lnTo>
                    <a:pt x="6" y="56"/>
                  </a:lnTo>
                  <a:lnTo>
                    <a:pt x="10" y="62"/>
                  </a:lnTo>
                  <a:lnTo>
                    <a:pt x="16" y="66"/>
                  </a:lnTo>
                  <a:lnTo>
                    <a:pt x="22" y="70"/>
                  </a:lnTo>
                  <a:lnTo>
                    <a:pt x="28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44" y="72"/>
                  </a:lnTo>
                  <a:lnTo>
                    <a:pt x="50" y="70"/>
                  </a:lnTo>
                  <a:lnTo>
                    <a:pt x="56" y="66"/>
                  </a:lnTo>
                  <a:lnTo>
                    <a:pt x="62" y="62"/>
                  </a:lnTo>
                  <a:lnTo>
                    <a:pt x="66" y="56"/>
                  </a:lnTo>
                  <a:lnTo>
                    <a:pt x="70" y="50"/>
                  </a:lnTo>
                  <a:lnTo>
                    <a:pt x="72" y="44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0"/>
                  </a:lnTo>
                  <a:lnTo>
                    <a:pt x="70" y="22"/>
                  </a:lnTo>
                  <a:lnTo>
                    <a:pt x="66" y="16"/>
                  </a:lnTo>
                  <a:lnTo>
                    <a:pt x="62" y="10"/>
                  </a:lnTo>
                  <a:lnTo>
                    <a:pt x="56" y="6"/>
                  </a:lnTo>
                  <a:lnTo>
                    <a:pt x="50" y="4"/>
                  </a:lnTo>
                  <a:lnTo>
                    <a:pt x="44" y="0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84" name="Freeform 231"/>
            <p:cNvSpPr>
              <a:spLocks/>
            </p:cNvSpPr>
            <p:nvPr/>
          </p:nvSpPr>
          <p:spPr bwMode="auto">
            <a:xfrm>
              <a:off x="8782620" y="5088522"/>
              <a:ext cx="82562" cy="82562"/>
            </a:xfrm>
            <a:custGeom>
              <a:avLst/>
              <a:gdLst/>
              <a:ahLst/>
              <a:cxnLst>
                <a:cxn ang="0">
                  <a:pos x="36" y="0"/>
                </a:cxn>
                <a:cxn ang="0">
                  <a:pos x="36" y="0"/>
                </a:cxn>
                <a:cxn ang="0">
                  <a:pos x="28" y="0"/>
                </a:cxn>
                <a:cxn ang="0">
                  <a:pos x="22" y="4"/>
                </a:cxn>
                <a:cxn ang="0">
                  <a:pos x="16" y="6"/>
                </a:cxn>
                <a:cxn ang="0">
                  <a:pos x="10" y="10"/>
                </a:cxn>
                <a:cxn ang="0">
                  <a:pos x="6" y="16"/>
                </a:cxn>
                <a:cxn ang="0">
                  <a:pos x="2" y="22"/>
                </a:cxn>
                <a:cxn ang="0">
                  <a:pos x="0" y="30"/>
                </a:cxn>
                <a:cxn ang="0">
                  <a:pos x="0" y="36"/>
                </a:cxn>
                <a:cxn ang="0">
                  <a:pos x="0" y="36"/>
                </a:cxn>
                <a:cxn ang="0">
                  <a:pos x="0" y="44"/>
                </a:cxn>
                <a:cxn ang="0">
                  <a:pos x="2" y="50"/>
                </a:cxn>
                <a:cxn ang="0">
                  <a:pos x="6" y="56"/>
                </a:cxn>
                <a:cxn ang="0">
                  <a:pos x="10" y="62"/>
                </a:cxn>
                <a:cxn ang="0">
                  <a:pos x="16" y="66"/>
                </a:cxn>
                <a:cxn ang="0">
                  <a:pos x="22" y="70"/>
                </a:cxn>
                <a:cxn ang="0">
                  <a:pos x="28" y="72"/>
                </a:cxn>
                <a:cxn ang="0">
                  <a:pos x="36" y="72"/>
                </a:cxn>
                <a:cxn ang="0">
                  <a:pos x="36" y="72"/>
                </a:cxn>
                <a:cxn ang="0">
                  <a:pos x="44" y="72"/>
                </a:cxn>
                <a:cxn ang="0">
                  <a:pos x="50" y="70"/>
                </a:cxn>
                <a:cxn ang="0">
                  <a:pos x="56" y="66"/>
                </a:cxn>
                <a:cxn ang="0">
                  <a:pos x="62" y="62"/>
                </a:cxn>
                <a:cxn ang="0">
                  <a:pos x="66" y="56"/>
                </a:cxn>
                <a:cxn ang="0">
                  <a:pos x="70" y="50"/>
                </a:cxn>
                <a:cxn ang="0">
                  <a:pos x="72" y="44"/>
                </a:cxn>
                <a:cxn ang="0">
                  <a:pos x="72" y="36"/>
                </a:cxn>
                <a:cxn ang="0">
                  <a:pos x="72" y="36"/>
                </a:cxn>
                <a:cxn ang="0">
                  <a:pos x="72" y="30"/>
                </a:cxn>
                <a:cxn ang="0">
                  <a:pos x="70" y="22"/>
                </a:cxn>
                <a:cxn ang="0">
                  <a:pos x="66" y="16"/>
                </a:cxn>
                <a:cxn ang="0">
                  <a:pos x="62" y="10"/>
                </a:cxn>
                <a:cxn ang="0">
                  <a:pos x="56" y="6"/>
                </a:cxn>
                <a:cxn ang="0">
                  <a:pos x="50" y="4"/>
                </a:cxn>
                <a:cxn ang="0">
                  <a:pos x="44" y="0"/>
                </a:cxn>
                <a:cxn ang="0">
                  <a:pos x="36" y="0"/>
                </a:cxn>
              </a:cxnLst>
              <a:rect l="0" t="0" r="r" b="b"/>
              <a:pathLst>
                <a:path w="72" h="72">
                  <a:moveTo>
                    <a:pt x="36" y="0"/>
                  </a:moveTo>
                  <a:lnTo>
                    <a:pt x="36" y="0"/>
                  </a:lnTo>
                  <a:lnTo>
                    <a:pt x="28" y="0"/>
                  </a:lnTo>
                  <a:lnTo>
                    <a:pt x="22" y="4"/>
                  </a:lnTo>
                  <a:lnTo>
                    <a:pt x="16" y="6"/>
                  </a:lnTo>
                  <a:lnTo>
                    <a:pt x="10" y="10"/>
                  </a:lnTo>
                  <a:lnTo>
                    <a:pt x="6" y="16"/>
                  </a:lnTo>
                  <a:lnTo>
                    <a:pt x="2" y="2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4"/>
                  </a:lnTo>
                  <a:lnTo>
                    <a:pt x="2" y="50"/>
                  </a:lnTo>
                  <a:lnTo>
                    <a:pt x="6" y="56"/>
                  </a:lnTo>
                  <a:lnTo>
                    <a:pt x="10" y="62"/>
                  </a:lnTo>
                  <a:lnTo>
                    <a:pt x="16" y="66"/>
                  </a:lnTo>
                  <a:lnTo>
                    <a:pt x="22" y="70"/>
                  </a:lnTo>
                  <a:lnTo>
                    <a:pt x="28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44" y="72"/>
                  </a:lnTo>
                  <a:lnTo>
                    <a:pt x="50" y="70"/>
                  </a:lnTo>
                  <a:lnTo>
                    <a:pt x="56" y="66"/>
                  </a:lnTo>
                  <a:lnTo>
                    <a:pt x="62" y="62"/>
                  </a:lnTo>
                  <a:lnTo>
                    <a:pt x="66" y="56"/>
                  </a:lnTo>
                  <a:lnTo>
                    <a:pt x="70" y="50"/>
                  </a:lnTo>
                  <a:lnTo>
                    <a:pt x="72" y="44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0"/>
                  </a:lnTo>
                  <a:lnTo>
                    <a:pt x="70" y="22"/>
                  </a:lnTo>
                  <a:lnTo>
                    <a:pt x="66" y="16"/>
                  </a:lnTo>
                  <a:lnTo>
                    <a:pt x="62" y="10"/>
                  </a:lnTo>
                  <a:lnTo>
                    <a:pt x="56" y="6"/>
                  </a:lnTo>
                  <a:lnTo>
                    <a:pt x="50" y="4"/>
                  </a:lnTo>
                  <a:lnTo>
                    <a:pt x="44" y="0"/>
                  </a:lnTo>
                  <a:lnTo>
                    <a:pt x="36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85" name="Freeform 232"/>
            <p:cNvSpPr>
              <a:spLocks/>
            </p:cNvSpPr>
            <p:nvPr/>
          </p:nvSpPr>
          <p:spPr bwMode="auto">
            <a:xfrm>
              <a:off x="7349249" y="5166497"/>
              <a:ext cx="43574" cy="43574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18" y="0"/>
                </a:cxn>
                <a:cxn ang="0">
                  <a:pos x="10" y="2"/>
                </a:cxn>
                <a:cxn ang="0">
                  <a:pos x="4" y="6"/>
                </a:cxn>
                <a:cxn ang="0">
                  <a:pos x="0" y="12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6"/>
                </a:cxn>
                <a:cxn ang="0">
                  <a:pos x="4" y="32"/>
                </a:cxn>
                <a:cxn ang="0">
                  <a:pos x="10" y="38"/>
                </a:cxn>
                <a:cxn ang="0">
                  <a:pos x="18" y="38"/>
                </a:cxn>
                <a:cxn ang="0">
                  <a:pos x="18" y="38"/>
                </a:cxn>
                <a:cxn ang="0">
                  <a:pos x="26" y="38"/>
                </a:cxn>
                <a:cxn ang="0">
                  <a:pos x="32" y="32"/>
                </a:cxn>
                <a:cxn ang="0">
                  <a:pos x="36" y="26"/>
                </a:cxn>
                <a:cxn ang="0">
                  <a:pos x="38" y="20"/>
                </a:cxn>
                <a:cxn ang="0">
                  <a:pos x="38" y="20"/>
                </a:cxn>
                <a:cxn ang="0">
                  <a:pos x="36" y="12"/>
                </a:cxn>
                <a:cxn ang="0">
                  <a:pos x="32" y="6"/>
                </a:cxn>
                <a:cxn ang="0">
                  <a:pos x="26" y="2"/>
                </a:cxn>
                <a:cxn ang="0">
                  <a:pos x="18" y="0"/>
                </a:cxn>
              </a:cxnLst>
              <a:rect l="0" t="0" r="r" b="b"/>
              <a:pathLst>
                <a:path w="38" h="38">
                  <a:moveTo>
                    <a:pt x="18" y="0"/>
                  </a:moveTo>
                  <a:lnTo>
                    <a:pt x="18" y="0"/>
                  </a:lnTo>
                  <a:lnTo>
                    <a:pt x="10" y="2"/>
                  </a:lnTo>
                  <a:lnTo>
                    <a:pt x="4" y="6"/>
                  </a:lnTo>
                  <a:lnTo>
                    <a:pt x="0" y="1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6"/>
                  </a:lnTo>
                  <a:lnTo>
                    <a:pt x="4" y="32"/>
                  </a:lnTo>
                  <a:lnTo>
                    <a:pt x="10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26" y="38"/>
                  </a:lnTo>
                  <a:lnTo>
                    <a:pt x="32" y="32"/>
                  </a:lnTo>
                  <a:lnTo>
                    <a:pt x="36" y="26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6" y="12"/>
                  </a:lnTo>
                  <a:lnTo>
                    <a:pt x="32" y="6"/>
                  </a:lnTo>
                  <a:lnTo>
                    <a:pt x="26" y="2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86" name="Freeform 233"/>
            <p:cNvSpPr>
              <a:spLocks/>
            </p:cNvSpPr>
            <p:nvPr/>
          </p:nvSpPr>
          <p:spPr bwMode="auto">
            <a:xfrm>
              <a:off x="7349249" y="5166497"/>
              <a:ext cx="43574" cy="43574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18" y="0"/>
                </a:cxn>
                <a:cxn ang="0">
                  <a:pos x="10" y="2"/>
                </a:cxn>
                <a:cxn ang="0">
                  <a:pos x="4" y="6"/>
                </a:cxn>
                <a:cxn ang="0">
                  <a:pos x="0" y="12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6"/>
                </a:cxn>
                <a:cxn ang="0">
                  <a:pos x="4" y="32"/>
                </a:cxn>
                <a:cxn ang="0">
                  <a:pos x="10" y="38"/>
                </a:cxn>
                <a:cxn ang="0">
                  <a:pos x="18" y="38"/>
                </a:cxn>
                <a:cxn ang="0">
                  <a:pos x="18" y="38"/>
                </a:cxn>
                <a:cxn ang="0">
                  <a:pos x="26" y="38"/>
                </a:cxn>
                <a:cxn ang="0">
                  <a:pos x="32" y="32"/>
                </a:cxn>
                <a:cxn ang="0">
                  <a:pos x="36" y="26"/>
                </a:cxn>
                <a:cxn ang="0">
                  <a:pos x="38" y="20"/>
                </a:cxn>
                <a:cxn ang="0">
                  <a:pos x="38" y="20"/>
                </a:cxn>
                <a:cxn ang="0">
                  <a:pos x="36" y="12"/>
                </a:cxn>
                <a:cxn ang="0">
                  <a:pos x="32" y="6"/>
                </a:cxn>
                <a:cxn ang="0">
                  <a:pos x="26" y="2"/>
                </a:cxn>
                <a:cxn ang="0">
                  <a:pos x="18" y="0"/>
                </a:cxn>
              </a:cxnLst>
              <a:rect l="0" t="0" r="r" b="b"/>
              <a:pathLst>
                <a:path w="38" h="38">
                  <a:moveTo>
                    <a:pt x="18" y="0"/>
                  </a:moveTo>
                  <a:lnTo>
                    <a:pt x="18" y="0"/>
                  </a:lnTo>
                  <a:lnTo>
                    <a:pt x="10" y="2"/>
                  </a:lnTo>
                  <a:lnTo>
                    <a:pt x="4" y="6"/>
                  </a:lnTo>
                  <a:lnTo>
                    <a:pt x="0" y="1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6"/>
                  </a:lnTo>
                  <a:lnTo>
                    <a:pt x="4" y="32"/>
                  </a:lnTo>
                  <a:lnTo>
                    <a:pt x="10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26" y="38"/>
                  </a:lnTo>
                  <a:lnTo>
                    <a:pt x="32" y="32"/>
                  </a:lnTo>
                  <a:lnTo>
                    <a:pt x="36" y="26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6" y="12"/>
                  </a:lnTo>
                  <a:lnTo>
                    <a:pt x="32" y="6"/>
                  </a:lnTo>
                  <a:lnTo>
                    <a:pt x="26" y="2"/>
                  </a:lnTo>
                  <a:lnTo>
                    <a:pt x="18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87" name="Freeform 234"/>
            <p:cNvSpPr>
              <a:spLocks/>
            </p:cNvSpPr>
            <p:nvPr/>
          </p:nvSpPr>
          <p:spPr bwMode="auto">
            <a:xfrm>
              <a:off x="8216151" y="5602242"/>
              <a:ext cx="43574" cy="43574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20" y="0"/>
                </a:cxn>
                <a:cxn ang="0">
                  <a:pos x="12" y="2"/>
                </a:cxn>
                <a:cxn ang="0">
                  <a:pos x="6" y="6"/>
                </a:cxn>
                <a:cxn ang="0">
                  <a:pos x="2" y="12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2" y="26"/>
                </a:cxn>
                <a:cxn ang="0">
                  <a:pos x="6" y="32"/>
                </a:cxn>
                <a:cxn ang="0">
                  <a:pos x="12" y="38"/>
                </a:cxn>
                <a:cxn ang="0">
                  <a:pos x="20" y="38"/>
                </a:cxn>
                <a:cxn ang="0">
                  <a:pos x="20" y="38"/>
                </a:cxn>
                <a:cxn ang="0">
                  <a:pos x="26" y="38"/>
                </a:cxn>
                <a:cxn ang="0">
                  <a:pos x="32" y="32"/>
                </a:cxn>
                <a:cxn ang="0">
                  <a:pos x="36" y="26"/>
                </a:cxn>
                <a:cxn ang="0">
                  <a:pos x="38" y="20"/>
                </a:cxn>
                <a:cxn ang="0">
                  <a:pos x="38" y="20"/>
                </a:cxn>
                <a:cxn ang="0">
                  <a:pos x="36" y="12"/>
                </a:cxn>
                <a:cxn ang="0">
                  <a:pos x="32" y="6"/>
                </a:cxn>
                <a:cxn ang="0">
                  <a:pos x="26" y="2"/>
                </a:cxn>
                <a:cxn ang="0">
                  <a:pos x="20" y="0"/>
                </a:cxn>
              </a:cxnLst>
              <a:rect l="0" t="0" r="r" b="b"/>
              <a:pathLst>
                <a:path w="38" h="38">
                  <a:moveTo>
                    <a:pt x="20" y="0"/>
                  </a:moveTo>
                  <a:lnTo>
                    <a:pt x="20" y="0"/>
                  </a:lnTo>
                  <a:lnTo>
                    <a:pt x="12" y="2"/>
                  </a:lnTo>
                  <a:lnTo>
                    <a:pt x="6" y="6"/>
                  </a:lnTo>
                  <a:lnTo>
                    <a:pt x="2" y="1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2" y="26"/>
                  </a:lnTo>
                  <a:lnTo>
                    <a:pt x="6" y="32"/>
                  </a:lnTo>
                  <a:lnTo>
                    <a:pt x="12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6" y="38"/>
                  </a:lnTo>
                  <a:lnTo>
                    <a:pt x="32" y="32"/>
                  </a:lnTo>
                  <a:lnTo>
                    <a:pt x="36" y="26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6" y="12"/>
                  </a:lnTo>
                  <a:lnTo>
                    <a:pt x="32" y="6"/>
                  </a:lnTo>
                  <a:lnTo>
                    <a:pt x="26" y="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88" name="Freeform 235"/>
            <p:cNvSpPr>
              <a:spLocks/>
            </p:cNvSpPr>
            <p:nvPr/>
          </p:nvSpPr>
          <p:spPr bwMode="auto">
            <a:xfrm>
              <a:off x="8216151" y="5602242"/>
              <a:ext cx="43574" cy="43574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20" y="0"/>
                </a:cxn>
                <a:cxn ang="0">
                  <a:pos x="12" y="2"/>
                </a:cxn>
                <a:cxn ang="0">
                  <a:pos x="6" y="6"/>
                </a:cxn>
                <a:cxn ang="0">
                  <a:pos x="2" y="12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2" y="26"/>
                </a:cxn>
                <a:cxn ang="0">
                  <a:pos x="6" y="32"/>
                </a:cxn>
                <a:cxn ang="0">
                  <a:pos x="12" y="38"/>
                </a:cxn>
                <a:cxn ang="0">
                  <a:pos x="20" y="38"/>
                </a:cxn>
                <a:cxn ang="0">
                  <a:pos x="20" y="38"/>
                </a:cxn>
                <a:cxn ang="0">
                  <a:pos x="26" y="38"/>
                </a:cxn>
                <a:cxn ang="0">
                  <a:pos x="32" y="32"/>
                </a:cxn>
                <a:cxn ang="0">
                  <a:pos x="36" y="26"/>
                </a:cxn>
                <a:cxn ang="0">
                  <a:pos x="38" y="20"/>
                </a:cxn>
                <a:cxn ang="0">
                  <a:pos x="38" y="20"/>
                </a:cxn>
                <a:cxn ang="0">
                  <a:pos x="36" y="12"/>
                </a:cxn>
                <a:cxn ang="0">
                  <a:pos x="32" y="6"/>
                </a:cxn>
                <a:cxn ang="0">
                  <a:pos x="26" y="2"/>
                </a:cxn>
                <a:cxn ang="0">
                  <a:pos x="20" y="0"/>
                </a:cxn>
              </a:cxnLst>
              <a:rect l="0" t="0" r="r" b="b"/>
              <a:pathLst>
                <a:path w="38" h="38">
                  <a:moveTo>
                    <a:pt x="20" y="0"/>
                  </a:moveTo>
                  <a:lnTo>
                    <a:pt x="20" y="0"/>
                  </a:lnTo>
                  <a:lnTo>
                    <a:pt x="12" y="2"/>
                  </a:lnTo>
                  <a:lnTo>
                    <a:pt x="6" y="6"/>
                  </a:lnTo>
                  <a:lnTo>
                    <a:pt x="2" y="1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2" y="26"/>
                  </a:lnTo>
                  <a:lnTo>
                    <a:pt x="6" y="32"/>
                  </a:lnTo>
                  <a:lnTo>
                    <a:pt x="12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6" y="38"/>
                  </a:lnTo>
                  <a:lnTo>
                    <a:pt x="32" y="32"/>
                  </a:lnTo>
                  <a:lnTo>
                    <a:pt x="36" y="26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6" y="12"/>
                  </a:lnTo>
                  <a:lnTo>
                    <a:pt x="32" y="6"/>
                  </a:lnTo>
                  <a:lnTo>
                    <a:pt x="26" y="2"/>
                  </a:lnTo>
                  <a:lnTo>
                    <a:pt x="20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89" name="Freeform 236"/>
            <p:cNvSpPr>
              <a:spLocks/>
            </p:cNvSpPr>
            <p:nvPr/>
          </p:nvSpPr>
          <p:spPr bwMode="auto">
            <a:xfrm>
              <a:off x="7661150" y="5914143"/>
              <a:ext cx="43574" cy="43574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20" y="0"/>
                </a:cxn>
                <a:cxn ang="0">
                  <a:pos x="12" y="2"/>
                </a:cxn>
                <a:cxn ang="0">
                  <a:pos x="6" y="6"/>
                </a:cxn>
                <a:cxn ang="0">
                  <a:pos x="2" y="12"/>
                </a:cxn>
                <a:cxn ang="0">
                  <a:pos x="0" y="18"/>
                </a:cxn>
                <a:cxn ang="0">
                  <a:pos x="0" y="18"/>
                </a:cxn>
                <a:cxn ang="0">
                  <a:pos x="2" y="26"/>
                </a:cxn>
                <a:cxn ang="0">
                  <a:pos x="6" y="32"/>
                </a:cxn>
                <a:cxn ang="0">
                  <a:pos x="12" y="36"/>
                </a:cxn>
                <a:cxn ang="0">
                  <a:pos x="20" y="38"/>
                </a:cxn>
                <a:cxn ang="0">
                  <a:pos x="20" y="38"/>
                </a:cxn>
                <a:cxn ang="0">
                  <a:pos x="26" y="36"/>
                </a:cxn>
                <a:cxn ang="0">
                  <a:pos x="32" y="32"/>
                </a:cxn>
                <a:cxn ang="0">
                  <a:pos x="36" y="26"/>
                </a:cxn>
                <a:cxn ang="0">
                  <a:pos x="38" y="18"/>
                </a:cxn>
                <a:cxn ang="0">
                  <a:pos x="38" y="18"/>
                </a:cxn>
                <a:cxn ang="0">
                  <a:pos x="36" y="12"/>
                </a:cxn>
                <a:cxn ang="0">
                  <a:pos x="32" y="6"/>
                </a:cxn>
                <a:cxn ang="0">
                  <a:pos x="26" y="2"/>
                </a:cxn>
                <a:cxn ang="0">
                  <a:pos x="20" y="0"/>
                </a:cxn>
              </a:cxnLst>
              <a:rect l="0" t="0" r="r" b="b"/>
              <a:pathLst>
                <a:path w="38" h="38">
                  <a:moveTo>
                    <a:pt x="20" y="0"/>
                  </a:moveTo>
                  <a:lnTo>
                    <a:pt x="20" y="0"/>
                  </a:lnTo>
                  <a:lnTo>
                    <a:pt x="12" y="2"/>
                  </a:lnTo>
                  <a:lnTo>
                    <a:pt x="6" y="6"/>
                  </a:lnTo>
                  <a:lnTo>
                    <a:pt x="2" y="1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2" y="26"/>
                  </a:lnTo>
                  <a:lnTo>
                    <a:pt x="6" y="32"/>
                  </a:lnTo>
                  <a:lnTo>
                    <a:pt x="12" y="36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6" y="36"/>
                  </a:lnTo>
                  <a:lnTo>
                    <a:pt x="32" y="32"/>
                  </a:lnTo>
                  <a:lnTo>
                    <a:pt x="36" y="26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6" y="12"/>
                  </a:lnTo>
                  <a:lnTo>
                    <a:pt x="32" y="6"/>
                  </a:lnTo>
                  <a:lnTo>
                    <a:pt x="26" y="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90" name="Freeform 237"/>
            <p:cNvSpPr>
              <a:spLocks/>
            </p:cNvSpPr>
            <p:nvPr/>
          </p:nvSpPr>
          <p:spPr bwMode="auto">
            <a:xfrm>
              <a:off x="7661150" y="5914143"/>
              <a:ext cx="43574" cy="43574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20" y="0"/>
                </a:cxn>
                <a:cxn ang="0">
                  <a:pos x="12" y="2"/>
                </a:cxn>
                <a:cxn ang="0">
                  <a:pos x="6" y="6"/>
                </a:cxn>
                <a:cxn ang="0">
                  <a:pos x="2" y="12"/>
                </a:cxn>
                <a:cxn ang="0">
                  <a:pos x="0" y="18"/>
                </a:cxn>
                <a:cxn ang="0">
                  <a:pos x="0" y="18"/>
                </a:cxn>
                <a:cxn ang="0">
                  <a:pos x="2" y="26"/>
                </a:cxn>
                <a:cxn ang="0">
                  <a:pos x="6" y="32"/>
                </a:cxn>
                <a:cxn ang="0">
                  <a:pos x="12" y="36"/>
                </a:cxn>
                <a:cxn ang="0">
                  <a:pos x="20" y="38"/>
                </a:cxn>
                <a:cxn ang="0">
                  <a:pos x="20" y="38"/>
                </a:cxn>
                <a:cxn ang="0">
                  <a:pos x="26" y="36"/>
                </a:cxn>
                <a:cxn ang="0">
                  <a:pos x="32" y="32"/>
                </a:cxn>
                <a:cxn ang="0">
                  <a:pos x="36" y="26"/>
                </a:cxn>
                <a:cxn ang="0">
                  <a:pos x="38" y="18"/>
                </a:cxn>
                <a:cxn ang="0">
                  <a:pos x="38" y="18"/>
                </a:cxn>
                <a:cxn ang="0">
                  <a:pos x="36" y="12"/>
                </a:cxn>
                <a:cxn ang="0">
                  <a:pos x="32" y="6"/>
                </a:cxn>
                <a:cxn ang="0">
                  <a:pos x="26" y="2"/>
                </a:cxn>
                <a:cxn ang="0">
                  <a:pos x="20" y="0"/>
                </a:cxn>
              </a:cxnLst>
              <a:rect l="0" t="0" r="r" b="b"/>
              <a:pathLst>
                <a:path w="38" h="38">
                  <a:moveTo>
                    <a:pt x="20" y="0"/>
                  </a:moveTo>
                  <a:lnTo>
                    <a:pt x="20" y="0"/>
                  </a:lnTo>
                  <a:lnTo>
                    <a:pt x="12" y="2"/>
                  </a:lnTo>
                  <a:lnTo>
                    <a:pt x="6" y="6"/>
                  </a:lnTo>
                  <a:lnTo>
                    <a:pt x="2" y="1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2" y="26"/>
                  </a:lnTo>
                  <a:lnTo>
                    <a:pt x="6" y="32"/>
                  </a:lnTo>
                  <a:lnTo>
                    <a:pt x="12" y="36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6" y="36"/>
                  </a:lnTo>
                  <a:lnTo>
                    <a:pt x="32" y="32"/>
                  </a:lnTo>
                  <a:lnTo>
                    <a:pt x="36" y="26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6" y="12"/>
                  </a:lnTo>
                  <a:lnTo>
                    <a:pt x="32" y="6"/>
                  </a:lnTo>
                  <a:lnTo>
                    <a:pt x="26" y="2"/>
                  </a:lnTo>
                  <a:lnTo>
                    <a:pt x="20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91" name="Freeform 238"/>
            <p:cNvSpPr>
              <a:spLocks/>
            </p:cNvSpPr>
            <p:nvPr/>
          </p:nvSpPr>
          <p:spPr bwMode="auto">
            <a:xfrm>
              <a:off x="7211645" y="5707738"/>
              <a:ext cx="43574" cy="43574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20" y="0"/>
                </a:cxn>
                <a:cxn ang="0">
                  <a:pos x="12" y="2"/>
                </a:cxn>
                <a:cxn ang="0">
                  <a:pos x="6" y="6"/>
                </a:cxn>
                <a:cxn ang="0">
                  <a:pos x="2" y="12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2" y="28"/>
                </a:cxn>
                <a:cxn ang="0">
                  <a:pos x="6" y="34"/>
                </a:cxn>
                <a:cxn ang="0">
                  <a:pos x="12" y="38"/>
                </a:cxn>
                <a:cxn ang="0">
                  <a:pos x="20" y="38"/>
                </a:cxn>
                <a:cxn ang="0">
                  <a:pos x="20" y="38"/>
                </a:cxn>
                <a:cxn ang="0">
                  <a:pos x="26" y="38"/>
                </a:cxn>
                <a:cxn ang="0">
                  <a:pos x="32" y="34"/>
                </a:cxn>
                <a:cxn ang="0">
                  <a:pos x="36" y="28"/>
                </a:cxn>
                <a:cxn ang="0">
                  <a:pos x="38" y="20"/>
                </a:cxn>
                <a:cxn ang="0">
                  <a:pos x="38" y="20"/>
                </a:cxn>
                <a:cxn ang="0">
                  <a:pos x="36" y="12"/>
                </a:cxn>
                <a:cxn ang="0">
                  <a:pos x="32" y="6"/>
                </a:cxn>
                <a:cxn ang="0">
                  <a:pos x="26" y="2"/>
                </a:cxn>
                <a:cxn ang="0">
                  <a:pos x="20" y="0"/>
                </a:cxn>
              </a:cxnLst>
              <a:rect l="0" t="0" r="r" b="b"/>
              <a:pathLst>
                <a:path w="38" h="38">
                  <a:moveTo>
                    <a:pt x="20" y="0"/>
                  </a:moveTo>
                  <a:lnTo>
                    <a:pt x="20" y="0"/>
                  </a:lnTo>
                  <a:lnTo>
                    <a:pt x="12" y="2"/>
                  </a:lnTo>
                  <a:lnTo>
                    <a:pt x="6" y="6"/>
                  </a:lnTo>
                  <a:lnTo>
                    <a:pt x="2" y="1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2" y="28"/>
                  </a:lnTo>
                  <a:lnTo>
                    <a:pt x="6" y="34"/>
                  </a:lnTo>
                  <a:lnTo>
                    <a:pt x="12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6" y="38"/>
                  </a:lnTo>
                  <a:lnTo>
                    <a:pt x="32" y="34"/>
                  </a:lnTo>
                  <a:lnTo>
                    <a:pt x="36" y="28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6" y="12"/>
                  </a:lnTo>
                  <a:lnTo>
                    <a:pt x="32" y="6"/>
                  </a:lnTo>
                  <a:lnTo>
                    <a:pt x="26" y="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92" name="Freeform 239"/>
            <p:cNvSpPr>
              <a:spLocks/>
            </p:cNvSpPr>
            <p:nvPr/>
          </p:nvSpPr>
          <p:spPr bwMode="auto">
            <a:xfrm>
              <a:off x="7211645" y="5707738"/>
              <a:ext cx="43574" cy="43574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20" y="0"/>
                </a:cxn>
                <a:cxn ang="0">
                  <a:pos x="12" y="2"/>
                </a:cxn>
                <a:cxn ang="0">
                  <a:pos x="6" y="6"/>
                </a:cxn>
                <a:cxn ang="0">
                  <a:pos x="2" y="12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2" y="28"/>
                </a:cxn>
                <a:cxn ang="0">
                  <a:pos x="6" y="34"/>
                </a:cxn>
                <a:cxn ang="0">
                  <a:pos x="12" y="38"/>
                </a:cxn>
                <a:cxn ang="0">
                  <a:pos x="20" y="38"/>
                </a:cxn>
                <a:cxn ang="0">
                  <a:pos x="20" y="38"/>
                </a:cxn>
                <a:cxn ang="0">
                  <a:pos x="26" y="38"/>
                </a:cxn>
                <a:cxn ang="0">
                  <a:pos x="32" y="34"/>
                </a:cxn>
                <a:cxn ang="0">
                  <a:pos x="36" y="28"/>
                </a:cxn>
                <a:cxn ang="0">
                  <a:pos x="38" y="20"/>
                </a:cxn>
                <a:cxn ang="0">
                  <a:pos x="38" y="20"/>
                </a:cxn>
                <a:cxn ang="0">
                  <a:pos x="36" y="12"/>
                </a:cxn>
                <a:cxn ang="0">
                  <a:pos x="32" y="6"/>
                </a:cxn>
                <a:cxn ang="0">
                  <a:pos x="26" y="2"/>
                </a:cxn>
                <a:cxn ang="0">
                  <a:pos x="20" y="0"/>
                </a:cxn>
              </a:cxnLst>
              <a:rect l="0" t="0" r="r" b="b"/>
              <a:pathLst>
                <a:path w="38" h="38">
                  <a:moveTo>
                    <a:pt x="20" y="0"/>
                  </a:moveTo>
                  <a:lnTo>
                    <a:pt x="20" y="0"/>
                  </a:lnTo>
                  <a:lnTo>
                    <a:pt x="12" y="2"/>
                  </a:lnTo>
                  <a:lnTo>
                    <a:pt x="6" y="6"/>
                  </a:lnTo>
                  <a:lnTo>
                    <a:pt x="2" y="1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2" y="28"/>
                  </a:lnTo>
                  <a:lnTo>
                    <a:pt x="6" y="34"/>
                  </a:lnTo>
                  <a:lnTo>
                    <a:pt x="12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6" y="38"/>
                  </a:lnTo>
                  <a:lnTo>
                    <a:pt x="32" y="34"/>
                  </a:lnTo>
                  <a:lnTo>
                    <a:pt x="36" y="28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6" y="12"/>
                  </a:lnTo>
                  <a:lnTo>
                    <a:pt x="32" y="6"/>
                  </a:lnTo>
                  <a:lnTo>
                    <a:pt x="26" y="2"/>
                  </a:lnTo>
                  <a:lnTo>
                    <a:pt x="20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93" name="Freeform 241"/>
            <p:cNvSpPr>
              <a:spLocks/>
            </p:cNvSpPr>
            <p:nvPr/>
          </p:nvSpPr>
          <p:spPr bwMode="auto">
            <a:xfrm>
              <a:off x="7642803" y="6338421"/>
              <a:ext cx="348596" cy="348596"/>
            </a:xfrm>
            <a:custGeom>
              <a:avLst/>
              <a:gdLst/>
              <a:ahLst/>
              <a:cxnLst>
                <a:cxn ang="0">
                  <a:pos x="152" y="0"/>
                </a:cxn>
                <a:cxn ang="0">
                  <a:pos x="120" y="4"/>
                </a:cxn>
                <a:cxn ang="0">
                  <a:pos x="92" y="12"/>
                </a:cxn>
                <a:cxn ang="0">
                  <a:pos x="66" y="26"/>
                </a:cxn>
                <a:cxn ang="0">
                  <a:pos x="44" y="46"/>
                </a:cxn>
                <a:cxn ang="0">
                  <a:pos x="26" y="68"/>
                </a:cxn>
                <a:cxn ang="0">
                  <a:pos x="12" y="94"/>
                </a:cxn>
                <a:cxn ang="0">
                  <a:pos x="2" y="122"/>
                </a:cxn>
                <a:cxn ang="0">
                  <a:pos x="0" y="152"/>
                </a:cxn>
                <a:cxn ang="0">
                  <a:pos x="0" y="168"/>
                </a:cxn>
                <a:cxn ang="0">
                  <a:pos x="6" y="198"/>
                </a:cxn>
                <a:cxn ang="0">
                  <a:pos x="18" y="226"/>
                </a:cxn>
                <a:cxn ang="0">
                  <a:pos x="34" y="250"/>
                </a:cxn>
                <a:cxn ang="0">
                  <a:pos x="54" y="270"/>
                </a:cxn>
                <a:cxn ang="0">
                  <a:pos x="80" y="286"/>
                </a:cxn>
                <a:cxn ang="0">
                  <a:pos x="106" y="298"/>
                </a:cxn>
                <a:cxn ang="0">
                  <a:pos x="136" y="304"/>
                </a:cxn>
                <a:cxn ang="0">
                  <a:pos x="152" y="304"/>
                </a:cxn>
                <a:cxn ang="0">
                  <a:pos x="182" y="302"/>
                </a:cxn>
                <a:cxn ang="0">
                  <a:pos x="210" y="292"/>
                </a:cxn>
                <a:cxn ang="0">
                  <a:pos x="236" y="278"/>
                </a:cxn>
                <a:cxn ang="0">
                  <a:pos x="258" y="260"/>
                </a:cxn>
                <a:cxn ang="0">
                  <a:pos x="278" y="238"/>
                </a:cxn>
                <a:cxn ang="0">
                  <a:pos x="292" y="212"/>
                </a:cxn>
                <a:cxn ang="0">
                  <a:pos x="300" y="184"/>
                </a:cxn>
                <a:cxn ang="0">
                  <a:pos x="304" y="152"/>
                </a:cxn>
                <a:cxn ang="0">
                  <a:pos x="302" y="138"/>
                </a:cxn>
                <a:cxn ang="0">
                  <a:pos x="296" y="108"/>
                </a:cxn>
                <a:cxn ang="0">
                  <a:pos x="284" y="80"/>
                </a:cxn>
                <a:cxn ang="0">
                  <a:pos x="268" y="56"/>
                </a:cxn>
                <a:cxn ang="0">
                  <a:pos x="248" y="36"/>
                </a:cxn>
                <a:cxn ang="0">
                  <a:pos x="224" y="20"/>
                </a:cxn>
                <a:cxn ang="0">
                  <a:pos x="196" y="8"/>
                </a:cxn>
                <a:cxn ang="0">
                  <a:pos x="166" y="2"/>
                </a:cxn>
              </a:cxnLst>
              <a:rect l="0" t="0" r="r" b="b"/>
              <a:pathLst>
                <a:path w="304" h="304">
                  <a:moveTo>
                    <a:pt x="152" y="0"/>
                  </a:moveTo>
                  <a:lnTo>
                    <a:pt x="152" y="0"/>
                  </a:lnTo>
                  <a:lnTo>
                    <a:pt x="136" y="2"/>
                  </a:lnTo>
                  <a:lnTo>
                    <a:pt x="120" y="4"/>
                  </a:lnTo>
                  <a:lnTo>
                    <a:pt x="106" y="8"/>
                  </a:lnTo>
                  <a:lnTo>
                    <a:pt x="92" y="12"/>
                  </a:lnTo>
                  <a:lnTo>
                    <a:pt x="80" y="20"/>
                  </a:lnTo>
                  <a:lnTo>
                    <a:pt x="66" y="26"/>
                  </a:lnTo>
                  <a:lnTo>
                    <a:pt x="54" y="36"/>
                  </a:lnTo>
                  <a:lnTo>
                    <a:pt x="44" y="46"/>
                  </a:lnTo>
                  <a:lnTo>
                    <a:pt x="34" y="56"/>
                  </a:lnTo>
                  <a:lnTo>
                    <a:pt x="26" y="68"/>
                  </a:lnTo>
                  <a:lnTo>
                    <a:pt x="18" y="80"/>
                  </a:lnTo>
                  <a:lnTo>
                    <a:pt x="12" y="94"/>
                  </a:lnTo>
                  <a:lnTo>
                    <a:pt x="6" y="108"/>
                  </a:lnTo>
                  <a:lnTo>
                    <a:pt x="2" y="122"/>
                  </a:lnTo>
                  <a:lnTo>
                    <a:pt x="0" y="138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0" y="168"/>
                  </a:lnTo>
                  <a:lnTo>
                    <a:pt x="2" y="184"/>
                  </a:lnTo>
                  <a:lnTo>
                    <a:pt x="6" y="198"/>
                  </a:lnTo>
                  <a:lnTo>
                    <a:pt x="12" y="212"/>
                  </a:lnTo>
                  <a:lnTo>
                    <a:pt x="18" y="226"/>
                  </a:lnTo>
                  <a:lnTo>
                    <a:pt x="26" y="238"/>
                  </a:lnTo>
                  <a:lnTo>
                    <a:pt x="34" y="250"/>
                  </a:lnTo>
                  <a:lnTo>
                    <a:pt x="44" y="260"/>
                  </a:lnTo>
                  <a:lnTo>
                    <a:pt x="54" y="270"/>
                  </a:lnTo>
                  <a:lnTo>
                    <a:pt x="66" y="278"/>
                  </a:lnTo>
                  <a:lnTo>
                    <a:pt x="80" y="286"/>
                  </a:lnTo>
                  <a:lnTo>
                    <a:pt x="92" y="292"/>
                  </a:lnTo>
                  <a:lnTo>
                    <a:pt x="106" y="298"/>
                  </a:lnTo>
                  <a:lnTo>
                    <a:pt x="120" y="302"/>
                  </a:lnTo>
                  <a:lnTo>
                    <a:pt x="136" y="304"/>
                  </a:lnTo>
                  <a:lnTo>
                    <a:pt x="152" y="304"/>
                  </a:lnTo>
                  <a:lnTo>
                    <a:pt x="152" y="304"/>
                  </a:lnTo>
                  <a:lnTo>
                    <a:pt x="166" y="304"/>
                  </a:lnTo>
                  <a:lnTo>
                    <a:pt x="182" y="302"/>
                  </a:lnTo>
                  <a:lnTo>
                    <a:pt x="196" y="298"/>
                  </a:lnTo>
                  <a:lnTo>
                    <a:pt x="210" y="292"/>
                  </a:lnTo>
                  <a:lnTo>
                    <a:pt x="224" y="286"/>
                  </a:lnTo>
                  <a:lnTo>
                    <a:pt x="236" y="278"/>
                  </a:lnTo>
                  <a:lnTo>
                    <a:pt x="248" y="270"/>
                  </a:lnTo>
                  <a:lnTo>
                    <a:pt x="258" y="260"/>
                  </a:lnTo>
                  <a:lnTo>
                    <a:pt x="268" y="250"/>
                  </a:lnTo>
                  <a:lnTo>
                    <a:pt x="278" y="238"/>
                  </a:lnTo>
                  <a:lnTo>
                    <a:pt x="284" y="226"/>
                  </a:lnTo>
                  <a:lnTo>
                    <a:pt x="292" y="212"/>
                  </a:lnTo>
                  <a:lnTo>
                    <a:pt x="296" y="198"/>
                  </a:lnTo>
                  <a:lnTo>
                    <a:pt x="300" y="184"/>
                  </a:lnTo>
                  <a:lnTo>
                    <a:pt x="302" y="168"/>
                  </a:lnTo>
                  <a:lnTo>
                    <a:pt x="304" y="152"/>
                  </a:lnTo>
                  <a:lnTo>
                    <a:pt x="304" y="152"/>
                  </a:lnTo>
                  <a:lnTo>
                    <a:pt x="302" y="138"/>
                  </a:lnTo>
                  <a:lnTo>
                    <a:pt x="300" y="122"/>
                  </a:lnTo>
                  <a:lnTo>
                    <a:pt x="296" y="108"/>
                  </a:lnTo>
                  <a:lnTo>
                    <a:pt x="292" y="94"/>
                  </a:lnTo>
                  <a:lnTo>
                    <a:pt x="284" y="80"/>
                  </a:lnTo>
                  <a:lnTo>
                    <a:pt x="278" y="68"/>
                  </a:lnTo>
                  <a:lnTo>
                    <a:pt x="268" y="56"/>
                  </a:lnTo>
                  <a:lnTo>
                    <a:pt x="258" y="46"/>
                  </a:lnTo>
                  <a:lnTo>
                    <a:pt x="248" y="36"/>
                  </a:lnTo>
                  <a:lnTo>
                    <a:pt x="236" y="26"/>
                  </a:lnTo>
                  <a:lnTo>
                    <a:pt x="224" y="20"/>
                  </a:lnTo>
                  <a:lnTo>
                    <a:pt x="210" y="12"/>
                  </a:lnTo>
                  <a:lnTo>
                    <a:pt x="196" y="8"/>
                  </a:lnTo>
                  <a:lnTo>
                    <a:pt x="182" y="4"/>
                  </a:lnTo>
                  <a:lnTo>
                    <a:pt x="166" y="2"/>
                  </a:lnTo>
                  <a:lnTo>
                    <a:pt x="152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94" name="Freeform 243"/>
            <p:cNvSpPr>
              <a:spLocks/>
            </p:cNvSpPr>
            <p:nvPr/>
          </p:nvSpPr>
          <p:spPr bwMode="auto">
            <a:xfrm>
              <a:off x="7778113" y="4572508"/>
              <a:ext cx="385290" cy="385290"/>
            </a:xfrm>
            <a:custGeom>
              <a:avLst/>
              <a:gdLst/>
              <a:ahLst/>
              <a:cxnLst>
                <a:cxn ang="0">
                  <a:pos x="168" y="0"/>
                </a:cxn>
                <a:cxn ang="0">
                  <a:pos x="134" y="4"/>
                </a:cxn>
                <a:cxn ang="0">
                  <a:pos x="102" y="12"/>
                </a:cxn>
                <a:cxn ang="0">
                  <a:pos x="74" y="28"/>
                </a:cxn>
                <a:cxn ang="0">
                  <a:pos x="50" y="48"/>
                </a:cxn>
                <a:cxn ang="0">
                  <a:pos x="28" y="74"/>
                </a:cxn>
                <a:cxn ang="0">
                  <a:pos x="14" y="102"/>
                </a:cxn>
                <a:cxn ang="0">
                  <a:pos x="4" y="134"/>
                </a:cxn>
                <a:cxn ang="0">
                  <a:pos x="0" y="168"/>
                </a:cxn>
                <a:cxn ang="0">
                  <a:pos x="0" y="184"/>
                </a:cxn>
                <a:cxn ang="0">
                  <a:pos x="8" y="218"/>
                </a:cxn>
                <a:cxn ang="0">
                  <a:pos x="20" y="248"/>
                </a:cxn>
                <a:cxn ang="0">
                  <a:pos x="38" y="274"/>
                </a:cxn>
                <a:cxn ang="0">
                  <a:pos x="60" y="296"/>
                </a:cxn>
                <a:cxn ang="0">
                  <a:pos x="88" y="314"/>
                </a:cxn>
                <a:cxn ang="0">
                  <a:pos x="118" y="328"/>
                </a:cxn>
                <a:cxn ang="0">
                  <a:pos x="150" y="334"/>
                </a:cxn>
                <a:cxn ang="0">
                  <a:pos x="168" y="336"/>
                </a:cxn>
                <a:cxn ang="0">
                  <a:pos x="202" y="332"/>
                </a:cxn>
                <a:cxn ang="0">
                  <a:pos x="232" y="322"/>
                </a:cxn>
                <a:cxn ang="0">
                  <a:pos x="262" y="306"/>
                </a:cxn>
                <a:cxn ang="0">
                  <a:pos x="286" y="286"/>
                </a:cxn>
                <a:cxn ang="0">
                  <a:pos x="306" y="262"/>
                </a:cxn>
                <a:cxn ang="0">
                  <a:pos x="322" y="232"/>
                </a:cxn>
                <a:cxn ang="0">
                  <a:pos x="332" y="202"/>
                </a:cxn>
                <a:cxn ang="0">
                  <a:pos x="336" y="168"/>
                </a:cxn>
                <a:cxn ang="0">
                  <a:pos x="334" y="150"/>
                </a:cxn>
                <a:cxn ang="0">
                  <a:pos x="328" y="118"/>
                </a:cxn>
                <a:cxn ang="0">
                  <a:pos x="316" y="88"/>
                </a:cxn>
                <a:cxn ang="0">
                  <a:pos x="296" y="60"/>
                </a:cxn>
                <a:cxn ang="0">
                  <a:pos x="274" y="38"/>
                </a:cxn>
                <a:cxn ang="0">
                  <a:pos x="248" y="20"/>
                </a:cxn>
                <a:cxn ang="0">
                  <a:pos x="218" y="8"/>
                </a:cxn>
                <a:cxn ang="0">
                  <a:pos x="184" y="0"/>
                </a:cxn>
              </a:cxnLst>
              <a:rect l="0" t="0" r="r" b="b"/>
              <a:pathLst>
                <a:path w="336" h="336">
                  <a:moveTo>
                    <a:pt x="168" y="0"/>
                  </a:moveTo>
                  <a:lnTo>
                    <a:pt x="168" y="0"/>
                  </a:lnTo>
                  <a:lnTo>
                    <a:pt x="150" y="0"/>
                  </a:lnTo>
                  <a:lnTo>
                    <a:pt x="134" y="4"/>
                  </a:lnTo>
                  <a:lnTo>
                    <a:pt x="118" y="8"/>
                  </a:lnTo>
                  <a:lnTo>
                    <a:pt x="102" y="12"/>
                  </a:lnTo>
                  <a:lnTo>
                    <a:pt x="88" y="20"/>
                  </a:lnTo>
                  <a:lnTo>
                    <a:pt x="74" y="28"/>
                  </a:lnTo>
                  <a:lnTo>
                    <a:pt x="60" y="38"/>
                  </a:lnTo>
                  <a:lnTo>
                    <a:pt x="50" y="48"/>
                  </a:lnTo>
                  <a:lnTo>
                    <a:pt x="38" y="60"/>
                  </a:lnTo>
                  <a:lnTo>
                    <a:pt x="28" y="74"/>
                  </a:lnTo>
                  <a:lnTo>
                    <a:pt x="20" y="88"/>
                  </a:lnTo>
                  <a:lnTo>
                    <a:pt x="14" y="102"/>
                  </a:lnTo>
                  <a:lnTo>
                    <a:pt x="8" y="118"/>
                  </a:lnTo>
                  <a:lnTo>
                    <a:pt x="4" y="13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0" y="168"/>
                  </a:lnTo>
                  <a:lnTo>
                    <a:pt x="0" y="184"/>
                  </a:lnTo>
                  <a:lnTo>
                    <a:pt x="4" y="202"/>
                  </a:lnTo>
                  <a:lnTo>
                    <a:pt x="8" y="218"/>
                  </a:lnTo>
                  <a:lnTo>
                    <a:pt x="14" y="232"/>
                  </a:lnTo>
                  <a:lnTo>
                    <a:pt x="20" y="248"/>
                  </a:lnTo>
                  <a:lnTo>
                    <a:pt x="28" y="262"/>
                  </a:lnTo>
                  <a:lnTo>
                    <a:pt x="38" y="274"/>
                  </a:lnTo>
                  <a:lnTo>
                    <a:pt x="50" y="286"/>
                  </a:lnTo>
                  <a:lnTo>
                    <a:pt x="60" y="296"/>
                  </a:lnTo>
                  <a:lnTo>
                    <a:pt x="74" y="306"/>
                  </a:lnTo>
                  <a:lnTo>
                    <a:pt x="88" y="314"/>
                  </a:lnTo>
                  <a:lnTo>
                    <a:pt x="102" y="322"/>
                  </a:lnTo>
                  <a:lnTo>
                    <a:pt x="118" y="328"/>
                  </a:lnTo>
                  <a:lnTo>
                    <a:pt x="134" y="332"/>
                  </a:lnTo>
                  <a:lnTo>
                    <a:pt x="150" y="334"/>
                  </a:lnTo>
                  <a:lnTo>
                    <a:pt x="168" y="336"/>
                  </a:lnTo>
                  <a:lnTo>
                    <a:pt x="168" y="336"/>
                  </a:lnTo>
                  <a:lnTo>
                    <a:pt x="184" y="334"/>
                  </a:lnTo>
                  <a:lnTo>
                    <a:pt x="202" y="332"/>
                  </a:lnTo>
                  <a:lnTo>
                    <a:pt x="218" y="328"/>
                  </a:lnTo>
                  <a:lnTo>
                    <a:pt x="232" y="322"/>
                  </a:lnTo>
                  <a:lnTo>
                    <a:pt x="248" y="314"/>
                  </a:lnTo>
                  <a:lnTo>
                    <a:pt x="262" y="306"/>
                  </a:lnTo>
                  <a:lnTo>
                    <a:pt x="274" y="296"/>
                  </a:lnTo>
                  <a:lnTo>
                    <a:pt x="286" y="286"/>
                  </a:lnTo>
                  <a:lnTo>
                    <a:pt x="296" y="274"/>
                  </a:lnTo>
                  <a:lnTo>
                    <a:pt x="306" y="262"/>
                  </a:lnTo>
                  <a:lnTo>
                    <a:pt x="316" y="248"/>
                  </a:lnTo>
                  <a:lnTo>
                    <a:pt x="322" y="232"/>
                  </a:lnTo>
                  <a:lnTo>
                    <a:pt x="328" y="218"/>
                  </a:lnTo>
                  <a:lnTo>
                    <a:pt x="332" y="202"/>
                  </a:lnTo>
                  <a:lnTo>
                    <a:pt x="334" y="184"/>
                  </a:lnTo>
                  <a:lnTo>
                    <a:pt x="336" y="168"/>
                  </a:lnTo>
                  <a:lnTo>
                    <a:pt x="336" y="168"/>
                  </a:lnTo>
                  <a:lnTo>
                    <a:pt x="334" y="150"/>
                  </a:lnTo>
                  <a:lnTo>
                    <a:pt x="332" y="134"/>
                  </a:lnTo>
                  <a:lnTo>
                    <a:pt x="328" y="118"/>
                  </a:lnTo>
                  <a:lnTo>
                    <a:pt x="322" y="102"/>
                  </a:lnTo>
                  <a:lnTo>
                    <a:pt x="316" y="88"/>
                  </a:lnTo>
                  <a:lnTo>
                    <a:pt x="306" y="74"/>
                  </a:lnTo>
                  <a:lnTo>
                    <a:pt x="296" y="60"/>
                  </a:lnTo>
                  <a:lnTo>
                    <a:pt x="286" y="48"/>
                  </a:lnTo>
                  <a:lnTo>
                    <a:pt x="274" y="38"/>
                  </a:lnTo>
                  <a:lnTo>
                    <a:pt x="262" y="28"/>
                  </a:lnTo>
                  <a:lnTo>
                    <a:pt x="248" y="20"/>
                  </a:lnTo>
                  <a:lnTo>
                    <a:pt x="232" y="12"/>
                  </a:lnTo>
                  <a:lnTo>
                    <a:pt x="218" y="8"/>
                  </a:lnTo>
                  <a:lnTo>
                    <a:pt x="202" y="4"/>
                  </a:lnTo>
                  <a:lnTo>
                    <a:pt x="184" y="0"/>
                  </a:lnTo>
                  <a:lnTo>
                    <a:pt x="168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95" name="Freeform 244"/>
            <p:cNvSpPr>
              <a:spLocks/>
            </p:cNvSpPr>
            <p:nvPr/>
          </p:nvSpPr>
          <p:spPr bwMode="auto">
            <a:xfrm>
              <a:off x="7248339" y="4934864"/>
              <a:ext cx="165124" cy="165124"/>
            </a:xfrm>
            <a:custGeom>
              <a:avLst/>
              <a:gdLst/>
              <a:ahLst/>
              <a:cxnLst>
                <a:cxn ang="0">
                  <a:pos x="72" y="0"/>
                </a:cxn>
                <a:cxn ang="0">
                  <a:pos x="72" y="0"/>
                </a:cxn>
                <a:cxn ang="0">
                  <a:pos x="56" y="0"/>
                </a:cxn>
                <a:cxn ang="0">
                  <a:pos x="44" y="6"/>
                </a:cxn>
                <a:cxn ang="0">
                  <a:pos x="32" y="12"/>
                </a:cxn>
                <a:cxn ang="0">
                  <a:pos x="20" y="20"/>
                </a:cxn>
                <a:cxn ang="0">
                  <a:pos x="12" y="32"/>
                </a:cxn>
                <a:cxn ang="0">
                  <a:pos x="6" y="44"/>
                </a:cxn>
                <a:cxn ang="0">
                  <a:pos x="0" y="58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86"/>
                </a:cxn>
                <a:cxn ang="0">
                  <a:pos x="6" y="100"/>
                </a:cxn>
                <a:cxn ang="0">
                  <a:pos x="12" y="112"/>
                </a:cxn>
                <a:cxn ang="0">
                  <a:pos x="20" y="122"/>
                </a:cxn>
                <a:cxn ang="0">
                  <a:pos x="32" y="132"/>
                </a:cxn>
                <a:cxn ang="0">
                  <a:pos x="44" y="138"/>
                </a:cxn>
                <a:cxn ang="0">
                  <a:pos x="56" y="142"/>
                </a:cxn>
                <a:cxn ang="0">
                  <a:pos x="72" y="144"/>
                </a:cxn>
                <a:cxn ang="0">
                  <a:pos x="72" y="144"/>
                </a:cxn>
                <a:cxn ang="0">
                  <a:pos x="86" y="142"/>
                </a:cxn>
                <a:cxn ang="0">
                  <a:pos x="100" y="138"/>
                </a:cxn>
                <a:cxn ang="0">
                  <a:pos x="112" y="132"/>
                </a:cxn>
                <a:cxn ang="0">
                  <a:pos x="122" y="122"/>
                </a:cxn>
                <a:cxn ang="0">
                  <a:pos x="132" y="112"/>
                </a:cxn>
                <a:cxn ang="0">
                  <a:pos x="138" y="100"/>
                </a:cxn>
                <a:cxn ang="0">
                  <a:pos x="142" y="86"/>
                </a:cxn>
                <a:cxn ang="0">
                  <a:pos x="144" y="72"/>
                </a:cxn>
                <a:cxn ang="0">
                  <a:pos x="144" y="72"/>
                </a:cxn>
                <a:cxn ang="0">
                  <a:pos x="142" y="58"/>
                </a:cxn>
                <a:cxn ang="0">
                  <a:pos x="138" y="44"/>
                </a:cxn>
                <a:cxn ang="0">
                  <a:pos x="132" y="32"/>
                </a:cxn>
                <a:cxn ang="0">
                  <a:pos x="122" y="20"/>
                </a:cxn>
                <a:cxn ang="0">
                  <a:pos x="112" y="12"/>
                </a:cxn>
                <a:cxn ang="0">
                  <a:pos x="100" y="6"/>
                </a:cxn>
                <a:cxn ang="0">
                  <a:pos x="86" y="0"/>
                </a:cxn>
                <a:cxn ang="0">
                  <a:pos x="72" y="0"/>
                </a:cxn>
              </a:cxnLst>
              <a:rect l="0" t="0" r="r" b="b"/>
              <a:pathLst>
                <a:path w="144" h="144">
                  <a:moveTo>
                    <a:pt x="72" y="0"/>
                  </a:moveTo>
                  <a:lnTo>
                    <a:pt x="72" y="0"/>
                  </a:lnTo>
                  <a:lnTo>
                    <a:pt x="56" y="0"/>
                  </a:lnTo>
                  <a:lnTo>
                    <a:pt x="44" y="6"/>
                  </a:lnTo>
                  <a:lnTo>
                    <a:pt x="32" y="12"/>
                  </a:lnTo>
                  <a:lnTo>
                    <a:pt x="20" y="20"/>
                  </a:lnTo>
                  <a:lnTo>
                    <a:pt x="12" y="32"/>
                  </a:lnTo>
                  <a:lnTo>
                    <a:pt x="6" y="44"/>
                  </a:lnTo>
                  <a:lnTo>
                    <a:pt x="0" y="58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86"/>
                  </a:lnTo>
                  <a:lnTo>
                    <a:pt x="6" y="100"/>
                  </a:lnTo>
                  <a:lnTo>
                    <a:pt x="12" y="112"/>
                  </a:lnTo>
                  <a:lnTo>
                    <a:pt x="20" y="122"/>
                  </a:lnTo>
                  <a:lnTo>
                    <a:pt x="32" y="132"/>
                  </a:lnTo>
                  <a:lnTo>
                    <a:pt x="44" y="138"/>
                  </a:lnTo>
                  <a:lnTo>
                    <a:pt x="56" y="142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86" y="142"/>
                  </a:lnTo>
                  <a:lnTo>
                    <a:pt x="100" y="138"/>
                  </a:lnTo>
                  <a:lnTo>
                    <a:pt x="112" y="132"/>
                  </a:lnTo>
                  <a:lnTo>
                    <a:pt x="122" y="122"/>
                  </a:lnTo>
                  <a:lnTo>
                    <a:pt x="132" y="112"/>
                  </a:lnTo>
                  <a:lnTo>
                    <a:pt x="138" y="100"/>
                  </a:lnTo>
                  <a:lnTo>
                    <a:pt x="142" y="86"/>
                  </a:lnTo>
                  <a:lnTo>
                    <a:pt x="144" y="72"/>
                  </a:lnTo>
                  <a:lnTo>
                    <a:pt x="144" y="72"/>
                  </a:lnTo>
                  <a:lnTo>
                    <a:pt x="142" y="58"/>
                  </a:lnTo>
                  <a:lnTo>
                    <a:pt x="138" y="44"/>
                  </a:lnTo>
                  <a:lnTo>
                    <a:pt x="132" y="32"/>
                  </a:lnTo>
                  <a:lnTo>
                    <a:pt x="122" y="20"/>
                  </a:lnTo>
                  <a:lnTo>
                    <a:pt x="112" y="12"/>
                  </a:lnTo>
                  <a:lnTo>
                    <a:pt x="100" y="6"/>
                  </a:lnTo>
                  <a:lnTo>
                    <a:pt x="86" y="0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96" name="Freeform 245"/>
            <p:cNvSpPr>
              <a:spLocks/>
            </p:cNvSpPr>
            <p:nvPr/>
          </p:nvSpPr>
          <p:spPr bwMode="auto">
            <a:xfrm>
              <a:off x="7248339" y="4934864"/>
              <a:ext cx="165124" cy="165124"/>
            </a:xfrm>
            <a:custGeom>
              <a:avLst/>
              <a:gdLst/>
              <a:ahLst/>
              <a:cxnLst>
                <a:cxn ang="0">
                  <a:pos x="72" y="0"/>
                </a:cxn>
                <a:cxn ang="0">
                  <a:pos x="72" y="0"/>
                </a:cxn>
                <a:cxn ang="0">
                  <a:pos x="56" y="0"/>
                </a:cxn>
                <a:cxn ang="0">
                  <a:pos x="44" y="6"/>
                </a:cxn>
                <a:cxn ang="0">
                  <a:pos x="32" y="12"/>
                </a:cxn>
                <a:cxn ang="0">
                  <a:pos x="20" y="20"/>
                </a:cxn>
                <a:cxn ang="0">
                  <a:pos x="12" y="32"/>
                </a:cxn>
                <a:cxn ang="0">
                  <a:pos x="6" y="44"/>
                </a:cxn>
                <a:cxn ang="0">
                  <a:pos x="0" y="58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86"/>
                </a:cxn>
                <a:cxn ang="0">
                  <a:pos x="6" y="100"/>
                </a:cxn>
                <a:cxn ang="0">
                  <a:pos x="12" y="112"/>
                </a:cxn>
                <a:cxn ang="0">
                  <a:pos x="20" y="122"/>
                </a:cxn>
                <a:cxn ang="0">
                  <a:pos x="32" y="132"/>
                </a:cxn>
                <a:cxn ang="0">
                  <a:pos x="44" y="138"/>
                </a:cxn>
                <a:cxn ang="0">
                  <a:pos x="56" y="142"/>
                </a:cxn>
                <a:cxn ang="0">
                  <a:pos x="72" y="144"/>
                </a:cxn>
                <a:cxn ang="0">
                  <a:pos x="72" y="144"/>
                </a:cxn>
                <a:cxn ang="0">
                  <a:pos x="86" y="142"/>
                </a:cxn>
                <a:cxn ang="0">
                  <a:pos x="100" y="138"/>
                </a:cxn>
                <a:cxn ang="0">
                  <a:pos x="112" y="132"/>
                </a:cxn>
                <a:cxn ang="0">
                  <a:pos x="122" y="122"/>
                </a:cxn>
                <a:cxn ang="0">
                  <a:pos x="132" y="112"/>
                </a:cxn>
                <a:cxn ang="0">
                  <a:pos x="138" y="100"/>
                </a:cxn>
                <a:cxn ang="0">
                  <a:pos x="142" y="86"/>
                </a:cxn>
                <a:cxn ang="0">
                  <a:pos x="144" y="72"/>
                </a:cxn>
                <a:cxn ang="0">
                  <a:pos x="144" y="72"/>
                </a:cxn>
                <a:cxn ang="0">
                  <a:pos x="142" y="58"/>
                </a:cxn>
                <a:cxn ang="0">
                  <a:pos x="138" y="44"/>
                </a:cxn>
                <a:cxn ang="0">
                  <a:pos x="132" y="32"/>
                </a:cxn>
                <a:cxn ang="0">
                  <a:pos x="122" y="20"/>
                </a:cxn>
                <a:cxn ang="0">
                  <a:pos x="112" y="12"/>
                </a:cxn>
                <a:cxn ang="0">
                  <a:pos x="100" y="6"/>
                </a:cxn>
                <a:cxn ang="0">
                  <a:pos x="86" y="0"/>
                </a:cxn>
                <a:cxn ang="0">
                  <a:pos x="72" y="0"/>
                </a:cxn>
              </a:cxnLst>
              <a:rect l="0" t="0" r="r" b="b"/>
              <a:pathLst>
                <a:path w="144" h="144">
                  <a:moveTo>
                    <a:pt x="72" y="0"/>
                  </a:moveTo>
                  <a:lnTo>
                    <a:pt x="72" y="0"/>
                  </a:lnTo>
                  <a:lnTo>
                    <a:pt x="56" y="0"/>
                  </a:lnTo>
                  <a:lnTo>
                    <a:pt x="44" y="6"/>
                  </a:lnTo>
                  <a:lnTo>
                    <a:pt x="32" y="12"/>
                  </a:lnTo>
                  <a:lnTo>
                    <a:pt x="20" y="20"/>
                  </a:lnTo>
                  <a:lnTo>
                    <a:pt x="12" y="32"/>
                  </a:lnTo>
                  <a:lnTo>
                    <a:pt x="6" y="44"/>
                  </a:lnTo>
                  <a:lnTo>
                    <a:pt x="0" y="58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86"/>
                  </a:lnTo>
                  <a:lnTo>
                    <a:pt x="6" y="100"/>
                  </a:lnTo>
                  <a:lnTo>
                    <a:pt x="12" y="112"/>
                  </a:lnTo>
                  <a:lnTo>
                    <a:pt x="20" y="122"/>
                  </a:lnTo>
                  <a:lnTo>
                    <a:pt x="32" y="132"/>
                  </a:lnTo>
                  <a:lnTo>
                    <a:pt x="44" y="138"/>
                  </a:lnTo>
                  <a:lnTo>
                    <a:pt x="56" y="142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86" y="142"/>
                  </a:lnTo>
                  <a:lnTo>
                    <a:pt x="100" y="138"/>
                  </a:lnTo>
                  <a:lnTo>
                    <a:pt x="112" y="132"/>
                  </a:lnTo>
                  <a:lnTo>
                    <a:pt x="122" y="122"/>
                  </a:lnTo>
                  <a:lnTo>
                    <a:pt x="132" y="112"/>
                  </a:lnTo>
                  <a:lnTo>
                    <a:pt x="138" y="100"/>
                  </a:lnTo>
                  <a:lnTo>
                    <a:pt x="142" y="86"/>
                  </a:lnTo>
                  <a:lnTo>
                    <a:pt x="144" y="72"/>
                  </a:lnTo>
                  <a:lnTo>
                    <a:pt x="144" y="72"/>
                  </a:lnTo>
                  <a:lnTo>
                    <a:pt x="142" y="58"/>
                  </a:lnTo>
                  <a:lnTo>
                    <a:pt x="138" y="44"/>
                  </a:lnTo>
                  <a:lnTo>
                    <a:pt x="132" y="32"/>
                  </a:lnTo>
                  <a:lnTo>
                    <a:pt x="122" y="20"/>
                  </a:lnTo>
                  <a:lnTo>
                    <a:pt x="112" y="12"/>
                  </a:lnTo>
                  <a:lnTo>
                    <a:pt x="100" y="6"/>
                  </a:lnTo>
                  <a:lnTo>
                    <a:pt x="86" y="0"/>
                  </a:lnTo>
                  <a:lnTo>
                    <a:pt x="72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97" name="Freeform 246"/>
            <p:cNvSpPr>
              <a:spLocks/>
            </p:cNvSpPr>
            <p:nvPr/>
          </p:nvSpPr>
          <p:spPr bwMode="auto">
            <a:xfrm>
              <a:off x="8030387" y="5430237"/>
              <a:ext cx="165124" cy="165124"/>
            </a:xfrm>
            <a:custGeom>
              <a:avLst/>
              <a:gdLst/>
              <a:ahLst/>
              <a:cxnLst>
                <a:cxn ang="0">
                  <a:pos x="72" y="0"/>
                </a:cxn>
                <a:cxn ang="0">
                  <a:pos x="72" y="0"/>
                </a:cxn>
                <a:cxn ang="0">
                  <a:pos x="58" y="2"/>
                </a:cxn>
                <a:cxn ang="0">
                  <a:pos x="44" y="6"/>
                </a:cxn>
                <a:cxn ang="0">
                  <a:pos x="32" y="12"/>
                </a:cxn>
                <a:cxn ang="0">
                  <a:pos x="22" y="22"/>
                </a:cxn>
                <a:cxn ang="0">
                  <a:pos x="12" y="32"/>
                </a:cxn>
                <a:cxn ang="0">
                  <a:pos x="6" y="44"/>
                </a:cxn>
                <a:cxn ang="0">
                  <a:pos x="2" y="58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2" y="88"/>
                </a:cxn>
                <a:cxn ang="0">
                  <a:pos x="6" y="100"/>
                </a:cxn>
                <a:cxn ang="0">
                  <a:pos x="12" y="114"/>
                </a:cxn>
                <a:cxn ang="0">
                  <a:pos x="22" y="124"/>
                </a:cxn>
                <a:cxn ang="0">
                  <a:pos x="32" y="132"/>
                </a:cxn>
                <a:cxn ang="0">
                  <a:pos x="44" y="140"/>
                </a:cxn>
                <a:cxn ang="0">
                  <a:pos x="58" y="144"/>
                </a:cxn>
                <a:cxn ang="0">
                  <a:pos x="72" y="144"/>
                </a:cxn>
                <a:cxn ang="0">
                  <a:pos x="72" y="144"/>
                </a:cxn>
                <a:cxn ang="0">
                  <a:pos x="86" y="144"/>
                </a:cxn>
                <a:cxn ang="0">
                  <a:pos x="100" y="140"/>
                </a:cxn>
                <a:cxn ang="0">
                  <a:pos x="112" y="132"/>
                </a:cxn>
                <a:cxn ang="0">
                  <a:pos x="124" y="124"/>
                </a:cxn>
                <a:cxn ang="0">
                  <a:pos x="132" y="114"/>
                </a:cxn>
                <a:cxn ang="0">
                  <a:pos x="138" y="100"/>
                </a:cxn>
                <a:cxn ang="0">
                  <a:pos x="142" y="88"/>
                </a:cxn>
                <a:cxn ang="0">
                  <a:pos x="144" y="72"/>
                </a:cxn>
                <a:cxn ang="0">
                  <a:pos x="144" y="72"/>
                </a:cxn>
                <a:cxn ang="0">
                  <a:pos x="142" y="58"/>
                </a:cxn>
                <a:cxn ang="0">
                  <a:pos x="138" y="44"/>
                </a:cxn>
                <a:cxn ang="0">
                  <a:pos x="132" y="32"/>
                </a:cxn>
                <a:cxn ang="0">
                  <a:pos x="124" y="22"/>
                </a:cxn>
                <a:cxn ang="0">
                  <a:pos x="112" y="12"/>
                </a:cxn>
                <a:cxn ang="0">
                  <a:pos x="100" y="6"/>
                </a:cxn>
                <a:cxn ang="0">
                  <a:pos x="86" y="2"/>
                </a:cxn>
                <a:cxn ang="0">
                  <a:pos x="72" y="0"/>
                </a:cxn>
              </a:cxnLst>
              <a:rect l="0" t="0" r="r" b="b"/>
              <a:pathLst>
                <a:path w="144" h="144">
                  <a:moveTo>
                    <a:pt x="72" y="0"/>
                  </a:moveTo>
                  <a:lnTo>
                    <a:pt x="72" y="0"/>
                  </a:lnTo>
                  <a:lnTo>
                    <a:pt x="58" y="2"/>
                  </a:lnTo>
                  <a:lnTo>
                    <a:pt x="44" y="6"/>
                  </a:lnTo>
                  <a:lnTo>
                    <a:pt x="32" y="12"/>
                  </a:lnTo>
                  <a:lnTo>
                    <a:pt x="22" y="22"/>
                  </a:lnTo>
                  <a:lnTo>
                    <a:pt x="12" y="32"/>
                  </a:lnTo>
                  <a:lnTo>
                    <a:pt x="6" y="44"/>
                  </a:lnTo>
                  <a:lnTo>
                    <a:pt x="2" y="58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2" y="88"/>
                  </a:lnTo>
                  <a:lnTo>
                    <a:pt x="6" y="100"/>
                  </a:lnTo>
                  <a:lnTo>
                    <a:pt x="12" y="114"/>
                  </a:lnTo>
                  <a:lnTo>
                    <a:pt x="22" y="124"/>
                  </a:lnTo>
                  <a:lnTo>
                    <a:pt x="32" y="132"/>
                  </a:lnTo>
                  <a:lnTo>
                    <a:pt x="44" y="140"/>
                  </a:lnTo>
                  <a:lnTo>
                    <a:pt x="58" y="144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86" y="144"/>
                  </a:lnTo>
                  <a:lnTo>
                    <a:pt x="100" y="140"/>
                  </a:lnTo>
                  <a:lnTo>
                    <a:pt x="112" y="132"/>
                  </a:lnTo>
                  <a:lnTo>
                    <a:pt x="124" y="124"/>
                  </a:lnTo>
                  <a:lnTo>
                    <a:pt x="132" y="114"/>
                  </a:lnTo>
                  <a:lnTo>
                    <a:pt x="138" y="100"/>
                  </a:lnTo>
                  <a:lnTo>
                    <a:pt x="142" y="88"/>
                  </a:lnTo>
                  <a:lnTo>
                    <a:pt x="144" y="72"/>
                  </a:lnTo>
                  <a:lnTo>
                    <a:pt x="144" y="72"/>
                  </a:lnTo>
                  <a:lnTo>
                    <a:pt x="142" y="58"/>
                  </a:lnTo>
                  <a:lnTo>
                    <a:pt x="138" y="44"/>
                  </a:lnTo>
                  <a:lnTo>
                    <a:pt x="132" y="32"/>
                  </a:lnTo>
                  <a:lnTo>
                    <a:pt x="124" y="22"/>
                  </a:lnTo>
                  <a:lnTo>
                    <a:pt x="112" y="12"/>
                  </a:lnTo>
                  <a:lnTo>
                    <a:pt x="100" y="6"/>
                  </a:lnTo>
                  <a:lnTo>
                    <a:pt x="86" y="2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98" name="Freeform 247"/>
            <p:cNvSpPr>
              <a:spLocks/>
            </p:cNvSpPr>
            <p:nvPr/>
          </p:nvSpPr>
          <p:spPr bwMode="auto">
            <a:xfrm>
              <a:off x="8030387" y="5430237"/>
              <a:ext cx="165124" cy="165124"/>
            </a:xfrm>
            <a:custGeom>
              <a:avLst/>
              <a:gdLst/>
              <a:ahLst/>
              <a:cxnLst>
                <a:cxn ang="0">
                  <a:pos x="72" y="0"/>
                </a:cxn>
                <a:cxn ang="0">
                  <a:pos x="72" y="0"/>
                </a:cxn>
                <a:cxn ang="0">
                  <a:pos x="58" y="2"/>
                </a:cxn>
                <a:cxn ang="0">
                  <a:pos x="44" y="6"/>
                </a:cxn>
                <a:cxn ang="0">
                  <a:pos x="32" y="12"/>
                </a:cxn>
                <a:cxn ang="0">
                  <a:pos x="22" y="22"/>
                </a:cxn>
                <a:cxn ang="0">
                  <a:pos x="12" y="32"/>
                </a:cxn>
                <a:cxn ang="0">
                  <a:pos x="6" y="44"/>
                </a:cxn>
                <a:cxn ang="0">
                  <a:pos x="2" y="58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2" y="88"/>
                </a:cxn>
                <a:cxn ang="0">
                  <a:pos x="6" y="100"/>
                </a:cxn>
                <a:cxn ang="0">
                  <a:pos x="12" y="114"/>
                </a:cxn>
                <a:cxn ang="0">
                  <a:pos x="22" y="124"/>
                </a:cxn>
                <a:cxn ang="0">
                  <a:pos x="32" y="132"/>
                </a:cxn>
                <a:cxn ang="0">
                  <a:pos x="44" y="140"/>
                </a:cxn>
                <a:cxn ang="0">
                  <a:pos x="58" y="144"/>
                </a:cxn>
                <a:cxn ang="0">
                  <a:pos x="72" y="144"/>
                </a:cxn>
                <a:cxn ang="0">
                  <a:pos x="72" y="144"/>
                </a:cxn>
                <a:cxn ang="0">
                  <a:pos x="86" y="144"/>
                </a:cxn>
                <a:cxn ang="0">
                  <a:pos x="100" y="140"/>
                </a:cxn>
                <a:cxn ang="0">
                  <a:pos x="112" y="132"/>
                </a:cxn>
                <a:cxn ang="0">
                  <a:pos x="124" y="124"/>
                </a:cxn>
                <a:cxn ang="0">
                  <a:pos x="132" y="114"/>
                </a:cxn>
                <a:cxn ang="0">
                  <a:pos x="138" y="100"/>
                </a:cxn>
                <a:cxn ang="0">
                  <a:pos x="142" y="88"/>
                </a:cxn>
                <a:cxn ang="0">
                  <a:pos x="144" y="72"/>
                </a:cxn>
                <a:cxn ang="0">
                  <a:pos x="144" y="72"/>
                </a:cxn>
                <a:cxn ang="0">
                  <a:pos x="142" y="58"/>
                </a:cxn>
                <a:cxn ang="0">
                  <a:pos x="138" y="44"/>
                </a:cxn>
                <a:cxn ang="0">
                  <a:pos x="132" y="32"/>
                </a:cxn>
                <a:cxn ang="0">
                  <a:pos x="124" y="22"/>
                </a:cxn>
                <a:cxn ang="0">
                  <a:pos x="112" y="12"/>
                </a:cxn>
                <a:cxn ang="0">
                  <a:pos x="100" y="6"/>
                </a:cxn>
                <a:cxn ang="0">
                  <a:pos x="86" y="2"/>
                </a:cxn>
                <a:cxn ang="0">
                  <a:pos x="72" y="0"/>
                </a:cxn>
              </a:cxnLst>
              <a:rect l="0" t="0" r="r" b="b"/>
              <a:pathLst>
                <a:path w="144" h="144">
                  <a:moveTo>
                    <a:pt x="72" y="0"/>
                  </a:moveTo>
                  <a:lnTo>
                    <a:pt x="72" y="0"/>
                  </a:lnTo>
                  <a:lnTo>
                    <a:pt x="58" y="2"/>
                  </a:lnTo>
                  <a:lnTo>
                    <a:pt x="44" y="6"/>
                  </a:lnTo>
                  <a:lnTo>
                    <a:pt x="32" y="12"/>
                  </a:lnTo>
                  <a:lnTo>
                    <a:pt x="22" y="22"/>
                  </a:lnTo>
                  <a:lnTo>
                    <a:pt x="12" y="32"/>
                  </a:lnTo>
                  <a:lnTo>
                    <a:pt x="6" y="44"/>
                  </a:lnTo>
                  <a:lnTo>
                    <a:pt x="2" y="58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2" y="88"/>
                  </a:lnTo>
                  <a:lnTo>
                    <a:pt x="6" y="100"/>
                  </a:lnTo>
                  <a:lnTo>
                    <a:pt x="12" y="114"/>
                  </a:lnTo>
                  <a:lnTo>
                    <a:pt x="22" y="124"/>
                  </a:lnTo>
                  <a:lnTo>
                    <a:pt x="32" y="132"/>
                  </a:lnTo>
                  <a:lnTo>
                    <a:pt x="44" y="140"/>
                  </a:lnTo>
                  <a:lnTo>
                    <a:pt x="58" y="144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86" y="144"/>
                  </a:lnTo>
                  <a:lnTo>
                    <a:pt x="100" y="140"/>
                  </a:lnTo>
                  <a:lnTo>
                    <a:pt x="112" y="132"/>
                  </a:lnTo>
                  <a:lnTo>
                    <a:pt x="124" y="124"/>
                  </a:lnTo>
                  <a:lnTo>
                    <a:pt x="132" y="114"/>
                  </a:lnTo>
                  <a:lnTo>
                    <a:pt x="138" y="100"/>
                  </a:lnTo>
                  <a:lnTo>
                    <a:pt x="142" y="88"/>
                  </a:lnTo>
                  <a:lnTo>
                    <a:pt x="144" y="72"/>
                  </a:lnTo>
                  <a:lnTo>
                    <a:pt x="144" y="72"/>
                  </a:lnTo>
                  <a:lnTo>
                    <a:pt x="142" y="58"/>
                  </a:lnTo>
                  <a:lnTo>
                    <a:pt x="138" y="44"/>
                  </a:lnTo>
                  <a:lnTo>
                    <a:pt x="132" y="32"/>
                  </a:lnTo>
                  <a:lnTo>
                    <a:pt x="124" y="22"/>
                  </a:lnTo>
                  <a:lnTo>
                    <a:pt x="112" y="12"/>
                  </a:lnTo>
                  <a:lnTo>
                    <a:pt x="100" y="6"/>
                  </a:lnTo>
                  <a:lnTo>
                    <a:pt x="86" y="2"/>
                  </a:lnTo>
                  <a:lnTo>
                    <a:pt x="72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499" name="Freeform 248"/>
            <p:cNvSpPr>
              <a:spLocks/>
            </p:cNvSpPr>
            <p:nvPr/>
          </p:nvSpPr>
          <p:spPr bwMode="auto">
            <a:xfrm>
              <a:off x="7324021" y="6420983"/>
              <a:ext cx="73389" cy="73389"/>
            </a:xfrm>
            <a:custGeom>
              <a:avLst/>
              <a:gdLst/>
              <a:ahLst/>
              <a:cxnLst>
                <a:cxn ang="0">
                  <a:pos x="32" y="0"/>
                </a:cxn>
                <a:cxn ang="0">
                  <a:pos x="32" y="0"/>
                </a:cxn>
                <a:cxn ang="0">
                  <a:pos x="24" y="0"/>
                </a:cxn>
                <a:cxn ang="0">
                  <a:pos x="18" y="2"/>
                </a:cxn>
                <a:cxn ang="0">
                  <a:pos x="8" y="8"/>
                </a:cxn>
                <a:cxn ang="0">
                  <a:pos x="2" y="20"/>
                </a:cxn>
                <a:cxn ang="0">
                  <a:pos x="0" y="26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0" y="38"/>
                </a:cxn>
                <a:cxn ang="0">
                  <a:pos x="2" y="44"/>
                </a:cxn>
                <a:cxn ang="0">
                  <a:pos x="8" y="54"/>
                </a:cxn>
                <a:cxn ang="0">
                  <a:pos x="18" y="60"/>
                </a:cxn>
                <a:cxn ang="0">
                  <a:pos x="24" y="62"/>
                </a:cxn>
                <a:cxn ang="0">
                  <a:pos x="32" y="64"/>
                </a:cxn>
                <a:cxn ang="0">
                  <a:pos x="32" y="64"/>
                </a:cxn>
                <a:cxn ang="0">
                  <a:pos x="38" y="62"/>
                </a:cxn>
                <a:cxn ang="0">
                  <a:pos x="44" y="60"/>
                </a:cxn>
                <a:cxn ang="0">
                  <a:pos x="54" y="54"/>
                </a:cxn>
                <a:cxn ang="0">
                  <a:pos x="60" y="44"/>
                </a:cxn>
                <a:cxn ang="0">
                  <a:pos x="62" y="38"/>
                </a:cxn>
                <a:cxn ang="0">
                  <a:pos x="64" y="32"/>
                </a:cxn>
                <a:cxn ang="0">
                  <a:pos x="64" y="32"/>
                </a:cxn>
                <a:cxn ang="0">
                  <a:pos x="62" y="26"/>
                </a:cxn>
                <a:cxn ang="0">
                  <a:pos x="60" y="20"/>
                </a:cxn>
                <a:cxn ang="0">
                  <a:pos x="54" y="8"/>
                </a:cxn>
                <a:cxn ang="0">
                  <a:pos x="44" y="2"/>
                </a:cxn>
                <a:cxn ang="0">
                  <a:pos x="38" y="0"/>
                </a:cxn>
                <a:cxn ang="0">
                  <a:pos x="32" y="0"/>
                </a:cxn>
              </a:cxnLst>
              <a:rect l="0" t="0" r="r" b="b"/>
              <a:pathLst>
                <a:path w="64" h="64">
                  <a:moveTo>
                    <a:pt x="32" y="0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20"/>
                  </a:lnTo>
                  <a:lnTo>
                    <a:pt x="0" y="2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8"/>
                  </a:lnTo>
                  <a:lnTo>
                    <a:pt x="2" y="44"/>
                  </a:lnTo>
                  <a:lnTo>
                    <a:pt x="8" y="54"/>
                  </a:lnTo>
                  <a:lnTo>
                    <a:pt x="18" y="60"/>
                  </a:lnTo>
                  <a:lnTo>
                    <a:pt x="24" y="62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8" y="62"/>
                  </a:lnTo>
                  <a:lnTo>
                    <a:pt x="44" y="60"/>
                  </a:lnTo>
                  <a:lnTo>
                    <a:pt x="54" y="54"/>
                  </a:lnTo>
                  <a:lnTo>
                    <a:pt x="60" y="44"/>
                  </a:lnTo>
                  <a:lnTo>
                    <a:pt x="62" y="3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2" y="26"/>
                  </a:lnTo>
                  <a:lnTo>
                    <a:pt x="60" y="20"/>
                  </a:lnTo>
                  <a:lnTo>
                    <a:pt x="54" y="8"/>
                  </a:lnTo>
                  <a:lnTo>
                    <a:pt x="44" y="2"/>
                  </a:lnTo>
                  <a:lnTo>
                    <a:pt x="38" y="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500" name="Freeform 249"/>
            <p:cNvSpPr>
              <a:spLocks/>
            </p:cNvSpPr>
            <p:nvPr/>
          </p:nvSpPr>
          <p:spPr bwMode="auto">
            <a:xfrm>
              <a:off x="7324021" y="6420983"/>
              <a:ext cx="73389" cy="73389"/>
            </a:xfrm>
            <a:custGeom>
              <a:avLst/>
              <a:gdLst/>
              <a:ahLst/>
              <a:cxnLst>
                <a:cxn ang="0">
                  <a:pos x="32" y="0"/>
                </a:cxn>
                <a:cxn ang="0">
                  <a:pos x="32" y="0"/>
                </a:cxn>
                <a:cxn ang="0">
                  <a:pos x="24" y="0"/>
                </a:cxn>
                <a:cxn ang="0">
                  <a:pos x="18" y="2"/>
                </a:cxn>
                <a:cxn ang="0">
                  <a:pos x="8" y="8"/>
                </a:cxn>
                <a:cxn ang="0">
                  <a:pos x="2" y="20"/>
                </a:cxn>
                <a:cxn ang="0">
                  <a:pos x="0" y="26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0" y="38"/>
                </a:cxn>
                <a:cxn ang="0">
                  <a:pos x="2" y="44"/>
                </a:cxn>
                <a:cxn ang="0">
                  <a:pos x="8" y="54"/>
                </a:cxn>
                <a:cxn ang="0">
                  <a:pos x="18" y="60"/>
                </a:cxn>
                <a:cxn ang="0">
                  <a:pos x="24" y="62"/>
                </a:cxn>
                <a:cxn ang="0">
                  <a:pos x="32" y="64"/>
                </a:cxn>
                <a:cxn ang="0">
                  <a:pos x="32" y="64"/>
                </a:cxn>
                <a:cxn ang="0">
                  <a:pos x="38" y="62"/>
                </a:cxn>
                <a:cxn ang="0">
                  <a:pos x="44" y="60"/>
                </a:cxn>
                <a:cxn ang="0">
                  <a:pos x="54" y="54"/>
                </a:cxn>
                <a:cxn ang="0">
                  <a:pos x="60" y="44"/>
                </a:cxn>
                <a:cxn ang="0">
                  <a:pos x="62" y="38"/>
                </a:cxn>
                <a:cxn ang="0">
                  <a:pos x="64" y="32"/>
                </a:cxn>
                <a:cxn ang="0">
                  <a:pos x="64" y="32"/>
                </a:cxn>
                <a:cxn ang="0">
                  <a:pos x="62" y="26"/>
                </a:cxn>
                <a:cxn ang="0">
                  <a:pos x="60" y="20"/>
                </a:cxn>
                <a:cxn ang="0">
                  <a:pos x="54" y="8"/>
                </a:cxn>
                <a:cxn ang="0">
                  <a:pos x="44" y="2"/>
                </a:cxn>
                <a:cxn ang="0">
                  <a:pos x="38" y="0"/>
                </a:cxn>
                <a:cxn ang="0">
                  <a:pos x="32" y="0"/>
                </a:cxn>
              </a:cxnLst>
              <a:rect l="0" t="0" r="r" b="b"/>
              <a:pathLst>
                <a:path w="64" h="64">
                  <a:moveTo>
                    <a:pt x="32" y="0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20"/>
                  </a:lnTo>
                  <a:lnTo>
                    <a:pt x="0" y="2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8"/>
                  </a:lnTo>
                  <a:lnTo>
                    <a:pt x="2" y="44"/>
                  </a:lnTo>
                  <a:lnTo>
                    <a:pt x="8" y="54"/>
                  </a:lnTo>
                  <a:lnTo>
                    <a:pt x="18" y="60"/>
                  </a:lnTo>
                  <a:lnTo>
                    <a:pt x="24" y="62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8" y="62"/>
                  </a:lnTo>
                  <a:lnTo>
                    <a:pt x="44" y="60"/>
                  </a:lnTo>
                  <a:lnTo>
                    <a:pt x="54" y="54"/>
                  </a:lnTo>
                  <a:lnTo>
                    <a:pt x="60" y="44"/>
                  </a:lnTo>
                  <a:lnTo>
                    <a:pt x="62" y="3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2" y="26"/>
                  </a:lnTo>
                  <a:lnTo>
                    <a:pt x="60" y="20"/>
                  </a:lnTo>
                  <a:lnTo>
                    <a:pt x="54" y="8"/>
                  </a:lnTo>
                  <a:lnTo>
                    <a:pt x="44" y="2"/>
                  </a:lnTo>
                  <a:lnTo>
                    <a:pt x="38" y="0"/>
                  </a:lnTo>
                  <a:lnTo>
                    <a:pt x="32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501" name="Freeform 251"/>
            <p:cNvSpPr>
              <a:spLocks/>
            </p:cNvSpPr>
            <p:nvPr/>
          </p:nvSpPr>
          <p:spPr bwMode="auto">
            <a:xfrm>
              <a:off x="6945612" y="5102282"/>
              <a:ext cx="382997" cy="385290"/>
            </a:xfrm>
            <a:custGeom>
              <a:avLst/>
              <a:gdLst/>
              <a:ahLst/>
              <a:cxnLst>
                <a:cxn ang="0">
                  <a:pos x="166" y="0"/>
                </a:cxn>
                <a:cxn ang="0">
                  <a:pos x="134" y="4"/>
                </a:cxn>
                <a:cxn ang="0">
                  <a:pos x="102" y="14"/>
                </a:cxn>
                <a:cxn ang="0">
                  <a:pos x="74" y="28"/>
                </a:cxn>
                <a:cxn ang="0">
                  <a:pos x="48" y="50"/>
                </a:cxn>
                <a:cxn ang="0">
                  <a:pos x="28" y="74"/>
                </a:cxn>
                <a:cxn ang="0">
                  <a:pos x="12" y="102"/>
                </a:cxn>
                <a:cxn ang="0">
                  <a:pos x="2" y="134"/>
                </a:cxn>
                <a:cxn ang="0">
                  <a:pos x="0" y="168"/>
                </a:cxn>
                <a:cxn ang="0">
                  <a:pos x="0" y="184"/>
                </a:cxn>
                <a:cxn ang="0">
                  <a:pos x="6" y="218"/>
                </a:cxn>
                <a:cxn ang="0">
                  <a:pos x="20" y="248"/>
                </a:cxn>
                <a:cxn ang="0">
                  <a:pos x="38" y="274"/>
                </a:cxn>
                <a:cxn ang="0">
                  <a:pos x="60" y="296"/>
                </a:cxn>
                <a:cxn ang="0">
                  <a:pos x="86" y="314"/>
                </a:cxn>
                <a:cxn ang="0">
                  <a:pos x="118" y="328"/>
                </a:cxn>
                <a:cxn ang="0">
                  <a:pos x="150" y="334"/>
                </a:cxn>
                <a:cxn ang="0">
                  <a:pos x="166" y="336"/>
                </a:cxn>
                <a:cxn ang="0">
                  <a:pos x="200" y="332"/>
                </a:cxn>
                <a:cxn ang="0">
                  <a:pos x="232" y="322"/>
                </a:cxn>
                <a:cxn ang="0">
                  <a:pos x="260" y="306"/>
                </a:cxn>
                <a:cxn ang="0">
                  <a:pos x="286" y="286"/>
                </a:cxn>
                <a:cxn ang="0">
                  <a:pos x="306" y="262"/>
                </a:cxn>
                <a:cxn ang="0">
                  <a:pos x="322" y="232"/>
                </a:cxn>
                <a:cxn ang="0">
                  <a:pos x="332" y="202"/>
                </a:cxn>
                <a:cxn ang="0">
                  <a:pos x="334" y="168"/>
                </a:cxn>
                <a:cxn ang="0">
                  <a:pos x="334" y="150"/>
                </a:cxn>
                <a:cxn ang="0">
                  <a:pos x="328" y="118"/>
                </a:cxn>
                <a:cxn ang="0">
                  <a:pos x="314" y="88"/>
                </a:cxn>
                <a:cxn ang="0">
                  <a:pos x="296" y="60"/>
                </a:cxn>
                <a:cxn ang="0">
                  <a:pos x="274" y="38"/>
                </a:cxn>
                <a:cxn ang="0">
                  <a:pos x="246" y="20"/>
                </a:cxn>
                <a:cxn ang="0">
                  <a:pos x="216" y="8"/>
                </a:cxn>
                <a:cxn ang="0">
                  <a:pos x="184" y="0"/>
                </a:cxn>
              </a:cxnLst>
              <a:rect l="0" t="0" r="r" b="b"/>
              <a:pathLst>
                <a:path w="334" h="336">
                  <a:moveTo>
                    <a:pt x="166" y="0"/>
                  </a:moveTo>
                  <a:lnTo>
                    <a:pt x="166" y="0"/>
                  </a:lnTo>
                  <a:lnTo>
                    <a:pt x="150" y="0"/>
                  </a:lnTo>
                  <a:lnTo>
                    <a:pt x="134" y="4"/>
                  </a:lnTo>
                  <a:lnTo>
                    <a:pt x="118" y="8"/>
                  </a:lnTo>
                  <a:lnTo>
                    <a:pt x="102" y="14"/>
                  </a:lnTo>
                  <a:lnTo>
                    <a:pt x="86" y="20"/>
                  </a:lnTo>
                  <a:lnTo>
                    <a:pt x="74" y="28"/>
                  </a:lnTo>
                  <a:lnTo>
                    <a:pt x="60" y="38"/>
                  </a:lnTo>
                  <a:lnTo>
                    <a:pt x="48" y="50"/>
                  </a:lnTo>
                  <a:lnTo>
                    <a:pt x="38" y="60"/>
                  </a:lnTo>
                  <a:lnTo>
                    <a:pt x="28" y="74"/>
                  </a:lnTo>
                  <a:lnTo>
                    <a:pt x="20" y="88"/>
                  </a:lnTo>
                  <a:lnTo>
                    <a:pt x="12" y="102"/>
                  </a:lnTo>
                  <a:lnTo>
                    <a:pt x="6" y="118"/>
                  </a:lnTo>
                  <a:lnTo>
                    <a:pt x="2" y="13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0" y="168"/>
                  </a:lnTo>
                  <a:lnTo>
                    <a:pt x="0" y="184"/>
                  </a:lnTo>
                  <a:lnTo>
                    <a:pt x="2" y="202"/>
                  </a:lnTo>
                  <a:lnTo>
                    <a:pt x="6" y="218"/>
                  </a:lnTo>
                  <a:lnTo>
                    <a:pt x="12" y="232"/>
                  </a:lnTo>
                  <a:lnTo>
                    <a:pt x="20" y="248"/>
                  </a:lnTo>
                  <a:lnTo>
                    <a:pt x="28" y="262"/>
                  </a:lnTo>
                  <a:lnTo>
                    <a:pt x="38" y="274"/>
                  </a:lnTo>
                  <a:lnTo>
                    <a:pt x="48" y="286"/>
                  </a:lnTo>
                  <a:lnTo>
                    <a:pt x="60" y="296"/>
                  </a:lnTo>
                  <a:lnTo>
                    <a:pt x="74" y="306"/>
                  </a:lnTo>
                  <a:lnTo>
                    <a:pt x="86" y="314"/>
                  </a:lnTo>
                  <a:lnTo>
                    <a:pt x="102" y="322"/>
                  </a:lnTo>
                  <a:lnTo>
                    <a:pt x="118" y="328"/>
                  </a:lnTo>
                  <a:lnTo>
                    <a:pt x="134" y="332"/>
                  </a:lnTo>
                  <a:lnTo>
                    <a:pt x="150" y="334"/>
                  </a:lnTo>
                  <a:lnTo>
                    <a:pt x="166" y="336"/>
                  </a:lnTo>
                  <a:lnTo>
                    <a:pt x="166" y="336"/>
                  </a:lnTo>
                  <a:lnTo>
                    <a:pt x="184" y="334"/>
                  </a:lnTo>
                  <a:lnTo>
                    <a:pt x="200" y="332"/>
                  </a:lnTo>
                  <a:lnTo>
                    <a:pt x="216" y="328"/>
                  </a:lnTo>
                  <a:lnTo>
                    <a:pt x="232" y="322"/>
                  </a:lnTo>
                  <a:lnTo>
                    <a:pt x="246" y="314"/>
                  </a:lnTo>
                  <a:lnTo>
                    <a:pt x="260" y="306"/>
                  </a:lnTo>
                  <a:lnTo>
                    <a:pt x="274" y="296"/>
                  </a:lnTo>
                  <a:lnTo>
                    <a:pt x="286" y="286"/>
                  </a:lnTo>
                  <a:lnTo>
                    <a:pt x="296" y="274"/>
                  </a:lnTo>
                  <a:lnTo>
                    <a:pt x="306" y="262"/>
                  </a:lnTo>
                  <a:lnTo>
                    <a:pt x="314" y="248"/>
                  </a:lnTo>
                  <a:lnTo>
                    <a:pt x="322" y="232"/>
                  </a:lnTo>
                  <a:lnTo>
                    <a:pt x="328" y="218"/>
                  </a:lnTo>
                  <a:lnTo>
                    <a:pt x="332" y="202"/>
                  </a:lnTo>
                  <a:lnTo>
                    <a:pt x="334" y="184"/>
                  </a:lnTo>
                  <a:lnTo>
                    <a:pt x="334" y="168"/>
                  </a:lnTo>
                  <a:lnTo>
                    <a:pt x="334" y="168"/>
                  </a:lnTo>
                  <a:lnTo>
                    <a:pt x="334" y="150"/>
                  </a:lnTo>
                  <a:lnTo>
                    <a:pt x="332" y="134"/>
                  </a:lnTo>
                  <a:lnTo>
                    <a:pt x="328" y="118"/>
                  </a:lnTo>
                  <a:lnTo>
                    <a:pt x="322" y="102"/>
                  </a:lnTo>
                  <a:lnTo>
                    <a:pt x="314" y="88"/>
                  </a:lnTo>
                  <a:lnTo>
                    <a:pt x="306" y="74"/>
                  </a:lnTo>
                  <a:lnTo>
                    <a:pt x="296" y="60"/>
                  </a:lnTo>
                  <a:lnTo>
                    <a:pt x="286" y="50"/>
                  </a:lnTo>
                  <a:lnTo>
                    <a:pt x="274" y="38"/>
                  </a:lnTo>
                  <a:lnTo>
                    <a:pt x="260" y="28"/>
                  </a:lnTo>
                  <a:lnTo>
                    <a:pt x="246" y="20"/>
                  </a:lnTo>
                  <a:lnTo>
                    <a:pt x="232" y="14"/>
                  </a:lnTo>
                  <a:lnTo>
                    <a:pt x="216" y="8"/>
                  </a:lnTo>
                  <a:lnTo>
                    <a:pt x="200" y="4"/>
                  </a:lnTo>
                  <a:lnTo>
                    <a:pt x="184" y="0"/>
                  </a:lnTo>
                  <a:lnTo>
                    <a:pt x="166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502" name="Freeform 252"/>
            <p:cNvSpPr>
              <a:spLocks/>
            </p:cNvSpPr>
            <p:nvPr/>
          </p:nvSpPr>
          <p:spPr bwMode="auto">
            <a:xfrm>
              <a:off x="7736832" y="5826994"/>
              <a:ext cx="167418" cy="165124"/>
            </a:xfrm>
            <a:custGeom>
              <a:avLst/>
              <a:gdLst/>
              <a:ahLst/>
              <a:cxnLst>
                <a:cxn ang="0">
                  <a:pos x="72" y="0"/>
                </a:cxn>
                <a:cxn ang="0">
                  <a:pos x="72" y="0"/>
                </a:cxn>
                <a:cxn ang="0">
                  <a:pos x="58" y="0"/>
                </a:cxn>
                <a:cxn ang="0">
                  <a:pos x="44" y="4"/>
                </a:cxn>
                <a:cxn ang="0">
                  <a:pos x="32" y="12"/>
                </a:cxn>
                <a:cxn ang="0">
                  <a:pos x="22" y="20"/>
                </a:cxn>
                <a:cxn ang="0">
                  <a:pos x="12" y="32"/>
                </a:cxn>
                <a:cxn ang="0">
                  <a:pos x="6" y="44"/>
                </a:cxn>
                <a:cxn ang="0">
                  <a:pos x="2" y="58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2" y="86"/>
                </a:cxn>
                <a:cxn ang="0">
                  <a:pos x="6" y="100"/>
                </a:cxn>
                <a:cxn ang="0">
                  <a:pos x="12" y="112"/>
                </a:cxn>
                <a:cxn ang="0">
                  <a:pos x="22" y="124"/>
                </a:cxn>
                <a:cxn ang="0">
                  <a:pos x="32" y="132"/>
                </a:cxn>
                <a:cxn ang="0">
                  <a:pos x="44" y="138"/>
                </a:cxn>
                <a:cxn ang="0">
                  <a:pos x="58" y="142"/>
                </a:cxn>
                <a:cxn ang="0">
                  <a:pos x="72" y="144"/>
                </a:cxn>
                <a:cxn ang="0">
                  <a:pos x="72" y="144"/>
                </a:cxn>
                <a:cxn ang="0">
                  <a:pos x="88" y="142"/>
                </a:cxn>
                <a:cxn ang="0">
                  <a:pos x="100" y="138"/>
                </a:cxn>
                <a:cxn ang="0">
                  <a:pos x="114" y="132"/>
                </a:cxn>
                <a:cxn ang="0">
                  <a:pos x="124" y="124"/>
                </a:cxn>
                <a:cxn ang="0">
                  <a:pos x="132" y="112"/>
                </a:cxn>
                <a:cxn ang="0">
                  <a:pos x="140" y="100"/>
                </a:cxn>
                <a:cxn ang="0">
                  <a:pos x="144" y="86"/>
                </a:cxn>
                <a:cxn ang="0">
                  <a:pos x="146" y="72"/>
                </a:cxn>
                <a:cxn ang="0">
                  <a:pos x="146" y="72"/>
                </a:cxn>
                <a:cxn ang="0">
                  <a:pos x="144" y="58"/>
                </a:cxn>
                <a:cxn ang="0">
                  <a:pos x="140" y="44"/>
                </a:cxn>
                <a:cxn ang="0">
                  <a:pos x="132" y="32"/>
                </a:cxn>
                <a:cxn ang="0">
                  <a:pos x="124" y="20"/>
                </a:cxn>
                <a:cxn ang="0">
                  <a:pos x="114" y="12"/>
                </a:cxn>
                <a:cxn ang="0">
                  <a:pos x="100" y="4"/>
                </a:cxn>
                <a:cxn ang="0">
                  <a:pos x="88" y="0"/>
                </a:cxn>
                <a:cxn ang="0">
                  <a:pos x="72" y="0"/>
                </a:cxn>
              </a:cxnLst>
              <a:rect l="0" t="0" r="r" b="b"/>
              <a:pathLst>
                <a:path w="146" h="144">
                  <a:moveTo>
                    <a:pt x="72" y="0"/>
                  </a:moveTo>
                  <a:lnTo>
                    <a:pt x="72" y="0"/>
                  </a:lnTo>
                  <a:lnTo>
                    <a:pt x="58" y="0"/>
                  </a:lnTo>
                  <a:lnTo>
                    <a:pt x="44" y="4"/>
                  </a:lnTo>
                  <a:lnTo>
                    <a:pt x="32" y="12"/>
                  </a:lnTo>
                  <a:lnTo>
                    <a:pt x="22" y="20"/>
                  </a:lnTo>
                  <a:lnTo>
                    <a:pt x="12" y="32"/>
                  </a:lnTo>
                  <a:lnTo>
                    <a:pt x="6" y="44"/>
                  </a:lnTo>
                  <a:lnTo>
                    <a:pt x="2" y="58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2" y="86"/>
                  </a:lnTo>
                  <a:lnTo>
                    <a:pt x="6" y="100"/>
                  </a:lnTo>
                  <a:lnTo>
                    <a:pt x="12" y="112"/>
                  </a:lnTo>
                  <a:lnTo>
                    <a:pt x="22" y="124"/>
                  </a:lnTo>
                  <a:lnTo>
                    <a:pt x="32" y="132"/>
                  </a:lnTo>
                  <a:lnTo>
                    <a:pt x="44" y="138"/>
                  </a:lnTo>
                  <a:lnTo>
                    <a:pt x="58" y="142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88" y="142"/>
                  </a:lnTo>
                  <a:lnTo>
                    <a:pt x="100" y="138"/>
                  </a:lnTo>
                  <a:lnTo>
                    <a:pt x="114" y="132"/>
                  </a:lnTo>
                  <a:lnTo>
                    <a:pt x="124" y="124"/>
                  </a:lnTo>
                  <a:lnTo>
                    <a:pt x="132" y="112"/>
                  </a:lnTo>
                  <a:lnTo>
                    <a:pt x="140" y="100"/>
                  </a:lnTo>
                  <a:lnTo>
                    <a:pt x="144" y="86"/>
                  </a:lnTo>
                  <a:lnTo>
                    <a:pt x="146" y="72"/>
                  </a:lnTo>
                  <a:lnTo>
                    <a:pt x="146" y="72"/>
                  </a:lnTo>
                  <a:lnTo>
                    <a:pt x="144" y="58"/>
                  </a:lnTo>
                  <a:lnTo>
                    <a:pt x="140" y="44"/>
                  </a:lnTo>
                  <a:lnTo>
                    <a:pt x="132" y="32"/>
                  </a:lnTo>
                  <a:lnTo>
                    <a:pt x="124" y="20"/>
                  </a:lnTo>
                  <a:lnTo>
                    <a:pt x="114" y="12"/>
                  </a:lnTo>
                  <a:lnTo>
                    <a:pt x="100" y="4"/>
                  </a:lnTo>
                  <a:lnTo>
                    <a:pt x="88" y="0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503" name="Freeform 253"/>
            <p:cNvSpPr>
              <a:spLocks/>
            </p:cNvSpPr>
            <p:nvPr/>
          </p:nvSpPr>
          <p:spPr bwMode="auto">
            <a:xfrm>
              <a:off x="7736832" y="5826994"/>
              <a:ext cx="167418" cy="165124"/>
            </a:xfrm>
            <a:custGeom>
              <a:avLst/>
              <a:gdLst/>
              <a:ahLst/>
              <a:cxnLst>
                <a:cxn ang="0">
                  <a:pos x="72" y="0"/>
                </a:cxn>
                <a:cxn ang="0">
                  <a:pos x="72" y="0"/>
                </a:cxn>
                <a:cxn ang="0">
                  <a:pos x="58" y="0"/>
                </a:cxn>
                <a:cxn ang="0">
                  <a:pos x="44" y="4"/>
                </a:cxn>
                <a:cxn ang="0">
                  <a:pos x="32" y="12"/>
                </a:cxn>
                <a:cxn ang="0">
                  <a:pos x="22" y="20"/>
                </a:cxn>
                <a:cxn ang="0">
                  <a:pos x="12" y="32"/>
                </a:cxn>
                <a:cxn ang="0">
                  <a:pos x="6" y="44"/>
                </a:cxn>
                <a:cxn ang="0">
                  <a:pos x="2" y="58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2" y="86"/>
                </a:cxn>
                <a:cxn ang="0">
                  <a:pos x="6" y="100"/>
                </a:cxn>
                <a:cxn ang="0">
                  <a:pos x="12" y="112"/>
                </a:cxn>
                <a:cxn ang="0">
                  <a:pos x="22" y="124"/>
                </a:cxn>
                <a:cxn ang="0">
                  <a:pos x="32" y="132"/>
                </a:cxn>
                <a:cxn ang="0">
                  <a:pos x="44" y="138"/>
                </a:cxn>
                <a:cxn ang="0">
                  <a:pos x="58" y="142"/>
                </a:cxn>
                <a:cxn ang="0">
                  <a:pos x="72" y="144"/>
                </a:cxn>
                <a:cxn ang="0">
                  <a:pos x="72" y="144"/>
                </a:cxn>
                <a:cxn ang="0">
                  <a:pos x="88" y="142"/>
                </a:cxn>
                <a:cxn ang="0">
                  <a:pos x="100" y="138"/>
                </a:cxn>
                <a:cxn ang="0">
                  <a:pos x="114" y="132"/>
                </a:cxn>
                <a:cxn ang="0">
                  <a:pos x="124" y="124"/>
                </a:cxn>
                <a:cxn ang="0">
                  <a:pos x="132" y="112"/>
                </a:cxn>
                <a:cxn ang="0">
                  <a:pos x="140" y="100"/>
                </a:cxn>
                <a:cxn ang="0">
                  <a:pos x="144" y="86"/>
                </a:cxn>
                <a:cxn ang="0">
                  <a:pos x="146" y="72"/>
                </a:cxn>
                <a:cxn ang="0">
                  <a:pos x="146" y="72"/>
                </a:cxn>
                <a:cxn ang="0">
                  <a:pos x="144" y="58"/>
                </a:cxn>
                <a:cxn ang="0">
                  <a:pos x="140" y="44"/>
                </a:cxn>
                <a:cxn ang="0">
                  <a:pos x="132" y="32"/>
                </a:cxn>
                <a:cxn ang="0">
                  <a:pos x="124" y="20"/>
                </a:cxn>
                <a:cxn ang="0">
                  <a:pos x="114" y="12"/>
                </a:cxn>
                <a:cxn ang="0">
                  <a:pos x="100" y="4"/>
                </a:cxn>
                <a:cxn ang="0">
                  <a:pos x="88" y="0"/>
                </a:cxn>
                <a:cxn ang="0">
                  <a:pos x="72" y="0"/>
                </a:cxn>
              </a:cxnLst>
              <a:rect l="0" t="0" r="r" b="b"/>
              <a:pathLst>
                <a:path w="146" h="144">
                  <a:moveTo>
                    <a:pt x="72" y="0"/>
                  </a:moveTo>
                  <a:lnTo>
                    <a:pt x="72" y="0"/>
                  </a:lnTo>
                  <a:lnTo>
                    <a:pt x="58" y="0"/>
                  </a:lnTo>
                  <a:lnTo>
                    <a:pt x="44" y="4"/>
                  </a:lnTo>
                  <a:lnTo>
                    <a:pt x="32" y="12"/>
                  </a:lnTo>
                  <a:lnTo>
                    <a:pt x="22" y="20"/>
                  </a:lnTo>
                  <a:lnTo>
                    <a:pt x="12" y="32"/>
                  </a:lnTo>
                  <a:lnTo>
                    <a:pt x="6" y="44"/>
                  </a:lnTo>
                  <a:lnTo>
                    <a:pt x="2" y="58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2" y="86"/>
                  </a:lnTo>
                  <a:lnTo>
                    <a:pt x="6" y="100"/>
                  </a:lnTo>
                  <a:lnTo>
                    <a:pt x="12" y="112"/>
                  </a:lnTo>
                  <a:lnTo>
                    <a:pt x="22" y="124"/>
                  </a:lnTo>
                  <a:lnTo>
                    <a:pt x="32" y="132"/>
                  </a:lnTo>
                  <a:lnTo>
                    <a:pt x="44" y="138"/>
                  </a:lnTo>
                  <a:lnTo>
                    <a:pt x="58" y="142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88" y="142"/>
                  </a:lnTo>
                  <a:lnTo>
                    <a:pt x="100" y="138"/>
                  </a:lnTo>
                  <a:lnTo>
                    <a:pt x="114" y="132"/>
                  </a:lnTo>
                  <a:lnTo>
                    <a:pt x="124" y="124"/>
                  </a:lnTo>
                  <a:lnTo>
                    <a:pt x="132" y="112"/>
                  </a:lnTo>
                  <a:lnTo>
                    <a:pt x="140" y="100"/>
                  </a:lnTo>
                  <a:lnTo>
                    <a:pt x="144" y="86"/>
                  </a:lnTo>
                  <a:lnTo>
                    <a:pt x="146" y="72"/>
                  </a:lnTo>
                  <a:lnTo>
                    <a:pt x="146" y="72"/>
                  </a:lnTo>
                  <a:lnTo>
                    <a:pt x="144" y="58"/>
                  </a:lnTo>
                  <a:lnTo>
                    <a:pt x="140" y="44"/>
                  </a:lnTo>
                  <a:lnTo>
                    <a:pt x="132" y="32"/>
                  </a:lnTo>
                  <a:lnTo>
                    <a:pt x="124" y="20"/>
                  </a:lnTo>
                  <a:lnTo>
                    <a:pt x="114" y="12"/>
                  </a:lnTo>
                  <a:lnTo>
                    <a:pt x="100" y="4"/>
                  </a:lnTo>
                  <a:lnTo>
                    <a:pt x="88" y="0"/>
                  </a:lnTo>
                  <a:lnTo>
                    <a:pt x="72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504" name="Freeform 254"/>
            <p:cNvSpPr>
              <a:spLocks/>
            </p:cNvSpPr>
            <p:nvPr/>
          </p:nvSpPr>
          <p:spPr bwMode="auto">
            <a:xfrm>
              <a:off x="8365222" y="5249059"/>
              <a:ext cx="185765" cy="185765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80" y="0"/>
                </a:cxn>
                <a:cxn ang="0">
                  <a:pos x="64" y="0"/>
                </a:cxn>
                <a:cxn ang="0">
                  <a:pos x="50" y="6"/>
                </a:cxn>
                <a:cxn ang="0">
                  <a:pos x="36" y="14"/>
                </a:cxn>
                <a:cxn ang="0">
                  <a:pos x="24" y="24"/>
                </a:cxn>
                <a:cxn ang="0">
                  <a:pos x="14" y="36"/>
                </a:cxn>
                <a:cxn ang="0">
                  <a:pos x="6" y="50"/>
                </a:cxn>
                <a:cxn ang="0">
                  <a:pos x="0" y="64"/>
                </a:cxn>
                <a:cxn ang="0">
                  <a:pos x="0" y="80"/>
                </a:cxn>
                <a:cxn ang="0">
                  <a:pos x="0" y="80"/>
                </a:cxn>
                <a:cxn ang="0">
                  <a:pos x="0" y="98"/>
                </a:cxn>
                <a:cxn ang="0">
                  <a:pos x="6" y="112"/>
                </a:cxn>
                <a:cxn ang="0">
                  <a:pos x="14" y="126"/>
                </a:cxn>
                <a:cxn ang="0">
                  <a:pos x="24" y="138"/>
                </a:cxn>
                <a:cxn ang="0">
                  <a:pos x="36" y="148"/>
                </a:cxn>
                <a:cxn ang="0">
                  <a:pos x="50" y="156"/>
                </a:cxn>
                <a:cxn ang="0">
                  <a:pos x="64" y="160"/>
                </a:cxn>
                <a:cxn ang="0">
                  <a:pos x="80" y="162"/>
                </a:cxn>
                <a:cxn ang="0">
                  <a:pos x="80" y="162"/>
                </a:cxn>
                <a:cxn ang="0">
                  <a:pos x="98" y="160"/>
                </a:cxn>
                <a:cxn ang="0">
                  <a:pos x="112" y="156"/>
                </a:cxn>
                <a:cxn ang="0">
                  <a:pos x="126" y="148"/>
                </a:cxn>
                <a:cxn ang="0">
                  <a:pos x="138" y="138"/>
                </a:cxn>
                <a:cxn ang="0">
                  <a:pos x="148" y="126"/>
                </a:cxn>
                <a:cxn ang="0">
                  <a:pos x="156" y="112"/>
                </a:cxn>
                <a:cxn ang="0">
                  <a:pos x="160" y="98"/>
                </a:cxn>
                <a:cxn ang="0">
                  <a:pos x="162" y="80"/>
                </a:cxn>
                <a:cxn ang="0">
                  <a:pos x="162" y="80"/>
                </a:cxn>
                <a:cxn ang="0">
                  <a:pos x="160" y="64"/>
                </a:cxn>
                <a:cxn ang="0">
                  <a:pos x="156" y="50"/>
                </a:cxn>
                <a:cxn ang="0">
                  <a:pos x="148" y="36"/>
                </a:cxn>
                <a:cxn ang="0">
                  <a:pos x="138" y="24"/>
                </a:cxn>
                <a:cxn ang="0">
                  <a:pos x="126" y="14"/>
                </a:cxn>
                <a:cxn ang="0">
                  <a:pos x="112" y="6"/>
                </a:cxn>
                <a:cxn ang="0">
                  <a:pos x="98" y="0"/>
                </a:cxn>
                <a:cxn ang="0">
                  <a:pos x="80" y="0"/>
                </a:cxn>
              </a:cxnLst>
              <a:rect l="0" t="0" r="r" b="b"/>
              <a:pathLst>
                <a:path w="162" h="162">
                  <a:moveTo>
                    <a:pt x="80" y="0"/>
                  </a:moveTo>
                  <a:lnTo>
                    <a:pt x="80" y="0"/>
                  </a:lnTo>
                  <a:lnTo>
                    <a:pt x="64" y="0"/>
                  </a:lnTo>
                  <a:lnTo>
                    <a:pt x="50" y="6"/>
                  </a:lnTo>
                  <a:lnTo>
                    <a:pt x="36" y="14"/>
                  </a:lnTo>
                  <a:lnTo>
                    <a:pt x="24" y="24"/>
                  </a:lnTo>
                  <a:lnTo>
                    <a:pt x="14" y="36"/>
                  </a:lnTo>
                  <a:lnTo>
                    <a:pt x="6" y="50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98"/>
                  </a:lnTo>
                  <a:lnTo>
                    <a:pt x="6" y="112"/>
                  </a:lnTo>
                  <a:lnTo>
                    <a:pt x="14" y="126"/>
                  </a:lnTo>
                  <a:lnTo>
                    <a:pt x="24" y="138"/>
                  </a:lnTo>
                  <a:lnTo>
                    <a:pt x="36" y="148"/>
                  </a:lnTo>
                  <a:lnTo>
                    <a:pt x="50" y="156"/>
                  </a:lnTo>
                  <a:lnTo>
                    <a:pt x="64" y="160"/>
                  </a:lnTo>
                  <a:lnTo>
                    <a:pt x="80" y="162"/>
                  </a:lnTo>
                  <a:lnTo>
                    <a:pt x="80" y="162"/>
                  </a:lnTo>
                  <a:lnTo>
                    <a:pt x="98" y="160"/>
                  </a:lnTo>
                  <a:lnTo>
                    <a:pt x="112" y="156"/>
                  </a:lnTo>
                  <a:lnTo>
                    <a:pt x="126" y="148"/>
                  </a:lnTo>
                  <a:lnTo>
                    <a:pt x="138" y="138"/>
                  </a:lnTo>
                  <a:lnTo>
                    <a:pt x="148" y="126"/>
                  </a:lnTo>
                  <a:lnTo>
                    <a:pt x="156" y="112"/>
                  </a:lnTo>
                  <a:lnTo>
                    <a:pt x="160" y="98"/>
                  </a:lnTo>
                  <a:lnTo>
                    <a:pt x="162" y="80"/>
                  </a:lnTo>
                  <a:lnTo>
                    <a:pt x="162" y="80"/>
                  </a:lnTo>
                  <a:lnTo>
                    <a:pt x="160" y="64"/>
                  </a:lnTo>
                  <a:lnTo>
                    <a:pt x="156" y="50"/>
                  </a:lnTo>
                  <a:lnTo>
                    <a:pt x="148" y="36"/>
                  </a:lnTo>
                  <a:lnTo>
                    <a:pt x="138" y="24"/>
                  </a:lnTo>
                  <a:lnTo>
                    <a:pt x="126" y="14"/>
                  </a:lnTo>
                  <a:lnTo>
                    <a:pt x="112" y="6"/>
                  </a:lnTo>
                  <a:lnTo>
                    <a:pt x="98" y="0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505" name="Freeform 255"/>
            <p:cNvSpPr>
              <a:spLocks/>
            </p:cNvSpPr>
            <p:nvPr/>
          </p:nvSpPr>
          <p:spPr bwMode="auto">
            <a:xfrm>
              <a:off x="8365222" y="5249059"/>
              <a:ext cx="185765" cy="185765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80" y="0"/>
                </a:cxn>
                <a:cxn ang="0">
                  <a:pos x="64" y="0"/>
                </a:cxn>
                <a:cxn ang="0">
                  <a:pos x="50" y="6"/>
                </a:cxn>
                <a:cxn ang="0">
                  <a:pos x="36" y="14"/>
                </a:cxn>
                <a:cxn ang="0">
                  <a:pos x="24" y="24"/>
                </a:cxn>
                <a:cxn ang="0">
                  <a:pos x="14" y="36"/>
                </a:cxn>
                <a:cxn ang="0">
                  <a:pos x="6" y="50"/>
                </a:cxn>
                <a:cxn ang="0">
                  <a:pos x="0" y="64"/>
                </a:cxn>
                <a:cxn ang="0">
                  <a:pos x="0" y="80"/>
                </a:cxn>
                <a:cxn ang="0">
                  <a:pos x="0" y="80"/>
                </a:cxn>
                <a:cxn ang="0">
                  <a:pos x="0" y="98"/>
                </a:cxn>
                <a:cxn ang="0">
                  <a:pos x="6" y="112"/>
                </a:cxn>
                <a:cxn ang="0">
                  <a:pos x="14" y="126"/>
                </a:cxn>
                <a:cxn ang="0">
                  <a:pos x="24" y="138"/>
                </a:cxn>
                <a:cxn ang="0">
                  <a:pos x="36" y="148"/>
                </a:cxn>
                <a:cxn ang="0">
                  <a:pos x="50" y="156"/>
                </a:cxn>
                <a:cxn ang="0">
                  <a:pos x="64" y="160"/>
                </a:cxn>
                <a:cxn ang="0">
                  <a:pos x="80" y="162"/>
                </a:cxn>
                <a:cxn ang="0">
                  <a:pos x="80" y="162"/>
                </a:cxn>
                <a:cxn ang="0">
                  <a:pos x="98" y="160"/>
                </a:cxn>
                <a:cxn ang="0">
                  <a:pos x="112" y="156"/>
                </a:cxn>
                <a:cxn ang="0">
                  <a:pos x="126" y="148"/>
                </a:cxn>
                <a:cxn ang="0">
                  <a:pos x="138" y="138"/>
                </a:cxn>
                <a:cxn ang="0">
                  <a:pos x="148" y="126"/>
                </a:cxn>
                <a:cxn ang="0">
                  <a:pos x="156" y="112"/>
                </a:cxn>
                <a:cxn ang="0">
                  <a:pos x="160" y="98"/>
                </a:cxn>
                <a:cxn ang="0">
                  <a:pos x="162" y="80"/>
                </a:cxn>
                <a:cxn ang="0">
                  <a:pos x="162" y="80"/>
                </a:cxn>
                <a:cxn ang="0">
                  <a:pos x="160" y="64"/>
                </a:cxn>
                <a:cxn ang="0">
                  <a:pos x="156" y="50"/>
                </a:cxn>
                <a:cxn ang="0">
                  <a:pos x="148" y="36"/>
                </a:cxn>
                <a:cxn ang="0">
                  <a:pos x="138" y="24"/>
                </a:cxn>
                <a:cxn ang="0">
                  <a:pos x="126" y="14"/>
                </a:cxn>
                <a:cxn ang="0">
                  <a:pos x="112" y="6"/>
                </a:cxn>
                <a:cxn ang="0">
                  <a:pos x="98" y="0"/>
                </a:cxn>
                <a:cxn ang="0">
                  <a:pos x="80" y="0"/>
                </a:cxn>
              </a:cxnLst>
              <a:rect l="0" t="0" r="r" b="b"/>
              <a:pathLst>
                <a:path w="162" h="162">
                  <a:moveTo>
                    <a:pt x="80" y="0"/>
                  </a:moveTo>
                  <a:lnTo>
                    <a:pt x="80" y="0"/>
                  </a:lnTo>
                  <a:lnTo>
                    <a:pt x="64" y="0"/>
                  </a:lnTo>
                  <a:lnTo>
                    <a:pt x="50" y="6"/>
                  </a:lnTo>
                  <a:lnTo>
                    <a:pt x="36" y="14"/>
                  </a:lnTo>
                  <a:lnTo>
                    <a:pt x="24" y="24"/>
                  </a:lnTo>
                  <a:lnTo>
                    <a:pt x="14" y="36"/>
                  </a:lnTo>
                  <a:lnTo>
                    <a:pt x="6" y="50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98"/>
                  </a:lnTo>
                  <a:lnTo>
                    <a:pt x="6" y="112"/>
                  </a:lnTo>
                  <a:lnTo>
                    <a:pt x="14" y="126"/>
                  </a:lnTo>
                  <a:lnTo>
                    <a:pt x="24" y="138"/>
                  </a:lnTo>
                  <a:lnTo>
                    <a:pt x="36" y="148"/>
                  </a:lnTo>
                  <a:lnTo>
                    <a:pt x="50" y="156"/>
                  </a:lnTo>
                  <a:lnTo>
                    <a:pt x="64" y="160"/>
                  </a:lnTo>
                  <a:lnTo>
                    <a:pt x="80" y="162"/>
                  </a:lnTo>
                  <a:lnTo>
                    <a:pt x="80" y="162"/>
                  </a:lnTo>
                  <a:lnTo>
                    <a:pt x="98" y="160"/>
                  </a:lnTo>
                  <a:lnTo>
                    <a:pt x="112" y="156"/>
                  </a:lnTo>
                  <a:lnTo>
                    <a:pt x="126" y="148"/>
                  </a:lnTo>
                  <a:lnTo>
                    <a:pt x="138" y="138"/>
                  </a:lnTo>
                  <a:lnTo>
                    <a:pt x="148" y="126"/>
                  </a:lnTo>
                  <a:lnTo>
                    <a:pt x="156" y="112"/>
                  </a:lnTo>
                  <a:lnTo>
                    <a:pt x="160" y="98"/>
                  </a:lnTo>
                  <a:lnTo>
                    <a:pt x="162" y="80"/>
                  </a:lnTo>
                  <a:lnTo>
                    <a:pt x="162" y="80"/>
                  </a:lnTo>
                  <a:lnTo>
                    <a:pt x="160" y="64"/>
                  </a:lnTo>
                  <a:lnTo>
                    <a:pt x="156" y="50"/>
                  </a:lnTo>
                  <a:lnTo>
                    <a:pt x="148" y="36"/>
                  </a:lnTo>
                  <a:lnTo>
                    <a:pt x="138" y="24"/>
                  </a:lnTo>
                  <a:lnTo>
                    <a:pt x="126" y="14"/>
                  </a:lnTo>
                  <a:lnTo>
                    <a:pt x="112" y="6"/>
                  </a:lnTo>
                  <a:lnTo>
                    <a:pt x="98" y="0"/>
                  </a:lnTo>
                  <a:lnTo>
                    <a:pt x="80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506" name="Freeform 256"/>
            <p:cNvSpPr>
              <a:spLocks/>
            </p:cNvSpPr>
            <p:nvPr/>
          </p:nvSpPr>
          <p:spPr bwMode="auto">
            <a:xfrm>
              <a:off x="7436398" y="6317780"/>
              <a:ext cx="188058" cy="188058"/>
            </a:xfrm>
            <a:custGeom>
              <a:avLst/>
              <a:gdLst/>
              <a:ahLst/>
              <a:cxnLst>
                <a:cxn ang="0">
                  <a:pos x="82" y="0"/>
                </a:cxn>
                <a:cxn ang="0">
                  <a:pos x="82" y="0"/>
                </a:cxn>
                <a:cxn ang="0">
                  <a:pos x="66" y="2"/>
                </a:cxn>
                <a:cxn ang="0">
                  <a:pos x="50" y="6"/>
                </a:cxn>
                <a:cxn ang="0">
                  <a:pos x="36" y="14"/>
                </a:cxn>
                <a:cxn ang="0">
                  <a:pos x="24" y="24"/>
                </a:cxn>
                <a:cxn ang="0">
                  <a:pos x="14" y="36"/>
                </a:cxn>
                <a:cxn ang="0">
                  <a:pos x="6" y="50"/>
                </a:cxn>
                <a:cxn ang="0">
                  <a:pos x="2" y="66"/>
                </a:cxn>
                <a:cxn ang="0">
                  <a:pos x="0" y="82"/>
                </a:cxn>
                <a:cxn ang="0">
                  <a:pos x="0" y="82"/>
                </a:cxn>
                <a:cxn ang="0">
                  <a:pos x="2" y="98"/>
                </a:cxn>
                <a:cxn ang="0">
                  <a:pos x="6" y="114"/>
                </a:cxn>
                <a:cxn ang="0">
                  <a:pos x="14" y="128"/>
                </a:cxn>
                <a:cxn ang="0">
                  <a:pos x="24" y="140"/>
                </a:cxn>
                <a:cxn ang="0">
                  <a:pos x="36" y="150"/>
                </a:cxn>
                <a:cxn ang="0">
                  <a:pos x="50" y="158"/>
                </a:cxn>
                <a:cxn ang="0">
                  <a:pos x="66" y="162"/>
                </a:cxn>
                <a:cxn ang="0">
                  <a:pos x="82" y="164"/>
                </a:cxn>
                <a:cxn ang="0">
                  <a:pos x="82" y="164"/>
                </a:cxn>
                <a:cxn ang="0">
                  <a:pos x="98" y="162"/>
                </a:cxn>
                <a:cxn ang="0">
                  <a:pos x="114" y="158"/>
                </a:cxn>
                <a:cxn ang="0">
                  <a:pos x="128" y="150"/>
                </a:cxn>
                <a:cxn ang="0">
                  <a:pos x="140" y="140"/>
                </a:cxn>
                <a:cxn ang="0">
                  <a:pos x="150" y="128"/>
                </a:cxn>
                <a:cxn ang="0">
                  <a:pos x="158" y="114"/>
                </a:cxn>
                <a:cxn ang="0">
                  <a:pos x="162" y="98"/>
                </a:cxn>
                <a:cxn ang="0">
                  <a:pos x="164" y="82"/>
                </a:cxn>
                <a:cxn ang="0">
                  <a:pos x="164" y="82"/>
                </a:cxn>
                <a:cxn ang="0">
                  <a:pos x="162" y="66"/>
                </a:cxn>
                <a:cxn ang="0">
                  <a:pos x="158" y="50"/>
                </a:cxn>
                <a:cxn ang="0">
                  <a:pos x="150" y="36"/>
                </a:cxn>
                <a:cxn ang="0">
                  <a:pos x="140" y="24"/>
                </a:cxn>
                <a:cxn ang="0">
                  <a:pos x="128" y="14"/>
                </a:cxn>
                <a:cxn ang="0">
                  <a:pos x="114" y="6"/>
                </a:cxn>
                <a:cxn ang="0">
                  <a:pos x="98" y="2"/>
                </a:cxn>
                <a:cxn ang="0">
                  <a:pos x="82" y="0"/>
                </a:cxn>
              </a:cxnLst>
              <a:rect l="0" t="0" r="r" b="b"/>
              <a:pathLst>
                <a:path w="164" h="164">
                  <a:moveTo>
                    <a:pt x="82" y="0"/>
                  </a:moveTo>
                  <a:lnTo>
                    <a:pt x="82" y="0"/>
                  </a:lnTo>
                  <a:lnTo>
                    <a:pt x="66" y="2"/>
                  </a:lnTo>
                  <a:lnTo>
                    <a:pt x="50" y="6"/>
                  </a:lnTo>
                  <a:lnTo>
                    <a:pt x="36" y="14"/>
                  </a:lnTo>
                  <a:lnTo>
                    <a:pt x="24" y="24"/>
                  </a:lnTo>
                  <a:lnTo>
                    <a:pt x="14" y="36"/>
                  </a:lnTo>
                  <a:lnTo>
                    <a:pt x="6" y="50"/>
                  </a:lnTo>
                  <a:lnTo>
                    <a:pt x="2" y="66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2" y="98"/>
                  </a:lnTo>
                  <a:lnTo>
                    <a:pt x="6" y="114"/>
                  </a:lnTo>
                  <a:lnTo>
                    <a:pt x="14" y="128"/>
                  </a:lnTo>
                  <a:lnTo>
                    <a:pt x="24" y="140"/>
                  </a:lnTo>
                  <a:lnTo>
                    <a:pt x="36" y="150"/>
                  </a:lnTo>
                  <a:lnTo>
                    <a:pt x="50" y="158"/>
                  </a:lnTo>
                  <a:lnTo>
                    <a:pt x="66" y="162"/>
                  </a:lnTo>
                  <a:lnTo>
                    <a:pt x="82" y="164"/>
                  </a:lnTo>
                  <a:lnTo>
                    <a:pt x="82" y="164"/>
                  </a:lnTo>
                  <a:lnTo>
                    <a:pt x="98" y="162"/>
                  </a:lnTo>
                  <a:lnTo>
                    <a:pt x="114" y="158"/>
                  </a:lnTo>
                  <a:lnTo>
                    <a:pt x="128" y="150"/>
                  </a:lnTo>
                  <a:lnTo>
                    <a:pt x="140" y="140"/>
                  </a:lnTo>
                  <a:lnTo>
                    <a:pt x="150" y="128"/>
                  </a:lnTo>
                  <a:lnTo>
                    <a:pt x="158" y="114"/>
                  </a:lnTo>
                  <a:lnTo>
                    <a:pt x="162" y="98"/>
                  </a:lnTo>
                  <a:lnTo>
                    <a:pt x="164" y="82"/>
                  </a:lnTo>
                  <a:lnTo>
                    <a:pt x="164" y="82"/>
                  </a:lnTo>
                  <a:lnTo>
                    <a:pt x="162" y="66"/>
                  </a:lnTo>
                  <a:lnTo>
                    <a:pt x="158" y="50"/>
                  </a:lnTo>
                  <a:lnTo>
                    <a:pt x="150" y="36"/>
                  </a:lnTo>
                  <a:lnTo>
                    <a:pt x="140" y="24"/>
                  </a:lnTo>
                  <a:lnTo>
                    <a:pt x="128" y="14"/>
                  </a:lnTo>
                  <a:lnTo>
                    <a:pt x="114" y="6"/>
                  </a:lnTo>
                  <a:lnTo>
                    <a:pt x="98" y="2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507" name="Freeform 257"/>
            <p:cNvSpPr>
              <a:spLocks/>
            </p:cNvSpPr>
            <p:nvPr/>
          </p:nvSpPr>
          <p:spPr bwMode="auto">
            <a:xfrm>
              <a:off x="7436398" y="6317780"/>
              <a:ext cx="188058" cy="188058"/>
            </a:xfrm>
            <a:custGeom>
              <a:avLst/>
              <a:gdLst/>
              <a:ahLst/>
              <a:cxnLst>
                <a:cxn ang="0">
                  <a:pos x="82" y="0"/>
                </a:cxn>
                <a:cxn ang="0">
                  <a:pos x="82" y="0"/>
                </a:cxn>
                <a:cxn ang="0">
                  <a:pos x="66" y="2"/>
                </a:cxn>
                <a:cxn ang="0">
                  <a:pos x="50" y="6"/>
                </a:cxn>
                <a:cxn ang="0">
                  <a:pos x="36" y="14"/>
                </a:cxn>
                <a:cxn ang="0">
                  <a:pos x="24" y="24"/>
                </a:cxn>
                <a:cxn ang="0">
                  <a:pos x="14" y="36"/>
                </a:cxn>
                <a:cxn ang="0">
                  <a:pos x="6" y="50"/>
                </a:cxn>
                <a:cxn ang="0">
                  <a:pos x="2" y="66"/>
                </a:cxn>
                <a:cxn ang="0">
                  <a:pos x="0" y="82"/>
                </a:cxn>
                <a:cxn ang="0">
                  <a:pos x="0" y="82"/>
                </a:cxn>
                <a:cxn ang="0">
                  <a:pos x="2" y="98"/>
                </a:cxn>
                <a:cxn ang="0">
                  <a:pos x="6" y="114"/>
                </a:cxn>
                <a:cxn ang="0">
                  <a:pos x="14" y="128"/>
                </a:cxn>
                <a:cxn ang="0">
                  <a:pos x="24" y="140"/>
                </a:cxn>
                <a:cxn ang="0">
                  <a:pos x="36" y="150"/>
                </a:cxn>
                <a:cxn ang="0">
                  <a:pos x="50" y="158"/>
                </a:cxn>
                <a:cxn ang="0">
                  <a:pos x="66" y="162"/>
                </a:cxn>
                <a:cxn ang="0">
                  <a:pos x="82" y="164"/>
                </a:cxn>
                <a:cxn ang="0">
                  <a:pos x="82" y="164"/>
                </a:cxn>
                <a:cxn ang="0">
                  <a:pos x="98" y="162"/>
                </a:cxn>
                <a:cxn ang="0">
                  <a:pos x="114" y="158"/>
                </a:cxn>
                <a:cxn ang="0">
                  <a:pos x="128" y="150"/>
                </a:cxn>
                <a:cxn ang="0">
                  <a:pos x="140" y="140"/>
                </a:cxn>
                <a:cxn ang="0">
                  <a:pos x="150" y="128"/>
                </a:cxn>
                <a:cxn ang="0">
                  <a:pos x="158" y="114"/>
                </a:cxn>
                <a:cxn ang="0">
                  <a:pos x="162" y="98"/>
                </a:cxn>
                <a:cxn ang="0">
                  <a:pos x="164" y="82"/>
                </a:cxn>
                <a:cxn ang="0">
                  <a:pos x="164" y="82"/>
                </a:cxn>
                <a:cxn ang="0">
                  <a:pos x="162" y="66"/>
                </a:cxn>
                <a:cxn ang="0">
                  <a:pos x="158" y="50"/>
                </a:cxn>
                <a:cxn ang="0">
                  <a:pos x="150" y="36"/>
                </a:cxn>
                <a:cxn ang="0">
                  <a:pos x="140" y="24"/>
                </a:cxn>
                <a:cxn ang="0">
                  <a:pos x="128" y="14"/>
                </a:cxn>
                <a:cxn ang="0">
                  <a:pos x="114" y="6"/>
                </a:cxn>
                <a:cxn ang="0">
                  <a:pos x="98" y="2"/>
                </a:cxn>
                <a:cxn ang="0">
                  <a:pos x="82" y="0"/>
                </a:cxn>
              </a:cxnLst>
              <a:rect l="0" t="0" r="r" b="b"/>
              <a:pathLst>
                <a:path w="164" h="164">
                  <a:moveTo>
                    <a:pt x="82" y="0"/>
                  </a:moveTo>
                  <a:lnTo>
                    <a:pt x="82" y="0"/>
                  </a:lnTo>
                  <a:lnTo>
                    <a:pt x="66" y="2"/>
                  </a:lnTo>
                  <a:lnTo>
                    <a:pt x="50" y="6"/>
                  </a:lnTo>
                  <a:lnTo>
                    <a:pt x="36" y="14"/>
                  </a:lnTo>
                  <a:lnTo>
                    <a:pt x="24" y="24"/>
                  </a:lnTo>
                  <a:lnTo>
                    <a:pt x="14" y="36"/>
                  </a:lnTo>
                  <a:lnTo>
                    <a:pt x="6" y="50"/>
                  </a:lnTo>
                  <a:lnTo>
                    <a:pt x="2" y="66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2" y="98"/>
                  </a:lnTo>
                  <a:lnTo>
                    <a:pt x="6" y="114"/>
                  </a:lnTo>
                  <a:lnTo>
                    <a:pt x="14" y="128"/>
                  </a:lnTo>
                  <a:lnTo>
                    <a:pt x="24" y="140"/>
                  </a:lnTo>
                  <a:lnTo>
                    <a:pt x="36" y="150"/>
                  </a:lnTo>
                  <a:lnTo>
                    <a:pt x="50" y="158"/>
                  </a:lnTo>
                  <a:lnTo>
                    <a:pt x="66" y="162"/>
                  </a:lnTo>
                  <a:lnTo>
                    <a:pt x="82" y="164"/>
                  </a:lnTo>
                  <a:lnTo>
                    <a:pt x="82" y="164"/>
                  </a:lnTo>
                  <a:lnTo>
                    <a:pt x="98" y="162"/>
                  </a:lnTo>
                  <a:lnTo>
                    <a:pt x="114" y="158"/>
                  </a:lnTo>
                  <a:lnTo>
                    <a:pt x="128" y="150"/>
                  </a:lnTo>
                  <a:lnTo>
                    <a:pt x="140" y="140"/>
                  </a:lnTo>
                  <a:lnTo>
                    <a:pt x="150" y="128"/>
                  </a:lnTo>
                  <a:lnTo>
                    <a:pt x="158" y="114"/>
                  </a:lnTo>
                  <a:lnTo>
                    <a:pt x="162" y="98"/>
                  </a:lnTo>
                  <a:lnTo>
                    <a:pt x="164" y="82"/>
                  </a:lnTo>
                  <a:lnTo>
                    <a:pt x="164" y="82"/>
                  </a:lnTo>
                  <a:lnTo>
                    <a:pt x="162" y="66"/>
                  </a:lnTo>
                  <a:lnTo>
                    <a:pt x="158" y="50"/>
                  </a:lnTo>
                  <a:lnTo>
                    <a:pt x="150" y="36"/>
                  </a:lnTo>
                  <a:lnTo>
                    <a:pt x="140" y="24"/>
                  </a:lnTo>
                  <a:lnTo>
                    <a:pt x="128" y="14"/>
                  </a:lnTo>
                  <a:lnTo>
                    <a:pt x="114" y="6"/>
                  </a:lnTo>
                  <a:lnTo>
                    <a:pt x="98" y="2"/>
                  </a:lnTo>
                  <a:lnTo>
                    <a:pt x="82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508" name="Freeform 258"/>
            <p:cNvSpPr>
              <a:spLocks/>
            </p:cNvSpPr>
            <p:nvPr/>
          </p:nvSpPr>
          <p:spPr bwMode="auto">
            <a:xfrm>
              <a:off x="8083135" y="5723792"/>
              <a:ext cx="288968" cy="288968"/>
            </a:xfrm>
            <a:custGeom>
              <a:avLst/>
              <a:gdLst/>
              <a:ahLst/>
              <a:cxnLst>
                <a:cxn ang="0">
                  <a:pos x="126" y="0"/>
                </a:cxn>
                <a:cxn ang="0">
                  <a:pos x="126" y="0"/>
                </a:cxn>
                <a:cxn ang="0">
                  <a:pos x="114" y="0"/>
                </a:cxn>
                <a:cxn ang="0">
                  <a:pos x="100" y="2"/>
                </a:cxn>
                <a:cxn ang="0">
                  <a:pos x="88" y="6"/>
                </a:cxn>
                <a:cxn ang="0">
                  <a:pos x="78" y="10"/>
                </a:cxn>
                <a:cxn ang="0">
                  <a:pos x="56" y="22"/>
                </a:cxn>
                <a:cxn ang="0">
                  <a:pos x="36" y="36"/>
                </a:cxn>
                <a:cxn ang="0">
                  <a:pos x="22" y="56"/>
                </a:cxn>
                <a:cxn ang="0">
                  <a:pos x="10" y="76"/>
                </a:cxn>
                <a:cxn ang="0">
                  <a:pos x="6" y="88"/>
                </a:cxn>
                <a:cxn ang="0">
                  <a:pos x="2" y="100"/>
                </a:cxn>
                <a:cxn ang="0">
                  <a:pos x="0" y="114"/>
                </a:cxn>
                <a:cxn ang="0">
                  <a:pos x="0" y="126"/>
                </a:cxn>
                <a:cxn ang="0">
                  <a:pos x="0" y="126"/>
                </a:cxn>
                <a:cxn ang="0">
                  <a:pos x="0" y="140"/>
                </a:cxn>
                <a:cxn ang="0">
                  <a:pos x="2" y="152"/>
                </a:cxn>
                <a:cxn ang="0">
                  <a:pos x="6" y="164"/>
                </a:cxn>
                <a:cxn ang="0">
                  <a:pos x="10" y="176"/>
                </a:cxn>
                <a:cxn ang="0">
                  <a:pos x="22" y="196"/>
                </a:cxn>
                <a:cxn ang="0">
                  <a:pos x="36" y="216"/>
                </a:cxn>
                <a:cxn ang="0">
                  <a:pos x="56" y="232"/>
                </a:cxn>
                <a:cxn ang="0">
                  <a:pos x="78" y="242"/>
                </a:cxn>
                <a:cxn ang="0">
                  <a:pos x="88" y="248"/>
                </a:cxn>
                <a:cxn ang="0">
                  <a:pos x="100" y="250"/>
                </a:cxn>
                <a:cxn ang="0">
                  <a:pos x="114" y="252"/>
                </a:cxn>
                <a:cxn ang="0">
                  <a:pos x="126" y="252"/>
                </a:cxn>
                <a:cxn ang="0">
                  <a:pos x="126" y="252"/>
                </a:cxn>
                <a:cxn ang="0">
                  <a:pos x="140" y="252"/>
                </a:cxn>
                <a:cxn ang="0">
                  <a:pos x="152" y="250"/>
                </a:cxn>
                <a:cxn ang="0">
                  <a:pos x="164" y="248"/>
                </a:cxn>
                <a:cxn ang="0">
                  <a:pos x="176" y="242"/>
                </a:cxn>
                <a:cxn ang="0">
                  <a:pos x="198" y="232"/>
                </a:cxn>
                <a:cxn ang="0">
                  <a:pos x="216" y="216"/>
                </a:cxn>
                <a:cxn ang="0">
                  <a:pos x="232" y="196"/>
                </a:cxn>
                <a:cxn ang="0">
                  <a:pos x="242" y="176"/>
                </a:cxn>
                <a:cxn ang="0">
                  <a:pos x="248" y="164"/>
                </a:cxn>
                <a:cxn ang="0">
                  <a:pos x="250" y="152"/>
                </a:cxn>
                <a:cxn ang="0">
                  <a:pos x="252" y="140"/>
                </a:cxn>
                <a:cxn ang="0">
                  <a:pos x="252" y="126"/>
                </a:cxn>
                <a:cxn ang="0">
                  <a:pos x="252" y="126"/>
                </a:cxn>
                <a:cxn ang="0">
                  <a:pos x="252" y="114"/>
                </a:cxn>
                <a:cxn ang="0">
                  <a:pos x="250" y="100"/>
                </a:cxn>
                <a:cxn ang="0">
                  <a:pos x="248" y="88"/>
                </a:cxn>
                <a:cxn ang="0">
                  <a:pos x="242" y="76"/>
                </a:cxn>
                <a:cxn ang="0">
                  <a:pos x="232" y="56"/>
                </a:cxn>
                <a:cxn ang="0">
                  <a:pos x="216" y="36"/>
                </a:cxn>
                <a:cxn ang="0">
                  <a:pos x="198" y="22"/>
                </a:cxn>
                <a:cxn ang="0">
                  <a:pos x="176" y="10"/>
                </a:cxn>
                <a:cxn ang="0">
                  <a:pos x="164" y="6"/>
                </a:cxn>
                <a:cxn ang="0">
                  <a:pos x="152" y="2"/>
                </a:cxn>
                <a:cxn ang="0">
                  <a:pos x="140" y="0"/>
                </a:cxn>
                <a:cxn ang="0">
                  <a:pos x="126" y="0"/>
                </a:cxn>
              </a:cxnLst>
              <a:rect l="0" t="0" r="r" b="b"/>
              <a:pathLst>
                <a:path w="252" h="252">
                  <a:moveTo>
                    <a:pt x="126" y="0"/>
                  </a:moveTo>
                  <a:lnTo>
                    <a:pt x="126" y="0"/>
                  </a:lnTo>
                  <a:lnTo>
                    <a:pt x="114" y="0"/>
                  </a:lnTo>
                  <a:lnTo>
                    <a:pt x="100" y="2"/>
                  </a:lnTo>
                  <a:lnTo>
                    <a:pt x="88" y="6"/>
                  </a:lnTo>
                  <a:lnTo>
                    <a:pt x="78" y="10"/>
                  </a:lnTo>
                  <a:lnTo>
                    <a:pt x="56" y="22"/>
                  </a:lnTo>
                  <a:lnTo>
                    <a:pt x="36" y="36"/>
                  </a:lnTo>
                  <a:lnTo>
                    <a:pt x="22" y="56"/>
                  </a:lnTo>
                  <a:lnTo>
                    <a:pt x="10" y="76"/>
                  </a:lnTo>
                  <a:lnTo>
                    <a:pt x="6" y="88"/>
                  </a:lnTo>
                  <a:lnTo>
                    <a:pt x="2" y="100"/>
                  </a:lnTo>
                  <a:lnTo>
                    <a:pt x="0" y="114"/>
                  </a:lnTo>
                  <a:lnTo>
                    <a:pt x="0" y="126"/>
                  </a:lnTo>
                  <a:lnTo>
                    <a:pt x="0" y="126"/>
                  </a:lnTo>
                  <a:lnTo>
                    <a:pt x="0" y="140"/>
                  </a:lnTo>
                  <a:lnTo>
                    <a:pt x="2" y="152"/>
                  </a:lnTo>
                  <a:lnTo>
                    <a:pt x="6" y="164"/>
                  </a:lnTo>
                  <a:lnTo>
                    <a:pt x="10" y="176"/>
                  </a:lnTo>
                  <a:lnTo>
                    <a:pt x="22" y="196"/>
                  </a:lnTo>
                  <a:lnTo>
                    <a:pt x="36" y="216"/>
                  </a:lnTo>
                  <a:lnTo>
                    <a:pt x="56" y="232"/>
                  </a:lnTo>
                  <a:lnTo>
                    <a:pt x="78" y="242"/>
                  </a:lnTo>
                  <a:lnTo>
                    <a:pt x="88" y="248"/>
                  </a:lnTo>
                  <a:lnTo>
                    <a:pt x="100" y="250"/>
                  </a:lnTo>
                  <a:lnTo>
                    <a:pt x="114" y="252"/>
                  </a:lnTo>
                  <a:lnTo>
                    <a:pt x="126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52" y="250"/>
                  </a:lnTo>
                  <a:lnTo>
                    <a:pt x="164" y="248"/>
                  </a:lnTo>
                  <a:lnTo>
                    <a:pt x="176" y="242"/>
                  </a:lnTo>
                  <a:lnTo>
                    <a:pt x="198" y="232"/>
                  </a:lnTo>
                  <a:lnTo>
                    <a:pt x="216" y="216"/>
                  </a:lnTo>
                  <a:lnTo>
                    <a:pt x="232" y="196"/>
                  </a:lnTo>
                  <a:lnTo>
                    <a:pt x="242" y="176"/>
                  </a:lnTo>
                  <a:lnTo>
                    <a:pt x="248" y="164"/>
                  </a:lnTo>
                  <a:lnTo>
                    <a:pt x="250" y="152"/>
                  </a:lnTo>
                  <a:lnTo>
                    <a:pt x="252" y="140"/>
                  </a:lnTo>
                  <a:lnTo>
                    <a:pt x="252" y="126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50" y="100"/>
                  </a:lnTo>
                  <a:lnTo>
                    <a:pt x="248" y="88"/>
                  </a:lnTo>
                  <a:lnTo>
                    <a:pt x="242" y="76"/>
                  </a:lnTo>
                  <a:lnTo>
                    <a:pt x="232" y="56"/>
                  </a:lnTo>
                  <a:lnTo>
                    <a:pt x="216" y="36"/>
                  </a:lnTo>
                  <a:lnTo>
                    <a:pt x="198" y="22"/>
                  </a:lnTo>
                  <a:lnTo>
                    <a:pt x="176" y="10"/>
                  </a:lnTo>
                  <a:lnTo>
                    <a:pt x="164" y="6"/>
                  </a:lnTo>
                  <a:lnTo>
                    <a:pt x="152" y="2"/>
                  </a:lnTo>
                  <a:lnTo>
                    <a:pt x="140" y="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509" name="Freeform 261"/>
            <p:cNvSpPr>
              <a:spLocks/>
            </p:cNvSpPr>
            <p:nvPr/>
          </p:nvSpPr>
          <p:spPr bwMode="auto">
            <a:xfrm>
              <a:off x="7899663" y="6095321"/>
              <a:ext cx="291261" cy="288968"/>
            </a:xfrm>
            <a:custGeom>
              <a:avLst/>
              <a:gdLst/>
              <a:ahLst/>
              <a:cxnLst>
                <a:cxn ang="0">
                  <a:pos x="126" y="0"/>
                </a:cxn>
                <a:cxn ang="0">
                  <a:pos x="126" y="0"/>
                </a:cxn>
                <a:cxn ang="0">
                  <a:pos x="114" y="0"/>
                </a:cxn>
                <a:cxn ang="0">
                  <a:pos x="100" y="2"/>
                </a:cxn>
                <a:cxn ang="0">
                  <a:pos x="88" y="4"/>
                </a:cxn>
                <a:cxn ang="0">
                  <a:pos x="78" y="10"/>
                </a:cxn>
                <a:cxn ang="0">
                  <a:pos x="56" y="20"/>
                </a:cxn>
                <a:cxn ang="0">
                  <a:pos x="36" y="36"/>
                </a:cxn>
                <a:cxn ang="0">
                  <a:pos x="22" y="56"/>
                </a:cxn>
                <a:cxn ang="0">
                  <a:pos x="10" y="76"/>
                </a:cxn>
                <a:cxn ang="0">
                  <a:pos x="6" y="88"/>
                </a:cxn>
                <a:cxn ang="0">
                  <a:pos x="2" y="100"/>
                </a:cxn>
                <a:cxn ang="0">
                  <a:pos x="0" y="112"/>
                </a:cxn>
                <a:cxn ang="0">
                  <a:pos x="0" y="126"/>
                </a:cxn>
                <a:cxn ang="0">
                  <a:pos x="0" y="126"/>
                </a:cxn>
                <a:cxn ang="0">
                  <a:pos x="0" y="138"/>
                </a:cxn>
                <a:cxn ang="0">
                  <a:pos x="2" y="152"/>
                </a:cxn>
                <a:cxn ang="0">
                  <a:pos x="6" y="164"/>
                </a:cxn>
                <a:cxn ang="0">
                  <a:pos x="10" y="176"/>
                </a:cxn>
                <a:cxn ang="0">
                  <a:pos x="22" y="196"/>
                </a:cxn>
                <a:cxn ang="0">
                  <a:pos x="36" y="216"/>
                </a:cxn>
                <a:cxn ang="0">
                  <a:pos x="56" y="230"/>
                </a:cxn>
                <a:cxn ang="0">
                  <a:pos x="78" y="242"/>
                </a:cxn>
                <a:cxn ang="0">
                  <a:pos x="88" y="246"/>
                </a:cxn>
                <a:cxn ang="0">
                  <a:pos x="100" y="250"/>
                </a:cxn>
                <a:cxn ang="0">
                  <a:pos x="114" y="252"/>
                </a:cxn>
                <a:cxn ang="0">
                  <a:pos x="126" y="252"/>
                </a:cxn>
                <a:cxn ang="0">
                  <a:pos x="126" y="252"/>
                </a:cxn>
                <a:cxn ang="0">
                  <a:pos x="140" y="252"/>
                </a:cxn>
                <a:cxn ang="0">
                  <a:pos x="152" y="250"/>
                </a:cxn>
                <a:cxn ang="0">
                  <a:pos x="164" y="246"/>
                </a:cxn>
                <a:cxn ang="0">
                  <a:pos x="176" y="242"/>
                </a:cxn>
                <a:cxn ang="0">
                  <a:pos x="198" y="230"/>
                </a:cxn>
                <a:cxn ang="0">
                  <a:pos x="216" y="216"/>
                </a:cxn>
                <a:cxn ang="0">
                  <a:pos x="232" y="196"/>
                </a:cxn>
                <a:cxn ang="0">
                  <a:pos x="244" y="176"/>
                </a:cxn>
                <a:cxn ang="0">
                  <a:pos x="248" y="164"/>
                </a:cxn>
                <a:cxn ang="0">
                  <a:pos x="250" y="152"/>
                </a:cxn>
                <a:cxn ang="0">
                  <a:pos x="252" y="138"/>
                </a:cxn>
                <a:cxn ang="0">
                  <a:pos x="254" y="126"/>
                </a:cxn>
                <a:cxn ang="0">
                  <a:pos x="254" y="126"/>
                </a:cxn>
                <a:cxn ang="0">
                  <a:pos x="252" y="112"/>
                </a:cxn>
                <a:cxn ang="0">
                  <a:pos x="250" y="100"/>
                </a:cxn>
                <a:cxn ang="0">
                  <a:pos x="248" y="88"/>
                </a:cxn>
                <a:cxn ang="0">
                  <a:pos x="244" y="76"/>
                </a:cxn>
                <a:cxn ang="0">
                  <a:pos x="232" y="56"/>
                </a:cxn>
                <a:cxn ang="0">
                  <a:pos x="216" y="36"/>
                </a:cxn>
                <a:cxn ang="0">
                  <a:pos x="198" y="20"/>
                </a:cxn>
                <a:cxn ang="0">
                  <a:pos x="176" y="10"/>
                </a:cxn>
                <a:cxn ang="0">
                  <a:pos x="164" y="4"/>
                </a:cxn>
                <a:cxn ang="0">
                  <a:pos x="152" y="2"/>
                </a:cxn>
                <a:cxn ang="0">
                  <a:pos x="140" y="0"/>
                </a:cxn>
                <a:cxn ang="0">
                  <a:pos x="126" y="0"/>
                </a:cxn>
              </a:cxnLst>
              <a:rect l="0" t="0" r="r" b="b"/>
              <a:pathLst>
                <a:path w="254" h="252">
                  <a:moveTo>
                    <a:pt x="126" y="0"/>
                  </a:moveTo>
                  <a:lnTo>
                    <a:pt x="126" y="0"/>
                  </a:lnTo>
                  <a:lnTo>
                    <a:pt x="114" y="0"/>
                  </a:lnTo>
                  <a:lnTo>
                    <a:pt x="100" y="2"/>
                  </a:lnTo>
                  <a:lnTo>
                    <a:pt x="88" y="4"/>
                  </a:lnTo>
                  <a:lnTo>
                    <a:pt x="78" y="10"/>
                  </a:lnTo>
                  <a:lnTo>
                    <a:pt x="56" y="20"/>
                  </a:lnTo>
                  <a:lnTo>
                    <a:pt x="36" y="36"/>
                  </a:lnTo>
                  <a:lnTo>
                    <a:pt x="22" y="56"/>
                  </a:lnTo>
                  <a:lnTo>
                    <a:pt x="10" y="76"/>
                  </a:lnTo>
                  <a:lnTo>
                    <a:pt x="6" y="88"/>
                  </a:lnTo>
                  <a:lnTo>
                    <a:pt x="2" y="100"/>
                  </a:lnTo>
                  <a:lnTo>
                    <a:pt x="0" y="112"/>
                  </a:lnTo>
                  <a:lnTo>
                    <a:pt x="0" y="126"/>
                  </a:lnTo>
                  <a:lnTo>
                    <a:pt x="0" y="126"/>
                  </a:lnTo>
                  <a:lnTo>
                    <a:pt x="0" y="138"/>
                  </a:lnTo>
                  <a:lnTo>
                    <a:pt x="2" y="152"/>
                  </a:lnTo>
                  <a:lnTo>
                    <a:pt x="6" y="164"/>
                  </a:lnTo>
                  <a:lnTo>
                    <a:pt x="10" y="176"/>
                  </a:lnTo>
                  <a:lnTo>
                    <a:pt x="22" y="196"/>
                  </a:lnTo>
                  <a:lnTo>
                    <a:pt x="36" y="216"/>
                  </a:lnTo>
                  <a:lnTo>
                    <a:pt x="56" y="230"/>
                  </a:lnTo>
                  <a:lnTo>
                    <a:pt x="78" y="242"/>
                  </a:lnTo>
                  <a:lnTo>
                    <a:pt x="88" y="246"/>
                  </a:lnTo>
                  <a:lnTo>
                    <a:pt x="100" y="250"/>
                  </a:lnTo>
                  <a:lnTo>
                    <a:pt x="114" y="252"/>
                  </a:lnTo>
                  <a:lnTo>
                    <a:pt x="126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52" y="250"/>
                  </a:lnTo>
                  <a:lnTo>
                    <a:pt x="164" y="246"/>
                  </a:lnTo>
                  <a:lnTo>
                    <a:pt x="176" y="242"/>
                  </a:lnTo>
                  <a:lnTo>
                    <a:pt x="198" y="230"/>
                  </a:lnTo>
                  <a:lnTo>
                    <a:pt x="216" y="216"/>
                  </a:lnTo>
                  <a:lnTo>
                    <a:pt x="232" y="196"/>
                  </a:lnTo>
                  <a:lnTo>
                    <a:pt x="244" y="176"/>
                  </a:lnTo>
                  <a:lnTo>
                    <a:pt x="248" y="164"/>
                  </a:lnTo>
                  <a:lnTo>
                    <a:pt x="250" y="152"/>
                  </a:lnTo>
                  <a:lnTo>
                    <a:pt x="252" y="138"/>
                  </a:lnTo>
                  <a:lnTo>
                    <a:pt x="254" y="126"/>
                  </a:lnTo>
                  <a:lnTo>
                    <a:pt x="254" y="126"/>
                  </a:lnTo>
                  <a:lnTo>
                    <a:pt x="252" y="112"/>
                  </a:lnTo>
                  <a:lnTo>
                    <a:pt x="250" y="100"/>
                  </a:lnTo>
                  <a:lnTo>
                    <a:pt x="248" y="88"/>
                  </a:lnTo>
                  <a:lnTo>
                    <a:pt x="244" y="76"/>
                  </a:lnTo>
                  <a:lnTo>
                    <a:pt x="232" y="56"/>
                  </a:lnTo>
                  <a:lnTo>
                    <a:pt x="216" y="36"/>
                  </a:lnTo>
                  <a:lnTo>
                    <a:pt x="198" y="20"/>
                  </a:lnTo>
                  <a:lnTo>
                    <a:pt x="176" y="10"/>
                  </a:lnTo>
                  <a:lnTo>
                    <a:pt x="164" y="4"/>
                  </a:lnTo>
                  <a:lnTo>
                    <a:pt x="152" y="2"/>
                  </a:lnTo>
                  <a:lnTo>
                    <a:pt x="140" y="0"/>
                  </a:lnTo>
                  <a:lnTo>
                    <a:pt x="126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510" name="Freeform 263"/>
            <p:cNvSpPr>
              <a:spLocks/>
            </p:cNvSpPr>
            <p:nvPr/>
          </p:nvSpPr>
          <p:spPr bwMode="auto">
            <a:xfrm>
              <a:off x="7704725" y="5042654"/>
              <a:ext cx="421984" cy="421984"/>
            </a:xfrm>
            <a:custGeom>
              <a:avLst/>
              <a:gdLst/>
              <a:ahLst/>
              <a:cxnLst>
                <a:cxn ang="0">
                  <a:pos x="184" y="0"/>
                </a:cxn>
                <a:cxn ang="0">
                  <a:pos x="148" y="4"/>
                </a:cxn>
                <a:cxn ang="0">
                  <a:pos x="112" y="14"/>
                </a:cxn>
                <a:cxn ang="0">
                  <a:pos x="82" y="32"/>
                </a:cxn>
                <a:cxn ang="0">
                  <a:pos x="54" y="54"/>
                </a:cxn>
                <a:cxn ang="0">
                  <a:pos x="32" y="82"/>
                </a:cxn>
                <a:cxn ang="0">
                  <a:pos x="16" y="112"/>
                </a:cxn>
                <a:cxn ang="0">
                  <a:pos x="4" y="146"/>
                </a:cxn>
                <a:cxn ang="0">
                  <a:pos x="0" y="184"/>
                </a:cxn>
                <a:cxn ang="0">
                  <a:pos x="2" y="202"/>
                </a:cxn>
                <a:cxn ang="0">
                  <a:pos x="10" y="238"/>
                </a:cxn>
                <a:cxn ang="0">
                  <a:pos x="22" y="272"/>
                </a:cxn>
                <a:cxn ang="0">
                  <a:pos x="42" y="300"/>
                </a:cxn>
                <a:cxn ang="0">
                  <a:pos x="68" y="326"/>
                </a:cxn>
                <a:cxn ang="0">
                  <a:pos x="96" y="346"/>
                </a:cxn>
                <a:cxn ang="0">
                  <a:pos x="130" y="360"/>
                </a:cxn>
                <a:cxn ang="0">
                  <a:pos x="166" y="366"/>
                </a:cxn>
                <a:cxn ang="0">
                  <a:pos x="184" y="368"/>
                </a:cxn>
                <a:cxn ang="0">
                  <a:pos x="222" y="364"/>
                </a:cxn>
                <a:cxn ang="0">
                  <a:pos x="256" y="352"/>
                </a:cxn>
                <a:cxn ang="0">
                  <a:pos x="286" y="336"/>
                </a:cxn>
                <a:cxn ang="0">
                  <a:pos x="314" y="314"/>
                </a:cxn>
                <a:cxn ang="0">
                  <a:pos x="336" y="286"/>
                </a:cxn>
                <a:cxn ang="0">
                  <a:pos x="354" y="256"/>
                </a:cxn>
                <a:cxn ang="0">
                  <a:pos x="364" y="220"/>
                </a:cxn>
                <a:cxn ang="0">
                  <a:pos x="368" y="184"/>
                </a:cxn>
                <a:cxn ang="0">
                  <a:pos x="368" y="166"/>
                </a:cxn>
                <a:cxn ang="0">
                  <a:pos x="360" y="130"/>
                </a:cxn>
                <a:cxn ang="0">
                  <a:pos x="346" y="96"/>
                </a:cxn>
                <a:cxn ang="0">
                  <a:pos x="326" y="68"/>
                </a:cxn>
                <a:cxn ang="0">
                  <a:pos x="302" y="42"/>
                </a:cxn>
                <a:cxn ang="0">
                  <a:pos x="272" y="22"/>
                </a:cxn>
                <a:cxn ang="0">
                  <a:pos x="238" y="8"/>
                </a:cxn>
                <a:cxn ang="0">
                  <a:pos x="204" y="2"/>
                </a:cxn>
              </a:cxnLst>
              <a:rect l="0" t="0" r="r" b="b"/>
              <a:pathLst>
                <a:path w="368" h="368">
                  <a:moveTo>
                    <a:pt x="184" y="0"/>
                  </a:moveTo>
                  <a:lnTo>
                    <a:pt x="184" y="0"/>
                  </a:lnTo>
                  <a:lnTo>
                    <a:pt x="166" y="2"/>
                  </a:lnTo>
                  <a:lnTo>
                    <a:pt x="148" y="4"/>
                  </a:lnTo>
                  <a:lnTo>
                    <a:pt x="130" y="8"/>
                  </a:lnTo>
                  <a:lnTo>
                    <a:pt x="112" y="14"/>
                  </a:lnTo>
                  <a:lnTo>
                    <a:pt x="96" y="22"/>
                  </a:lnTo>
                  <a:lnTo>
                    <a:pt x="82" y="32"/>
                  </a:lnTo>
                  <a:lnTo>
                    <a:pt x="68" y="42"/>
                  </a:lnTo>
                  <a:lnTo>
                    <a:pt x="54" y="54"/>
                  </a:lnTo>
                  <a:lnTo>
                    <a:pt x="42" y="68"/>
                  </a:lnTo>
                  <a:lnTo>
                    <a:pt x="32" y="82"/>
                  </a:lnTo>
                  <a:lnTo>
                    <a:pt x="22" y="96"/>
                  </a:lnTo>
                  <a:lnTo>
                    <a:pt x="16" y="112"/>
                  </a:lnTo>
                  <a:lnTo>
                    <a:pt x="10" y="130"/>
                  </a:lnTo>
                  <a:lnTo>
                    <a:pt x="4" y="146"/>
                  </a:lnTo>
                  <a:lnTo>
                    <a:pt x="2" y="166"/>
                  </a:lnTo>
                  <a:lnTo>
                    <a:pt x="0" y="184"/>
                  </a:lnTo>
                  <a:lnTo>
                    <a:pt x="0" y="184"/>
                  </a:lnTo>
                  <a:lnTo>
                    <a:pt x="2" y="202"/>
                  </a:lnTo>
                  <a:lnTo>
                    <a:pt x="4" y="220"/>
                  </a:lnTo>
                  <a:lnTo>
                    <a:pt x="10" y="238"/>
                  </a:lnTo>
                  <a:lnTo>
                    <a:pt x="16" y="256"/>
                  </a:lnTo>
                  <a:lnTo>
                    <a:pt x="22" y="272"/>
                  </a:lnTo>
                  <a:lnTo>
                    <a:pt x="32" y="286"/>
                  </a:lnTo>
                  <a:lnTo>
                    <a:pt x="42" y="300"/>
                  </a:lnTo>
                  <a:lnTo>
                    <a:pt x="54" y="314"/>
                  </a:lnTo>
                  <a:lnTo>
                    <a:pt x="68" y="326"/>
                  </a:lnTo>
                  <a:lnTo>
                    <a:pt x="82" y="336"/>
                  </a:lnTo>
                  <a:lnTo>
                    <a:pt x="96" y="346"/>
                  </a:lnTo>
                  <a:lnTo>
                    <a:pt x="112" y="352"/>
                  </a:lnTo>
                  <a:lnTo>
                    <a:pt x="130" y="360"/>
                  </a:lnTo>
                  <a:lnTo>
                    <a:pt x="148" y="364"/>
                  </a:lnTo>
                  <a:lnTo>
                    <a:pt x="166" y="366"/>
                  </a:lnTo>
                  <a:lnTo>
                    <a:pt x="184" y="368"/>
                  </a:lnTo>
                  <a:lnTo>
                    <a:pt x="184" y="368"/>
                  </a:lnTo>
                  <a:lnTo>
                    <a:pt x="204" y="366"/>
                  </a:lnTo>
                  <a:lnTo>
                    <a:pt x="222" y="364"/>
                  </a:lnTo>
                  <a:lnTo>
                    <a:pt x="238" y="360"/>
                  </a:lnTo>
                  <a:lnTo>
                    <a:pt x="256" y="352"/>
                  </a:lnTo>
                  <a:lnTo>
                    <a:pt x="272" y="346"/>
                  </a:lnTo>
                  <a:lnTo>
                    <a:pt x="286" y="336"/>
                  </a:lnTo>
                  <a:lnTo>
                    <a:pt x="302" y="326"/>
                  </a:lnTo>
                  <a:lnTo>
                    <a:pt x="314" y="314"/>
                  </a:lnTo>
                  <a:lnTo>
                    <a:pt x="326" y="300"/>
                  </a:lnTo>
                  <a:lnTo>
                    <a:pt x="336" y="286"/>
                  </a:lnTo>
                  <a:lnTo>
                    <a:pt x="346" y="272"/>
                  </a:lnTo>
                  <a:lnTo>
                    <a:pt x="354" y="256"/>
                  </a:lnTo>
                  <a:lnTo>
                    <a:pt x="360" y="238"/>
                  </a:lnTo>
                  <a:lnTo>
                    <a:pt x="364" y="220"/>
                  </a:lnTo>
                  <a:lnTo>
                    <a:pt x="368" y="202"/>
                  </a:lnTo>
                  <a:lnTo>
                    <a:pt x="368" y="184"/>
                  </a:lnTo>
                  <a:lnTo>
                    <a:pt x="368" y="184"/>
                  </a:lnTo>
                  <a:lnTo>
                    <a:pt x="368" y="166"/>
                  </a:lnTo>
                  <a:lnTo>
                    <a:pt x="364" y="146"/>
                  </a:lnTo>
                  <a:lnTo>
                    <a:pt x="360" y="130"/>
                  </a:lnTo>
                  <a:lnTo>
                    <a:pt x="354" y="112"/>
                  </a:lnTo>
                  <a:lnTo>
                    <a:pt x="346" y="96"/>
                  </a:lnTo>
                  <a:lnTo>
                    <a:pt x="336" y="82"/>
                  </a:lnTo>
                  <a:lnTo>
                    <a:pt x="326" y="68"/>
                  </a:lnTo>
                  <a:lnTo>
                    <a:pt x="314" y="54"/>
                  </a:lnTo>
                  <a:lnTo>
                    <a:pt x="302" y="42"/>
                  </a:lnTo>
                  <a:lnTo>
                    <a:pt x="286" y="32"/>
                  </a:lnTo>
                  <a:lnTo>
                    <a:pt x="272" y="22"/>
                  </a:lnTo>
                  <a:lnTo>
                    <a:pt x="256" y="14"/>
                  </a:lnTo>
                  <a:lnTo>
                    <a:pt x="238" y="8"/>
                  </a:lnTo>
                  <a:lnTo>
                    <a:pt x="222" y="4"/>
                  </a:lnTo>
                  <a:lnTo>
                    <a:pt x="204" y="2"/>
                  </a:lnTo>
                  <a:lnTo>
                    <a:pt x="184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511" name="Freeform 264"/>
            <p:cNvSpPr>
              <a:spLocks/>
            </p:cNvSpPr>
            <p:nvPr/>
          </p:nvSpPr>
          <p:spPr bwMode="auto">
            <a:xfrm>
              <a:off x="8264313" y="4735339"/>
              <a:ext cx="167418" cy="167418"/>
            </a:xfrm>
            <a:custGeom>
              <a:avLst/>
              <a:gdLst/>
              <a:ahLst/>
              <a:cxnLst>
                <a:cxn ang="0">
                  <a:pos x="74" y="0"/>
                </a:cxn>
                <a:cxn ang="0">
                  <a:pos x="74" y="0"/>
                </a:cxn>
                <a:cxn ang="0">
                  <a:pos x="58" y="2"/>
                </a:cxn>
                <a:cxn ang="0">
                  <a:pos x="44" y="6"/>
                </a:cxn>
                <a:cxn ang="0">
                  <a:pos x="32" y="14"/>
                </a:cxn>
                <a:cxn ang="0">
                  <a:pos x="22" y="22"/>
                </a:cxn>
                <a:cxn ang="0">
                  <a:pos x="14" y="32"/>
                </a:cxn>
                <a:cxn ang="0">
                  <a:pos x="6" y="46"/>
                </a:cxn>
                <a:cxn ang="0">
                  <a:pos x="2" y="58"/>
                </a:cxn>
                <a:cxn ang="0">
                  <a:pos x="0" y="74"/>
                </a:cxn>
                <a:cxn ang="0">
                  <a:pos x="0" y="74"/>
                </a:cxn>
                <a:cxn ang="0">
                  <a:pos x="2" y="88"/>
                </a:cxn>
                <a:cxn ang="0">
                  <a:pos x="6" y="102"/>
                </a:cxn>
                <a:cxn ang="0">
                  <a:pos x="14" y="114"/>
                </a:cxn>
                <a:cxn ang="0">
                  <a:pos x="22" y="124"/>
                </a:cxn>
                <a:cxn ang="0">
                  <a:pos x="32" y="134"/>
                </a:cxn>
                <a:cxn ang="0">
                  <a:pos x="44" y="140"/>
                </a:cxn>
                <a:cxn ang="0">
                  <a:pos x="58" y="144"/>
                </a:cxn>
                <a:cxn ang="0">
                  <a:pos x="74" y="146"/>
                </a:cxn>
                <a:cxn ang="0">
                  <a:pos x="74" y="146"/>
                </a:cxn>
                <a:cxn ang="0">
                  <a:pos x="88" y="144"/>
                </a:cxn>
                <a:cxn ang="0">
                  <a:pos x="102" y="140"/>
                </a:cxn>
                <a:cxn ang="0">
                  <a:pos x="114" y="134"/>
                </a:cxn>
                <a:cxn ang="0">
                  <a:pos x="124" y="124"/>
                </a:cxn>
                <a:cxn ang="0">
                  <a:pos x="134" y="114"/>
                </a:cxn>
                <a:cxn ang="0">
                  <a:pos x="140" y="102"/>
                </a:cxn>
                <a:cxn ang="0">
                  <a:pos x="144" y="88"/>
                </a:cxn>
                <a:cxn ang="0">
                  <a:pos x="146" y="74"/>
                </a:cxn>
                <a:cxn ang="0">
                  <a:pos x="146" y="74"/>
                </a:cxn>
                <a:cxn ang="0">
                  <a:pos x="144" y="58"/>
                </a:cxn>
                <a:cxn ang="0">
                  <a:pos x="140" y="46"/>
                </a:cxn>
                <a:cxn ang="0">
                  <a:pos x="134" y="32"/>
                </a:cxn>
                <a:cxn ang="0">
                  <a:pos x="124" y="22"/>
                </a:cxn>
                <a:cxn ang="0">
                  <a:pos x="114" y="14"/>
                </a:cxn>
                <a:cxn ang="0">
                  <a:pos x="102" y="6"/>
                </a:cxn>
                <a:cxn ang="0">
                  <a:pos x="88" y="2"/>
                </a:cxn>
                <a:cxn ang="0">
                  <a:pos x="74" y="0"/>
                </a:cxn>
              </a:cxnLst>
              <a:rect l="0" t="0" r="r" b="b"/>
              <a:pathLst>
                <a:path w="146" h="146">
                  <a:moveTo>
                    <a:pt x="74" y="0"/>
                  </a:moveTo>
                  <a:lnTo>
                    <a:pt x="74" y="0"/>
                  </a:lnTo>
                  <a:lnTo>
                    <a:pt x="58" y="2"/>
                  </a:lnTo>
                  <a:lnTo>
                    <a:pt x="44" y="6"/>
                  </a:lnTo>
                  <a:lnTo>
                    <a:pt x="32" y="14"/>
                  </a:lnTo>
                  <a:lnTo>
                    <a:pt x="22" y="22"/>
                  </a:lnTo>
                  <a:lnTo>
                    <a:pt x="14" y="32"/>
                  </a:lnTo>
                  <a:lnTo>
                    <a:pt x="6" y="46"/>
                  </a:lnTo>
                  <a:lnTo>
                    <a:pt x="2" y="58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2" y="88"/>
                  </a:lnTo>
                  <a:lnTo>
                    <a:pt x="6" y="102"/>
                  </a:lnTo>
                  <a:lnTo>
                    <a:pt x="14" y="114"/>
                  </a:lnTo>
                  <a:lnTo>
                    <a:pt x="22" y="124"/>
                  </a:lnTo>
                  <a:lnTo>
                    <a:pt x="32" y="134"/>
                  </a:lnTo>
                  <a:lnTo>
                    <a:pt x="44" y="140"/>
                  </a:lnTo>
                  <a:lnTo>
                    <a:pt x="58" y="144"/>
                  </a:lnTo>
                  <a:lnTo>
                    <a:pt x="74" y="146"/>
                  </a:lnTo>
                  <a:lnTo>
                    <a:pt x="74" y="146"/>
                  </a:lnTo>
                  <a:lnTo>
                    <a:pt x="88" y="144"/>
                  </a:lnTo>
                  <a:lnTo>
                    <a:pt x="102" y="140"/>
                  </a:lnTo>
                  <a:lnTo>
                    <a:pt x="114" y="134"/>
                  </a:lnTo>
                  <a:lnTo>
                    <a:pt x="124" y="124"/>
                  </a:lnTo>
                  <a:lnTo>
                    <a:pt x="134" y="114"/>
                  </a:lnTo>
                  <a:lnTo>
                    <a:pt x="140" y="102"/>
                  </a:lnTo>
                  <a:lnTo>
                    <a:pt x="144" y="88"/>
                  </a:lnTo>
                  <a:lnTo>
                    <a:pt x="146" y="74"/>
                  </a:lnTo>
                  <a:lnTo>
                    <a:pt x="146" y="74"/>
                  </a:lnTo>
                  <a:lnTo>
                    <a:pt x="144" y="58"/>
                  </a:lnTo>
                  <a:lnTo>
                    <a:pt x="140" y="46"/>
                  </a:lnTo>
                  <a:lnTo>
                    <a:pt x="134" y="32"/>
                  </a:lnTo>
                  <a:lnTo>
                    <a:pt x="124" y="22"/>
                  </a:lnTo>
                  <a:lnTo>
                    <a:pt x="114" y="14"/>
                  </a:lnTo>
                  <a:lnTo>
                    <a:pt x="102" y="6"/>
                  </a:lnTo>
                  <a:lnTo>
                    <a:pt x="88" y="2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512" name="Freeform 265"/>
            <p:cNvSpPr>
              <a:spLocks/>
            </p:cNvSpPr>
            <p:nvPr/>
          </p:nvSpPr>
          <p:spPr bwMode="auto">
            <a:xfrm>
              <a:off x="8264313" y="4735339"/>
              <a:ext cx="167418" cy="167418"/>
            </a:xfrm>
            <a:custGeom>
              <a:avLst/>
              <a:gdLst/>
              <a:ahLst/>
              <a:cxnLst>
                <a:cxn ang="0">
                  <a:pos x="74" y="0"/>
                </a:cxn>
                <a:cxn ang="0">
                  <a:pos x="74" y="0"/>
                </a:cxn>
                <a:cxn ang="0">
                  <a:pos x="58" y="2"/>
                </a:cxn>
                <a:cxn ang="0">
                  <a:pos x="44" y="6"/>
                </a:cxn>
                <a:cxn ang="0">
                  <a:pos x="32" y="14"/>
                </a:cxn>
                <a:cxn ang="0">
                  <a:pos x="22" y="22"/>
                </a:cxn>
                <a:cxn ang="0">
                  <a:pos x="14" y="32"/>
                </a:cxn>
                <a:cxn ang="0">
                  <a:pos x="6" y="46"/>
                </a:cxn>
                <a:cxn ang="0">
                  <a:pos x="2" y="58"/>
                </a:cxn>
                <a:cxn ang="0">
                  <a:pos x="0" y="74"/>
                </a:cxn>
                <a:cxn ang="0">
                  <a:pos x="0" y="74"/>
                </a:cxn>
                <a:cxn ang="0">
                  <a:pos x="2" y="88"/>
                </a:cxn>
                <a:cxn ang="0">
                  <a:pos x="6" y="102"/>
                </a:cxn>
                <a:cxn ang="0">
                  <a:pos x="14" y="114"/>
                </a:cxn>
                <a:cxn ang="0">
                  <a:pos x="22" y="124"/>
                </a:cxn>
                <a:cxn ang="0">
                  <a:pos x="32" y="134"/>
                </a:cxn>
                <a:cxn ang="0">
                  <a:pos x="44" y="140"/>
                </a:cxn>
                <a:cxn ang="0">
                  <a:pos x="58" y="144"/>
                </a:cxn>
                <a:cxn ang="0">
                  <a:pos x="74" y="146"/>
                </a:cxn>
                <a:cxn ang="0">
                  <a:pos x="74" y="146"/>
                </a:cxn>
                <a:cxn ang="0">
                  <a:pos x="88" y="144"/>
                </a:cxn>
                <a:cxn ang="0">
                  <a:pos x="102" y="140"/>
                </a:cxn>
                <a:cxn ang="0">
                  <a:pos x="114" y="134"/>
                </a:cxn>
                <a:cxn ang="0">
                  <a:pos x="124" y="124"/>
                </a:cxn>
                <a:cxn ang="0">
                  <a:pos x="134" y="114"/>
                </a:cxn>
                <a:cxn ang="0">
                  <a:pos x="140" y="102"/>
                </a:cxn>
                <a:cxn ang="0">
                  <a:pos x="144" y="88"/>
                </a:cxn>
                <a:cxn ang="0">
                  <a:pos x="146" y="74"/>
                </a:cxn>
                <a:cxn ang="0">
                  <a:pos x="146" y="74"/>
                </a:cxn>
                <a:cxn ang="0">
                  <a:pos x="144" y="58"/>
                </a:cxn>
                <a:cxn ang="0">
                  <a:pos x="140" y="46"/>
                </a:cxn>
                <a:cxn ang="0">
                  <a:pos x="134" y="32"/>
                </a:cxn>
                <a:cxn ang="0">
                  <a:pos x="124" y="22"/>
                </a:cxn>
                <a:cxn ang="0">
                  <a:pos x="114" y="14"/>
                </a:cxn>
                <a:cxn ang="0">
                  <a:pos x="102" y="6"/>
                </a:cxn>
                <a:cxn ang="0">
                  <a:pos x="88" y="2"/>
                </a:cxn>
                <a:cxn ang="0">
                  <a:pos x="74" y="0"/>
                </a:cxn>
              </a:cxnLst>
              <a:rect l="0" t="0" r="r" b="b"/>
              <a:pathLst>
                <a:path w="146" h="146">
                  <a:moveTo>
                    <a:pt x="74" y="0"/>
                  </a:moveTo>
                  <a:lnTo>
                    <a:pt x="74" y="0"/>
                  </a:lnTo>
                  <a:lnTo>
                    <a:pt x="58" y="2"/>
                  </a:lnTo>
                  <a:lnTo>
                    <a:pt x="44" y="6"/>
                  </a:lnTo>
                  <a:lnTo>
                    <a:pt x="32" y="14"/>
                  </a:lnTo>
                  <a:lnTo>
                    <a:pt x="22" y="22"/>
                  </a:lnTo>
                  <a:lnTo>
                    <a:pt x="14" y="32"/>
                  </a:lnTo>
                  <a:lnTo>
                    <a:pt x="6" y="46"/>
                  </a:lnTo>
                  <a:lnTo>
                    <a:pt x="2" y="58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2" y="88"/>
                  </a:lnTo>
                  <a:lnTo>
                    <a:pt x="6" y="102"/>
                  </a:lnTo>
                  <a:lnTo>
                    <a:pt x="14" y="114"/>
                  </a:lnTo>
                  <a:lnTo>
                    <a:pt x="22" y="124"/>
                  </a:lnTo>
                  <a:lnTo>
                    <a:pt x="32" y="134"/>
                  </a:lnTo>
                  <a:lnTo>
                    <a:pt x="44" y="140"/>
                  </a:lnTo>
                  <a:lnTo>
                    <a:pt x="58" y="144"/>
                  </a:lnTo>
                  <a:lnTo>
                    <a:pt x="74" y="146"/>
                  </a:lnTo>
                  <a:lnTo>
                    <a:pt x="74" y="146"/>
                  </a:lnTo>
                  <a:lnTo>
                    <a:pt x="88" y="144"/>
                  </a:lnTo>
                  <a:lnTo>
                    <a:pt x="102" y="140"/>
                  </a:lnTo>
                  <a:lnTo>
                    <a:pt x="114" y="134"/>
                  </a:lnTo>
                  <a:lnTo>
                    <a:pt x="124" y="124"/>
                  </a:lnTo>
                  <a:lnTo>
                    <a:pt x="134" y="114"/>
                  </a:lnTo>
                  <a:lnTo>
                    <a:pt x="140" y="102"/>
                  </a:lnTo>
                  <a:lnTo>
                    <a:pt x="144" y="88"/>
                  </a:lnTo>
                  <a:lnTo>
                    <a:pt x="146" y="74"/>
                  </a:lnTo>
                  <a:lnTo>
                    <a:pt x="146" y="74"/>
                  </a:lnTo>
                  <a:lnTo>
                    <a:pt x="144" y="58"/>
                  </a:lnTo>
                  <a:lnTo>
                    <a:pt x="140" y="46"/>
                  </a:lnTo>
                  <a:lnTo>
                    <a:pt x="134" y="32"/>
                  </a:lnTo>
                  <a:lnTo>
                    <a:pt x="124" y="22"/>
                  </a:lnTo>
                  <a:lnTo>
                    <a:pt x="114" y="14"/>
                  </a:lnTo>
                  <a:lnTo>
                    <a:pt x="102" y="6"/>
                  </a:lnTo>
                  <a:lnTo>
                    <a:pt x="88" y="2"/>
                  </a:lnTo>
                  <a:lnTo>
                    <a:pt x="74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513" name="Freeform 266"/>
            <p:cNvSpPr>
              <a:spLocks/>
            </p:cNvSpPr>
            <p:nvPr/>
          </p:nvSpPr>
          <p:spPr bwMode="auto">
            <a:xfrm>
              <a:off x="7094682" y="4962385"/>
              <a:ext cx="107789" cy="105496"/>
            </a:xfrm>
            <a:custGeom>
              <a:avLst/>
              <a:gdLst/>
              <a:ahLst/>
              <a:cxnLst>
                <a:cxn ang="0">
                  <a:pos x="46" y="0"/>
                </a:cxn>
                <a:cxn ang="0">
                  <a:pos x="46" y="0"/>
                </a:cxn>
                <a:cxn ang="0">
                  <a:pos x="38" y="0"/>
                </a:cxn>
                <a:cxn ang="0">
                  <a:pos x="28" y="4"/>
                </a:cxn>
                <a:cxn ang="0">
                  <a:pos x="20" y="8"/>
                </a:cxn>
                <a:cxn ang="0">
                  <a:pos x="14" y="14"/>
                </a:cxn>
                <a:cxn ang="0">
                  <a:pos x="8" y="20"/>
                </a:cxn>
                <a:cxn ang="0">
                  <a:pos x="4" y="28"/>
                </a:cxn>
                <a:cxn ang="0">
                  <a:pos x="0" y="36"/>
                </a:cxn>
                <a:cxn ang="0">
                  <a:pos x="0" y="46"/>
                </a:cxn>
                <a:cxn ang="0">
                  <a:pos x="0" y="46"/>
                </a:cxn>
                <a:cxn ang="0">
                  <a:pos x="0" y="56"/>
                </a:cxn>
                <a:cxn ang="0">
                  <a:pos x="4" y="64"/>
                </a:cxn>
                <a:cxn ang="0">
                  <a:pos x="8" y="72"/>
                </a:cxn>
                <a:cxn ang="0">
                  <a:pos x="14" y="80"/>
                </a:cxn>
                <a:cxn ang="0">
                  <a:pos x="20" y="84"/>
                </a:cxn>
                <a:cxn ang="0">
                  <a:pos x="28" y="90"/>
                </a:cxn>
                <a:cxn ang="0">
                  <a:pos x="38" y="92"/>
                </a:cxn>
                <a:cxn ang="0">
                  <a:pos x="46" y="92"/>
                </a:cxn>
                <a:cxn ang="0">
                  <a:pos x="46" y="92"/>
                </a:cxn>
                <a:cxn ang="0">
                  <a:pos x="56" y="92"/>
                </a:cxn>
                <a:cxn ang="0">
                  <a:pos x="64" y="90"/>
                </a:cxn>
                <a:cxn ang="0">
                  <a:pos x="72" y="84"/>
                </a:cxn>
                <a:cxn ang="0">
                  <a:pos x="80" y="80"/>
                </a:cxn>
                <a:cxn ang="0">
                  <a:pos x="86" y="72"/>
                </a:cxn>
                <a:cxn ang="0">
                  <a:pos x="90" y="64"/>
                </a:cxn>
                <a:cxn ang="0">
                  <a:pos x="92" y="56"/>
                </a:cxn>
                <a:cxn ang="0">
                  <a:pos x="94" y="46"/>
                </a:cxn>
                <a:cxn ang="0">
                  <a:pos x="94" y="46"/>
                </a:cxn>
                <a:cxn ang="0">
                  <a:pos x="92" y="36"/>
                </a:cxn>
                <a:cxn ang="0">
                  <a:pos x="90" y="28"/>
                </a:cxn>
                <a:cxn ang="0">
                  <a:pos x="86" y="20"/>
                </a:cxn>
                <a:cxn ang="0">
                  <a:pos x="80" y="14"/>
                </a:cxn>
                <a:cxn ang="0">
                  <a:pos x="72" y="8"/>
                </a:cxn>
                <a:cxn ang="0">
                  <a:pos x="64" y="4"/>
                </a:cxn>
                <a:cxn ang="0">
                  <a:pos x="56" y="0"/>
                </a:cxn>
                <a:cxn ang="0">
                  <a:pos x="46" y="0"/>
                </a:cxn>
              </a:cxnLst>
              <a:rect l="0" t="0" r="r" b="b"/>
              <a:pathLst>
                <a:path w="94" h="92">
                  <a:moveTo>
                    <a:pt x="46" y="0"/>
                  </a:moveTo>
                  <a:lnTo>
                    <a:pt x="46" y="0"/>
                  </a:lnTo>
                  <a:lnTo>
                    <a:pt x="38" y="0"/>
                  </a:lnTo>
                  <a:lnTo>
                    <a:pt x="28" y="4"/>
                  </a:lnTo>
                  <a:lnTo>
                    <a:pt x="20" y="8"/>
                  </a:lnTo>
                  <a:lnTo>
                    <a:pt x="14" y="14"/>
                  </a:lnTo>
                  <a:lnTo>
                    <a:pt x="8" y="20"/>
                  </a:lnTo>
                  <a:lnTo>
                    <a:pt x="4" y="28"/>
                  </a:lnTo>
                  <a:lnTo>
                    <a:pt x="0" y="36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56"/>
                  </a:lnTo>
                  <a:lnTo>
                    <a:pt x="4" y="64"/>
                  </a:lnTo>
                  <a:lnTo>
                    <a:pt x="8" y="72"/>
                  </a:lnTo>
                  <a:lnTo>
                    <a:pt x="14" y="80"/>
                  </a:lnTo>
                  <a:lnTo>
                    <a:pt x="20" y="84"/>
                  </a:lnTo>
                  <a:lnTo>
                    <a:pt x="28" y="90"/>
                  </a:lnTo>
                  <a:lnTo>
                    <a:pt x="38" y="92"/>
                  </a:lnTo>
                  <a:lnTo>
                    <a:pt x="46" y="92"/>
                  </a:lnTo>
                  <a:lnTo>
                    <a:pt x="46" y="92"/>
                  </a:lnTo>
                  <a:lnTo>
                    <a:pt x="56" y="92"/>
                  </a:lnTo>
                  <a:lnTo>
                    <a:pt x="64" y="90"/>
                  </a:lnTo>
                  <a:lnTo>
                    <a:pt x="72" y="84"/>
                  </a:lnTo>
                  <a:lnTo>
                    <a:pt x="80" y="80"/>
                  </a:lnTo>
                  <a:lnTo>
                    <a:pt x="86" y="72"/>
                  </a:lnTo>
                  <a:lnTo>
                    <a:pt x="90" y="64"/>
                  </a:lnTo>
                  <a:lnTo>
                    <a:pt x="92" y="56"/>
                  </a:lnTo>
                  <a:lnTo>
                    <a:pt x="94" y="46"/>
                  </a:lnTo>
                  <a:lnTo>
                    <a:pt x="94" y="46"/>
                  </a:lnTo>
                  <a:lnTo>
                    <a:pt x="92" y="36"/>
                  </a:lnTo>
                  <a:lnTo>
                    <a:pt x="90" y="28"/>
                  </a:lnTo>
                  <a:lnTo>
                    <a:pt x="86" y="20"/>
                  </a:lnTo>
                  <a:lnTo>
                    <a:pt x="80" y="14"/>
                  </a:lnTo>
                  <a:lnTo>
                    <a:pt x="72" y="8"/>
                  </a:lnTo>
                  <a:lnTo>
                    <a:pt x="64" y="4"/>
                  </a:lnTo>
                  <a:lnTo>
                    <a:pt x="56" y="0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514" name="Freeform 267"/>
            <p:cNvSpPr>
              <a:spLocks/>
            </p:cNvSpPr>
            <p:nvPr/>
          </p:nvSpPr>
          <p:spPr bwMode="auto">
            <a:xfrm>
              <a:off x="7094682" y="4962385"/>
              <a:ext cx="107789" cy="105496"/>
            </a:xfrm>
            <a:custGeom>
              <a:avLst/>
              <a:gdLst/>
              <a:ahLst/>
              <a:cxnLst>
                <a:cxn ang="0">
                  <a:pos x="46" y="0"/>
                </a:cxn>
                <a:cxn ang="0">
                  <a:pos x="46" y="0"/>
                </a:cxn>
                <a:cxn ang="0">
                  <a:pos x="38" y="0"/>
                </a:cxn>
                <a:cxn ang="0">
                  <a:pos x="28" y="4"/>
                </a:cxn>
                <a:cxn ang="0">
                  <a:pos x="20" y="8"/>
                </a:cxn>
                <a:cxn ang="0">
                  <a:pos x="14" y="14"/>
                </a:cxn>
                <a:cxn ang="0">
                  <a:pos x="8" y="20"/>
                </a:cxn>
                <a:cxn ang="0">
                  <a:pos x="4" y="28"/>
                </a:cxn>
                <a:cxn ang="0">
                  <a:pos x="0" y="36"/>
                </a:cxn>
                <a:cxn ang="0">
                  <a:pos x="0" y="46"/>
                </a:cxn>
                <a:cxn ang="0">
                  <a:pos x="0" y="46"/>
                </a:cxn>
                <a:cxn ang="0">
                  <a:pos x="0" y="56"/>
                </a:cxn>
                <a:cxn ang="0">
                  <a:pos x="4" y="64"/>
                </a:cxn>
                <a:cxn ang="0">
                  <a:pos x="8" y="72"/>
                </a:cxn>
                <a:cxn ang="0">
                  <a:pos x="14" y="80"/>
                </a:cxn>
                <a:cxn ang="0">
                  <a:pos x="20" y="84"/>
                </a:cxn>
                <a:cxn ang="0">
                  <a:pos x="28" y="90"/>
                </a:cxn>
                <a:cxn ang="0">
                  <a:pos x="38" y="92"/>
                </a:cxn>
                <a:cxn ang="0">
                  <a:pos x="46" y="92"/>
                </a:cxn>
                <a:cxn ang="0">
                  <a:pos x="46" y="92"/>
                </a:cxn>
                <a:cxn ang="0">
                  <a:pos x="56" y="92"/>
                </a:cxn>
                <a:cxn ang="0">
                  <a:pos x="64" y="90"/>
                </a:cxn>
                <a:cxn ang="0">
                  <a:pos x="72" y="84"/>
                </a:cxn>
                <a:cxn ang="0">
                  <a:pos x="80" y="80"/>
                </a:cxn>
                <a:cxn ang="0">
                  <a:pos x="86" y="72"/>
                </a:cxn>
                <a:cxn ang="0">
                  <a:pos x="90" y="64"/>
                </a:cxn>
                <a:cxn ang="0">
                  <a:pos x="92" y="56"/>
                </a:cxn>
                <a:cxn ang="0">
                  <a:pos x="94" y="46"/>
                </a:cxn>
                <a:cxn ang="0">
                  <a:pos x="94" y="46"/>
                </a:cxn>
                <a:cxn ang="0">
                  <a:pos x="92" y="36"/>
                </a:cxn>
                <a:cxn ang="0">
                  <a:pos x="90" y="28"/>
                </a:cxn>
                <a:cxn ang="0">
                  <a:pos x="86" y="20"/>
                </a:cxn>
                <a:cxn ang="0">
                  <a:pos x="80" y="14"/>
                </a:cxn>
                <a:cxn ang="0">
                  <a:pos x="72" y="8"/>
                </a:cxn>
                <a:cxn ang="0">
                  <a:pos x="64" y="4"/>
                </a:cxn>
                <a:cxn ang="0">
                  <a:pos x="56" y="0"/>
                </a:cxn>
                <a:cxn ang="0">
                  <a:pos x="46" y="0"/>
                </a:cxn>
              </a:cxnLst>
              <a:rect l="0" t="0" r="r" b="b"/>
              <a:pathLst>
                <a:path w="94" h="92">
                  <a:moveTo>
                    <a:pt x="46" y="0"/>
                  </a:moveTo>
                  <a:lnTo>
                    <a:pt x="46" y="0"/>
                  </a:lnTo>
                  <a:lnTo>
                    <a:pt x="38" y="0"/>
                  </a:lnTo>
                  <a:lnTo>
                    <a:pt x="28" y="4"/>
                  </a:lnTo>
                  <a:lnTo>
                    <a:pt x="20" y="8"/>
                  </a:lnTo>
                  <a:lnTo>
                    <a:pt x="14" y="14"/>
                  </a:lnTo>
                  <a:lnTo>
                    <a:pt x="8" y="20"/>
                  </a:lnTo>
                  <a:lnTo>
                    <a:pt x="4" y="28"/>
                  </a:lnTo>
                  <a:lnTo>
                    <a:pt x="0" y="36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56"/>
                  </a:lnTo>
                  <a:lnTo>
                    <a:pt x="4" y="64"/>
                  </a:lnTo>
                  <a:lnTo>
                    <a:pt x="8" y="72"/>
                  </a:lnTo>
                  <a:lnTo>
                    <a:pt x="14" y="80"/>
                  </a:lnTo>
                  <a:lnTo>
                    <a:pt x="20" y="84"/>
                  </a:lnTo>
                  <a:lnTo>
                    <a:pt x="28" y="90"/>
                  </a:lnTo>
                  <a:lnTo>
                    <a:pt x="38" y="92"/>
                  </a:lnTo>
                  <a:lnTo>
                    <a:pt x="46" y="92"/>
                  </a:lnTo>
                  <a:lnTo>
                    <a:pt x="46" y="92"/>
                  </a:lnTo>
                  <a:lnTo>
                    <a:pt x="56" y="92"/>
                  </a:lnTo>
                  <a:lnTo>
                    <a:pt x="64" y="90"/>
                  </a:lnTo>
                  <a:lnTo>
                    <a:pt x="72" y="84"/>
                  </a:lnTo>
                  <a:lnTo>
                    <a:pt x="80" y="80"/>
                  </a:lnTo>
                  <a:lnTo>
                    <a:pt x="86" y="72"/>
                  </a:lnTo>
                  <a:lnTo>
                    <a:pt x="90" y="64"/>
                  </a:lnTo>
                  <a:lnTo>
                    <a:pt x="92" y="56"/>
                  </a:lnTo>
                  <a:lnTo>
                    <a:pt x="94" y="46"/>
                  </a:lnTo>
                  <a:lnTo>
                    <a:pt x="94" y="46"/>
                  </a:lnTo>
                  <a:lnTo>
                    <a:pt x="92" y="36"/>
                  </a:lnTo>
                  <a:lnTo>
                    <a:pt x="90" y="28"/>
                  </a:lnTo>
                  <a:lnTo>
                    <a:pt x="86" y="20"/>
                  </a:lnTo>
                  <a:lnTo>
                    <a:pt x="80" y="14"/>
                  </a:lnTo>
                  <a:lnTo>
                    <a:pt x="72" y="8"/>
                  </a:lnTo>
                  <a:lnTo>
                    <a:pt x="64" y="4"/>
                  </a:lnTo>
                  <a:lnTo>
                    <a:pt x="56" y="0"/>
                  </a:lnTo>
                  <a:lnTo>
                    <a:pt x="46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515" name="Freeform 269"/>
            <p:cNvSpPr>
              <a:spLocks/>
            </p:cNvSpPr>
            <p:nvPr/>
          </p:nvSpPr>
          <p:spPr bwMode="auto">
            <a:xfrm>
              <a:off x="8227618" y="5996705"/>
              <a:ext cx="311902" cy="311902"/>
            </a:xfrm>
            <a:custGeom>
              <a:avLst/>
              <a:gdLst/>
              <a:ahLst/>
              <a:cxnLst>
                <a:cxn ang="0">
                  <a:pos x="136" y="0"/>
                </a:cxn>
                <a:cxn ang="0">
                  <a:pos x="108" y="4"/>
                </a:cxn>
                <a:cxn ang="0">
                  <a:pos x="84" y="12"/>
                </a:cxn>
                <a:cxn ang="0">
                  <a:pos x="60" y="24"/>
                </a:cxn>
                <a:cxn ang="0">
                  <a:pos x="40" y="40"/>
                </a:cxn>
                <a:cxn ang="0">
                  <a:pos x="24" y="60"/>
                </a:cxn>
                <a:cxn ang="0">
                  <a:pos x="10" y="84"/>
                </a:cxn>
                <a:cxn ang="0">
                  <a:pos x="2" y="110"/>
                </a:cxn>
                <a:cxn ang="0">
                  <a:pos x="0" y="136"/>
                </a:cxn>
                <a:cxn ang="0">
                  <a:pos x="0" y="150"/>
                </a:cxn>
                <a:cxn ang="0">
                  <a:pos x="6" y="178"/>
                </a:cxn>
                <a:cxn ang="0">
                  <a:pos x="16" y="202"/>
                </a:cxn>
                <a:cxn ang="0">
                  <a:pos x="32" y="224"/>
                </a:cxn>
                <a:cxn ang="0">
                  <a:pos x="50" y="242"/>
                </a:cxn>
                <a:cxn ang="0">
                  <a:pos x="72" y="256"/>
                </a:cxn>
                <a:cxn ang="0">
                  <a:pos x="96" y="266"/>
                </a:cxn>
                <a:cxn ang="0">
                  <a:pos x="122" y="272"/>
                </a:cxn>
                <a:cxn ang="0">
                  <a:pos x="136" y="272"/>
                </a:cxn>
                <a:cxn ang="0">
                  <a:pos x="164" y="270"/>
                </a:cxn>
                <a:cxn ang="0">
                  <a:pos x="190" y="262"/>
                </a:cxn>
                <a:cxn ang="0">
                  <a:pos x="212" y="250"/>
                </a:cxn>
                <a:cxn ang="0">
                  <a:pos x="232" y="234"/>
                </a:cxn>
                <a:cxn ang="0">
                  <a:pos x="248" y="212"/>
                </a:cxn>
                <a:cxn ang="0">
                  <a:pos x="262" y="190"/>
                </a:cxn>
                <a:cxn ang="0">
                  <a:pos x="270" y="164"/>
                </a:cxn>
                <a:cxn ang="0">
                  <a:pos x="272" y="136"/>
                </a:cxn>
                <a:cxn ang="0">
                  <a:pos x="272" y="122"/>
                </a:cxn>
                <a:cxn ang="0">
                  <a:pos x="266" y="96"/>
                </a:cxn>
                <a:cxn ang="0">
                  <a:pos x="256" y="72"/>
                </a:cxn>
                <a:cxn ang="0">
                  <a:pos x="242" y="50"/>
                </a:cxn>
                <a:cxn ang="0">
                  <a:pos x="222" y="32"/>
                </a:cxn>
                <a:cxn ang="0">
                  <a:pos x="200" y="18"/>
                </a:cxn>
                <a:cxn ang="0">
                  <a:pos x="176" y="8"/>
                </a:cxn>
                <a:cxn ang="0">
                  <a:pos x="150" y="2"/>
                </a:cxn>
              </a:cxnLst>
              <a:rect l="0" t="0" r="r" b="b"/>
              <a:pathLst>
                <a:path w="272" h="272">
                  <a:moveTo>
                    <a:pt x="136" y="0"/>
                  </a:moveTo>
                  <a:lnTo>
                    <a:pt x="136" y="0"/>
                  </a:lnTo>
                  <a:lnTo>
                    <a:pt x="122" y="2"/>
                  </a:lnTo>
                  <a:lnTo>
                    <a:pt x="108" y="4"/>
                  </a:lnTo>
                  <a:lnTo>
                    <a:pt x="96" y="8"/>
                  </a:lnTo>
                  <a:lnTo>
                    <a:pt x="84" y="12"/>
                  </a:lnTo>
                  <a:lnTo>
                    <a:pt x="72" y="18"/>
                  </a:lnTo>
                  <a:lnTo>
                    <a:pt x="60" y="24"/>
                  </a:lnTo>
                  <a:lnTo>
                    <a:pt x="50" y="32"/>
                  </a:lnTo>
                  <a:lnTo>
                    <a:pt x="40" y="40"/>
                  </a:lnTo>
                  <a:lnTo>
                    <a:pt x="32" y="50"/>
                  </a:lnTo>
                  <a:lnTo>
                    <a:pt x="24" y="60"/>
                  </a:lnTo>
                  <a:lnTo>
                    <a:pt x="16" y="72"/>
                  </a:lnTo>
                  <a:lnTo>
                    <a:pt x="10" y="84"/>
                  </a:lnTo>
                  <a:lnTo>
                    <a:pt x="6" y="96"/>
                  </a:lnTo>
                  <a:lnTo>
                    <a:pt x="2" y="110"/>
                  </a:lnTo>
                  <a:lnTo>
                    <a:pt x="0" y="122"/>
                  </a:lnTo>
                  <a:lnTo>
                    <a:pt x="0" y="136"/>
                  </a:lnTo>
                  <a:lnTo>
                    <a:pt x="0" y="136"/>
                  </a:lnTo>
                  <a:lnTo>
                    <a:pt x="0" y="150"/>
                  </a:lnTo>
                  <a:lnTo>
                    <a:pt x="2" y="164"/>
                  </a:lnTo>
                  <a:lnTo>
                    <a:pt x="6" y="178"/>
                  </a:lnTo>
                  <a:lnTo>
                    <a:pt x="10" y="190"/>
                  </a:lnTo>
                  <a:lnTo>
                    <a:pt x="16" y="202"/>
                  </a:lnTo>
                  <a:lnTo>
                    <a:pt x="24" y="212"/>
                  </a:lnTo>
                  <a:lnTo>
                    <a:pt x="32" y="224"/>
                  </a:lnTo>
                  <a:lnTo>
                    <a:pt x="40" y="234"/>
                  </a:lnTo>
                  <a:lnTo>
                    <a:pt x="50" y="242"/>
                  </a:lnTo>
                  <a:lnTo>
                    <a:pt x="60" y="250"/>
                  </a:lnTo>
                  <a:lnTo>
                    <a:pt x="72" y="256"/>
                  </a:lnTo>
                  <a:lnTo>
                    <a:pt x="84" y="262"/>
                  </a:lnTo>
                  <a:lnTo>
                    <a:pt x="96" y="266"/>
                  </a:lnTo>
                  <a:lnTo>
                    <a:pt x="108" y="270"/>
                  </a:lnTo>
                  <a:lnTo>
                    <a:pt x="122" y="272"/>
                  </a:lnTo>
                  <a:lnTo>
                    <a:pt x="136" y="272"/>
                  </a:lnTo>
                  <a:lnTo>
                    <a:pt x="136" y="272"/>
                  </a:lnTo>
                  <a:lnTo>
                    <a:pt x="150" y="272"/>
                  </a:lnTo>
                  <a:lnTo>
                    <a:pt x="164" y="270"/>
                  </a:lnTo>
                  <a:lnTo>
                    <a:pt x="176" y="266"/>
                  </a:lnTo>
                  <a:lnTo>
                    <a:pt x="190" y="262"/>
                  </a:lnTo>
                  <a:lnTo>
                    <a:pt x="200" y="256"/>
                  </a:lnTo>
                  <a:lnTo>
                    <a:pt x="212" y="250"/>
                  </a:lnTo>
                  <a:lnTo>
                    <a:pt x="222" y="242"/>
                  </a:lnTo>
                  <a:lnTo>
                    <a:pt x="232" y="234"/>
                  </a:lnTo>
                  <a:lnTo>
                    <a:pt x="242" y="224"/>
                  </a:lnTo>
                  <a:lnTo>
                    <a:pt x="248" y="212"/>
                  </a:lnTo>
                  <a:lnTo>
                    <a:pt x="256" y="202"/>
                  </a:lnTo>
                  <a:lnTo>
                    <a:pt x="262" y="190"/>
                  </a:lnTo>
                  <a:lnTo>
                    <a:pt x="266" y="178"/>
                  </a:lnTo>
                  <a:lnTo>
                    <a:pt x="270" y="164"/>
                  </a:lnTo>
                  <a:lnTo>
                    <a:pt x="272" y="150"/>
                  </a:lnTo>
                  <a:lnTo>
                    <a:pt x="272" y="136"/>
                  </a:lnTo>
                  <a:lnTo>
                    <a:pt x="272" y="136"/>
                  </a:lnTo>
                  <a:lnTo>
                    <a:pt x="272" y="122"/>
                  </a:lnTo>
                  <a:lnTo>
                    <a:pt x="270" y="110"/>
                  </a:lnTo>
                  <a:lnTo>
                    <a:pt x="266" y="96"/>
                  </a:lnTo>
                  <a:lnTo>
                    <a:pt x="262" y="84"/>
                  </a:lnTo>
                  <a:lnTo>
                    <a:pt x="256" y="72"/>
                  </a:lnTo>
                  <a:lnTo>
                    <a:pt x="248" y="60"/>
                  </a:lnTo>
                  <a:lnTo>
                    <a:pt x="242" y="50"/>
                  </a:lnTo>
                  <a:lnTo>
                    <a:pt x="232" y="40"/>
                  </a:lnTo>
                  <a:lnTo>
                    <a:pt x="222" y="32"/>
                  </a:lnTo>
                  <a:lnTo>
                    <a:pt x="212" y="24"/>
                  </a:lnTo>
                  <a:lnTo>
                    <a:pt x="200" y="18"/>
                  </a:lnTo>
                  <a:lnTo>
                    <a:pt x="190" y="12"/>
                  </a:lnTo>
                  <a:lnTo>
                    <a:pt x="176" y="8"/>
                  </a:lnTo>
                  <a:lnTo>
                    <a:pt x="164" y="4"/>
                  </a:lnTo>
                  <a:lnTo>
                    <a:pt x="150" y="2"/>
                  </a:lnTo>
                  <a:lnTo>
                    <a:pt x="136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516" name="Freeform 271"/>
            <p:cNvSpPr>
              <a:spLocks/>
            </p:cNvSpPr>
            <p:nvPr/>
          </p:nvSpPr>
          <p:spPr bwMode="auto">
            <a:xfrm>
              <a:off x="7048814" y="5976065"/>
              <a:ext cx="421984" cy="421984"/>
            </a:xfrm>
            <a:custGeom>
              <a:avLst/>
              <a:gdLst/>
              <a:ahLst/>
              <a:cxnLst>
                <a:cxn ang="0">
                  <a:pos x="184" y="0"/>
                </a:cxn>
                <a:cxn ang="0">
                  <a:pos x="148" y="4"/>
                </a:cxn>
                <a:cxn ang="0">
                  <a:pos x="112" y="14"/>
                </a:cxn>
                <a:cxn ang="0">
                  <a:pos x="82" y="32"/>
                </a:cxn>
                <a:cxn ang="0">
                  <a:pos x="54" y="54"/>
                </a:cxn>
                <a:cxn ang="0">
                  <a:pos x="32" y="82"/>
                </a:cxn>
                <a:cxn ang="0">
                  <a:pos x="14" y="112"/>
                </a:cxn>
                <a:cxn ang="0">
                  <a:pos x="4" y="146"/>
                </a:cxn>
                <a:cxn ang="0">
                  <a:pos x="0" y="184"/>
                </a:cxn>
                <a:cxn ang="0">
                  <a:pos x="2" y="202"/>
                </a:cxn>
                <a:cxn ang="0">
                  <a:pos x="8" y="238"/>
                </a:cxn>
                <a:cxn ang="0">
                  <a:pos x="22" y="272"/>
                </a:cxn>
                <a:cxn ang="0">
                  <a:pos x="42" y="300"/>
                </a:cxn>
                <a:cxn ang="0">
                  <a:pos x="68" y="326"/>
                </a:cxn>
                <a:cxn ang="0">
                  <a:pos x="96" y="346"/>
                </a:cxn>
                <a:cxn ang="0">
                  <a:pos x="130" y="360"/>
                </a:cxn>
                <a:cxn ang="0">
                  <a:pos x="166" y="366"/>
                </a:cxn>
                <a:cxn ang="0">
                  <a:pos x="184" y="368"/>
                </a:cxn>
                <a:cxn ang="0">
                  <a:pos x="222" y="364"/>
                </a:cxn>
                <a:cxn ang="0">
                  <a:pos x="256" y="352"/>
                </a:cxn>
                <a:cxn ang="0">
                  <a:pos x="286" y="336"/>
                </a:cxn>
                <a:cxn ang="0">
                  <a:pos x="314" y="314"/>
                </a:cxn>
                <a:cxn ang="0">
                  <a:pos x="336" y="286"/>
                </a:cxn>
                <a:cxn ang="0">
                  <a:pos x="354" y="256"/>
                </a:cxn>
                <a:cxn ang="0">
                  <a:pos x="364" y="220"/>
                </a:cxn>
                <a:cxn ang="0">
                  <a:pos x="368" y="184"/>
                </a:cxn>
                <a:cxn ang="0">
                  <a:pos x="366" y="166"/>
                </a:cxn>
                <a:cxn ang="0">
                  <a:pos x="360" y="130"/>
                </a:cxn>
                <a:cxn ang="0">
                  <a:pos x="346" y="96"/>
                </a:cxn>
                <a:cxn ang="0">
                  <a:pos x="326" y="68"/>
                </a:cxn>
                <a:cxn ang="0">
                  <a:pos x="300" y="42"/>
                </a:cxn>
                <a:cxn ang="0">
                  <a:pos x="272" y="22"/>
                </a:cxn>
                <a:cxn ang="0">
                  <a:pos x="238" y="8"/>
                </a:cxn>
                <a:cxn ang="0">
                  <a:pos x="202" y="2"/>
                </a:cxn>
              </a:cxnLst>
              <a:rect l="0" t="0" r="r" b="b"/>
              <a:pathLst>
                <a:path w="368" h="368">
                  <a:moveTo>
                    <a:pt x="184" y="0"/>
                  </a:moveTo>
                  <a:lnTo>
                    <a:pt x="184" y="0"/>
                  </a:lnTo>
                  <a:lnTo>
                    <a:pt x="166" y="2"/>
                  </a:lnTo>
                  <a:lnTo>
                    <a:pt x="148" y="4"/>
                  </a:lnTo>
                  <a:lnTo>
                    <a:pt x="130" y="8"/>
                  </a:lnTo>
                  <a:lnTo>
                    <a:pt x="112" y="14"/>
                  </a:lnTo>
                  <a:lnTo>
                    <a:pt x="96" y="22"/>
                  </a:lnTo>
                  <a:lnTo>
                    <a:pt x="82" y="32"/>
                  </a:lnTo>
                  <a:lnTo>
                    <a:pt x="68" y="42"/>
                  </a:lnTo>
                  <a:lnTo>
                    <a:pt x="54" y="54"/>
                  </a:lnTo>
                  <a:lnTo>
                    <a:pt x="42" y="68"/>
                  </a:lnTo>
                  <a:lnTo>
                    <a:pt x="32" y="82"/>
                  </a:lnTo>
                  <a:lnTo>
                    <a:pt x="22" y="96"/>
                  </a:lnTo>
                  <a:lnTo>
                    <a:pt x="14" y="112"/>
                  </a:lnTo>
                  <a:lnTo>
                    <a:pt x="8" y="130"/>
                  </a:lnTo>
                  <a:lnTo>
                    <a:pt x="4" y="146"/>
                  </a:lnTo>
                  <a:lnTo>
                    <a:pt x="2" y="166"/>
                  </a:lnTo>
                  <a:lnTo>
                    <a:pt x="0" y="184"/>
                  </a:lnTo>
                  <a:lnTo>
                    <a:pt x="0" y="184"/>
                  </a:lnTo>
                  <a:lnTo>
                    <a:pt x="2" y="202"/>
                  </a:lnTo>
                  <a:lnTo>
                    <a:pt x="4" y="220"/>
                  </a:lnTo>
                  <a:lnTo>
                    <a:pt x="8" y="238"/>
                  </a:lnTo>
                  <a:lnTo>
                    <a:pt x="14" y="256"/>
                  </a:lnTo>
                  <a:lnTo>
                    <a:pt x="22" y="272"/>
                  </a:lnTo>
                  <a:lnTo>
                    <a:pt x="32" y="286"/>
                  </a:lnTo>
                  <a:lnTo>
                    <a:pt x="42" y="300"/>
                  </a:lnTo>
                  <a:lnTo>
                    <a:pt x="54" y="314"/>
                  </a:lnTo>
                  <a:lnTo>
                    <a:pt x="68" y="326"/>
                  </a:lnTo>
                  <a:lnTo>
                    <a:pt x="82" y="336"/>
                  </a:lnTo>
                  <a:lnTo>
                    <a:pt x="96" y="346"/>
                  </a:lnTo>
                  <a:lnTo>
                    <a:pt x="112" y="352"/>
                  </a:lnTo>
                  <a:lnTo>
                    <a:pt x="130" y="360"/>
                  </a:lnTo>
                  <a:lnTo>
                    <a:pt x="148" y="364"/>
                  </a:lnTo>
                  <a:lnTo>
                    <a:pt x="166" y="366"/>
                  </a:lnTo>
                  <a:lnTo>
                    <a:pt x="184" y="368"/>
                  </a:lnTo>
                  <a:lnTo>
                    <a:pt x="184" y="368"/>
                  </a:lnTo>
                  <a:lnTo>
                    <a:pt x="202" y="366"/>
                  </a:lnTo>
                  <a:lnTo>
                    <a:pt x="222" y="364"/>
                  </a:lnTo>
                  <a:lnTo>
                    <a:pt x="238" y="360"/>
                  </a:lnTo>
                  <a:lnTo>
                    <a:pt x="256" y="352"/>
                  </a:lnTo>
                  <a:lnTo>
                    <a:pt x="272" y="346"/>
                  </a:lnTo>
                  <a:lnTo>
                    <a:pt x="286" y="336"/>
                  </a:lnTo>
                  <a:lnTo>
                    <a:pt x="300" y="326"/>
                  </a:lnTo>
                  <a:lnTo>
                    <a:pt x="314" y="314"/>
                  </a:lnTo>
                  <a:lnTo>
                    <a:pt x="326" y="300"/>
                  </a:lnTo>
                  <a:lnTo>
                    <a:pt x="336" y="286"/>
                  </a:lnTo>
                  <a:lnTo>
                    <a:pt x="346" y="272"/>
                  </a:lnTo>
                  <a:lnTo>
                    <a:pt x="354" y="256"/>
                  </a:lnTo>
                  <a:lnTo>
                    <a:pt x="360" y="238"/>
                  </a:lnTo>
                  <a:lnTo>
                    <a:pt x="364" y="220"/>
                  </a:lnTo>
                  <a:lnTo>
                    <a:pt x="366" y="202"/>
                  </a:lnTo>
                  <a:lnTo>
                    <a:pt x="368" y="184"/>
                  </a:lnTo>
                  <a:lnTo>
                    <a:pt x="368" y="184"/>
                  </a:lnTo>
                  <a:lnTo>
                    <a:pt x="366" y="166"/>
                  </a:lnTo>
                  <a:lnTo>
                    <a:pt x="364" y="146"/>
                  </a:lnTo>
                  <a:lnTo>
                    <a:pt x="360" y="130"/>
                  </a:lnTo>
                  <a:lnTo>
                    <a:pt x="354" y="112"/>
                  </a:lnTo>
                  <a:lnTo>
                    <a:pt x="346" y="96"/>
                  </a:lnTo>
                  <a:lnTo>
                    <a:pt x="336" y="82"/>
                  </a:lnTo>
                  <a:lnTo>
                    <a:pt x="326" y="68"/>
                  </a:lnTo>
                  <a:lnTo>
                    <a:pt x="314" y="54"/>
                  </a:lnTo>
                  <a:lnTo>
                    <a:pt x="300" y="42"/>
                  </a:lnTo>
                  <a:lnTo>
                    <a:pt x="286" y="32"/>
                  </a:lnTo>
                  <a:lnTo>
                    <a:pt x="272" y="22"/>
                  </a:lnTo>
                  <a:lnTo>
                    <a:pt x="256" y="14"/>
                  </a:lnTo>
                  <a:lnTo>
                    <a:pt x="238" y="8"/>
                  </a:lnTo>
                  <a:lnTo>
                    <a:pt x="222" y="4"/>
                  </a:lnTo>
                  <a:lnTo>
                    <a:pt x="202" y="2"/>
                  </a:lnTo>
                  <a:lnTo>
                    <a:pt x="184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517" name="Freeform 273"/>
            <p:cNvSpPr>
              <a:spLocks/>
            </p:cNvSpPr>
            <p:nvPr/>
          </p:nvSpPr>
          <p:spPr bwMode="auto">
            <a:xfrm>
              <a:off x="7431811" y="5003666"/>
              <a:ext cx="263740" cy="263740"/>
            </a:xfrm>
            <a:custGeom>
              <a:avLst/>
              <a:gdLst/>
              <a:ahLst/>
              <a:cxnLst>
                <a:cxn ang="0">
                  <a:pos x="116" y="0"/>
                </a:cxn>
                <a:cxn ang="0">
                  <a:pos x="116" y="0"/>
                </a:cxn>
                <a:cxn ang="0">
                  <a:pos x="92" y="2"/>
                </a:cxn>
                <a:cxn ang="0">
                  <a:pos x="70" y="10"/>
                </a:cxn>
                <a:cxn ang="0">
                  <a:pos x="50" y="20"/>
                </a:cxn>
                <a:cxn ang="0">
                  <a:pos x="34" y="34"/>
                </a:cxn>
                <a:cxn ang="0">
                  <a:pos x="20" y="50"/>
                </a:cxn>
                <a:cxn ang="0">
                  <a:pos x="10" y="70"/>
                </a:cxn>
                <a:cxn ang="0">
                  <a:pos x="2" y="92"/>
                </a:cxn>
                <a:cxn ang="0">
                  <a:pos x="0" y="116"/>
                </a:cxn>
                <a:cxn ang="0">
                  <a:pos x="0" y="116"/>
                </a:cxn>
                <a:cxn ang="0">
                  <a:pos x="2" y="138"/>
                </a:cxn>
                <a:cxn ang="0">
                  <a:pos x="10" y="160"/>
                </a:cxn>
                <a:cxn ang="0">
                  <a:pos x="20" y="180"/>
                </a:cxn>
                <a:cxn ang="0">
                  <a:pos x="34" y="196"/>
                </a:cxn>
                <a:cxn ang="0">
                  <a:pos x="50" y="210"/>
                </a:cxn>
                <a:cxn ang="0">
                  <a:pos x="70" y="222"/>
                </a:cxn>
                <a:cxn ang="0">
                  <a:pos x="92" y="228"/>
                </a:cxn>
                <a:cxn ang="0">
                  <a:pos x="116" y="230"/>
                </a:cxn>
                <a:cxn ang="0">
                  <a:pos x="116" y="230"/>
                </a:cxn>
                <a:cxn ang="0">
                  <a:pos x="138" y="228"/>
                </a:cxn>
                <a:cxn ang="0">
                  <a:pos x="160" y="222"/>
                </a:cxn>
                <a:cxn ang="0">
                  <a:pos x="180" y="210"/>
                </a:cxn>
                <a:cxn ang="0">
                  <a:pos x="196" y="196"/>
                </a:cxn>
                <a:cxn ang="0">
                  <a:pos x="210" y="180"/>
                </a:cxn>
                <a:cxn ang="0">
                  <a:pos x="222" y="160"/>
                </a:cxn>
                <a:cxn ang="0">
                  <a:pos x="228" y="138"/>
                </a:cxn>
                <a:cxn ang="0">
                  <a:pos x="230" y="116"/>
                </a:cxn>
                <a:cxn ang="0">
                  <a:pos x="230" y="116"/>
                </a:cxn>
                <a:cxn ang="0">
                  <a:pos x="228" y="92"/>
                </a:cxn>
                <a:cxn ang="0">
                  <a:pos x="222" y="70"/>
                </a:cxn>
                <a:cxn ang="0">
                  <a:pos x="210" y="50"/>
                </a:cxn>
                <a:cxn ang="0">
                  <a:pos x="196" y="34"/>
                </a:cxn>
                <a:cxn ang="0">
                  <a:pos x="180" y="20"/>
                </a:cxn>
                <a:cxn ang="0">
                  <a:pos x="160" y="10"/>
                </a:cxn>
                <a:cxn ang="0">
                  <a:pos x="138" y="2"/>
                </a:cxn>
                <a:cxn ang="0">
                  <a:pos x="116" y="0"/>
                </a:cxn>
              </a:cxnLst>
              <a:rect l="0" t="0" r="r" b="b"/>
              <a:pathLst>
                <a:path w="230" h="230">
                  <a:moveTo>
                    <a:pt x="116" y="0"/>
                  </a:moveTo>
                  <a:lnTo>
                    <a:pt x="116" y="0"/>
                  </a:lnTo>
                  <a:lnTo>
                    <a:pt x="92" y="2"/>
                  </a:lnTo>
                  <a:lnTo>
                    <a:pt x="70" y="10"/>
                  </a:lnTo>
                  <a:lnTo>
                    <a:pt x="50" y="20"/>
                  </a:lnTo>
                  <a:lnTo>
                    <a:pt x="34" y="34"/>
                  </a:lnTo>
                  <a:lnTo>
                    <a:pt x="20" y="50"/>
                  </a:lnTo>
                  <a:lnTo>
                    <a:pt x="10" y="70"/>
                  </a:lnTo>
                  <a:lnTo>
                    <a:pt x="2" y="92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2" y="138"/>
                  </a:lnTo>
                  <a:lnTo>
                    <a:pt x="10" y="160"/>
                  </a:lnTo>
                  <a:lnTo>
                    <a:pt x="20" y="180"/>
                  </a:lnTo>
                  <a:lnTo>
                    <a:pt x="34" y="196"/>
                  </a:lnTo>
                  <a:lnTo>
                    <a:pt x="50" y="210"/>
                  </a:lnTo>
                  <a:lnTo>
                    <a:pt x="70" y="222"/>
                  </a:lnTo>
                  <a:lnTo>
                    <a:pt x="92" y="228"/>
                  </a:lnTo>
                  <a:lnTo>
                    <a:pt x="116" y="230"/>
                  </a:lnTo>
                  <a:lnTo>
                    <a:pt x="116" y="230"/>
                  </a:lnTo>
                  <a:lnTo>
                    <a:pt x="138" y="228"/>
                  </a:lnTo>
                  <a:lnTo>
                    <a:pt x="160" y="222"/>
                  </a:lnTo>
                  <a:lnTo>
                    <a:pt x="180" y="210"/>
                  </a:lnTo>
                  <a:lnTo>
                    <a:pt x="196" y="196"/>
                  </a:lnTo>
                  <a:lnTo>
                    <a:pt x="210" y="180"/>
                  </a:lnTo>
                  <a:lnTo>
                    <a:pt x="222" y="160"/>
                  </a:lnTo>
                  <a:lnTo>
                    <a:pt x="228" y="138"/>
                  </a:lnTo>
                  <a:lnTo>
                    <a:pt x="230" y="116"/>
                  </a:lnTo>
                  <a:lnTo>
                    <a:pt x="230" y="116"/>
                  </a:lnTo>
                  <a:lnTo>
                    <a:pt x="228" y="92"/>
                  </a:lnTo>
                  <a:lnTo>
                    <a:pt x="222" y="70"/>
                  </a:lnTo>
                  <a:lnTo>
                    <a:pt x="210" y="50"/>
                  </a:lnTo>
                  <a:lnTo>
                    <a:pt x="196" y="34"/>
                  </a:lnTo>
                  <a:lnTo>
                    <a:pt x="180" y="20"/>
                  </a:lnTo>
                  <a:lnTo>
                    <a:pt x="160" y="10"/>
                  </a:lnTo>
                  <a:lnTo>
                    <a:pt x="138" y="2"/>
                  </a:lnTo>
                  <a:lnTo>
                    <a:pt x="116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518" name="Freeform 275"/>
            <p:cNvSpPr>
              <a:spLocks/>
            </p:cNvSpPr>
            <p:nvPr/>
          </p:nvSpPr>
          <p:spPr bwMode="auto">
            <a:xfrm>
              <a:off x="8505119" y="4923397"/>
              <a:ext cx="263740" cy="263740"/>
            </a:xfrm>
            <a:custGeom>
              <a:avLst/>
              <a:gdLst/>
              <a:ahLst/>
              <a:cxnLst>
                <a:cxn ang="0">
                  <a:pos x="114" y="0"/>
                </a:cxn>
                <a:cxn ang="0">
                  <a:pos x="114" y="0"/>
                </a:cxn>
                <a:cxn ang="0">
                  <a:pos x="92" y="2"/>
                </a:cxn>
                <a:cxn ang="0">
                  <a:pos x="70" y="10"/>
                </a:cxn>
                <a:cxn ang="0">
                  <a:pos x="50" y="20"/>
                </a:cxn>
                <a:cxn ang="0">
                  <a:pos x="34" y="34"/>
                </a:cxn>
                <a:cxn ang="0">
                  <a:pos x="20" y="50"/>
                </a:cxn>
                <a:cxn ang="0">
                  <a:pos x="8" y="70"/>
                </a:cxn>
                <a:cxn ang="0">
                  <a:pos x="2" y="92"/>
                </a:cxn>
                <a:cxn ang="0">
                  <a:pos x="0" y="116"/>
                </a:cxn>
                <a:cxn ang="0">
                  <a:pos x="0" y="116"/>
                </a:cxn>
                <a:cxn ang="0">
                  <a:pos x="2" y="138"/>
                </a:cxn>
                <a:cxn ang="0">
                  <a:pos x="8" y="160"/>
                </a:cxn>
                <a:cxn ang="0">
                  <a:pos x="20" y="180"/>
                </a:cxn>
                <a:cxn ang="0">
                  <a:pos x="34" y="196"/>
                </a:cxn>
                <a:cxn ang="0">
                  <a:pos x="50" y="210"/>
                </a:cxn>
                <a:cxn ang="0">
                  <a:pos x="70" y="222"/>
                </a:cxn>
                <a:cxn ang="0">
                  <a:pos x="92" y="228"/>
                </a:cxn>
                <a:cxn ang="0">
                  <a:pos x="114" y="230"/>
                </a:cxn>
                <a:cxn ang="0">
                  <a:pos x="114" y="230"/>
                </a:cxn>
                <a:cxn ang="0">
                  <a:pos x="138" y="228"/>
                </a:cxn>
                <a:cxn ang="0">
                  <a:pos x="160" y="222"/>
                </a:cxn>
                <a:cxn ang="0">
                  <a:pos x="180" y="210"/>
                </a:cxn>
                <a:cxn ang="0">
                  <a:pos x="196" y="196"/>
                </a:cxn>
                <a:cxn ang="0">
                  <a:pos x="210" y="180"/>
                </a:cxn>
                <a:cxn ang="0">
                  <a:pos x="220" y="160"/>
                </a:cxn>
                <a:cxn ang="0">
                  <a:pos x="228" y="138"/>
                </a:cxn>
                <a:cxn ang="0">
                  <a:pos x="230" y="116"/>
                </a:cxn>
                <a:cxn ang="0">
                  <a:pos x="230" y="116"/>
                </a:cxn>
                <a:cxn ang="0">
                  <a:pos x="228" y="92"/>
                </a:cxn>
                <a:cxn ang="0">
                  <a:pos x="220" y="70"/>
                </a:cxn>
                <a:cxn ang="0">
                  <a:pos x="210" y="50"/>
                </a:cxn>
                <a:cxn ang="0">
                  <a:pos x="196" y="34"/>
                </a:cxn>
                <a:cxn ang="0">
                  <a:pos x="180" y="20"/>
                </a:cxn>
                <a:cxn ang="0">
                  <a:pos x="160" y="10"/>
                </a:cxn>
                <a:cxn ang="0">
                  <a:pos x="138" y="2"/>
                </a:cxn>
                <a:cxn ang="0">
                  <a:pos x="114" y="0"/>
                </a:cxn>
              </a:cxnLst>
              <a:rect l="0" t="0" r="r" b="b"/>
              <a:pathLst>
                <a:path w="230" h="230">
                  <a:moveTo>
                    <a:pt x="114" y="0"/>
                  </a:moveTo>
                  <a:lnTo>
                    <a:pt x="114" y="0"/>
                  </a:lnTo>
                  <a:lnTo>
                    <a:pt x="92" y="2"/>
                  </a:lnTo>
                  <a:lnTo>
                    <a:pt x="70" y="10"/>
                  </a:lnTo>
                  <a:lnTo>
                    <a:pt x="50" y="20"/>
                  </a:lnTo>
                  <a:lnTo>
                    <a:pt x="34" y="34"/>
                  </a:lnTo>
                  <a:lnTo>
                    <a:pt x="20" y="50"/>
                  </a:lnTo>
                  <a:lnTo>
                    <a:pt x="8" y="70"/>
                  </a:lnTo>
                  <a:lnTo>
                    <a:pt x="2" y="92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2" y="138"/>
                  </a:lnTo>
                  <a:lnTo>
                    <a:pt x="8" y="160"/>
                  </a:lnTo>
                  <a:lnTo>
                    <a:pt x="20" y="180"/>
                  </a:lnTo>
                  <a:lnTo>
                    <a:pt x="34" y="196"/>
                  </a:lnTo>
                  <a:lnTo>
                    <a:pt x="50" y="210"/>
                  </a:lnTo>
                  <a:lnTo>
                    <a:pt x="70" y="222"/>
                  </a:lnTo>
                  <a:lnTo>
                    <a:pt x="92" y="228"/>
                  </a:lnTo>
                  <a:lnTo>
                    <a:pt x="114" y="230"/>
                  </a:lnTo>
                  <a:lnTo>
                    <a:pt x="114" y="230"/>
                  </a:lnTo>
                  <a:lnTo>
                    <a:pt x="138" y="228"/>
                  </a:lnTo>
                  <a:lnTo>
                    <a:pt x="160" y="222"/>
                  </a:lnTo>
                  <a:lnTo>
                    <a:pt x="180" y="210"/>
                  </a:lnTo>
                  <a:lnTo>
                    <a:pt x="196" y="196"/>
                  </a:lnTo>
                  <a:lnTo>
                    <a:pt x="210" y="180"/>
                  </a:lnTo>
                  <a:lnTo>
                    <a:pt x="220" y="160"/>
                  </a:lnTo>
                  <a:lnTo>
                    <a:pt x="228" y="138"/>
                  </a:lnTo>
                  <a:lnTo>
                    <a:pt x="230" y="116"/>
                  </a:lnTo>
                  <a:lnTo>
                    <a:pt x="230" y="116"/>
                  </a:lnTo>
                  <a:lnTo>
                    <a:pt x="228" y="92"/>
                  </a:lnTo>
                  <a:lnTo>
                    <a:pt x="220" y="70"/>
                  </a:lnTo>
                  <a:lnTo>
                    <a:pt x="210" y="50"/>
                  </a:lnTo>
                  <a:lnTo>
                    <a:pt x="196" y="34"/>
                  </a:lnTo>
                  <a:lnTo>
                    <a:pt x="180" y="20"/>
                  </a:lnTo>
                  <a:lnTo>
                    <a:pt x="160" y="10"/>
                  </a:lnTo>
                  <a:lnTo>
                    <a:pt x="138" y="2"/>
                  </a:lnTo>
                  <a:lnTo>
                    <a:pt x="114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519" name="Freeform 277"/>
            <p:cNvSpPr>
              <a:spLocks/>
            </p:cNvSpPr>
            <p:nvPr/>
          </p:nvSpPr>
          <p:spPr bwMode="auto">
            <a:xfrm>
              <a:off x="7537307" y="5998999"/>
              <a:ext cx="330249" cy="330249"/>
            </a:xfrm>
            <a:custGeom>
              <a:avLst/>
              <a:gdLst/>
              <a:ahLst/>
              <a:cxnLst>
                <a:cxn ang="0">
                  <a:pos x="144" y="0"/>
                </a:cxn>
                <a:cxn ang="0">
                  <a:pos x="114" y="2"/>
                </a:cxn>
                <a:cxn ang="0">
                  <a:pos x="88" y="12"/>
                </a:cxn>
                <a:cxn ang="0">
                  <a:pos x="62" y="24"/>
                </a:cxn>
                <a:cxn ang="0">
                  <a:pos x="42" y="42"/>
                </a:cxn>
                <a:cxn ang="0">
                  <a:pos x="24" y="64"/>
                </a:cxn>
                <a:cxn ang="0">
                  <a:pos x="10" y="88"/>
                </a:cxn>
                <a:cxn ang="0">
                  <a:pos x="2" y="114"/>
                </a:cxn>
                <a:cxn ang="0">
                  <a:pos x="0" y="144"/>
                </a:cxn>
                <a:cxn ang="0">
                  <a:pos x="0" y="158"/>
                </a:cxn>
                <a:cxn ang="0">
                  <a:pos x="6" y="186"/>
                </a:cxn>
                <a:cxn ang="0">
                  <a:pos x="16" y="212"/>
                </a:cxn>
                <a:cxn ang="0">
                  <a:pos x="32" y="236"/>
                </a:cxn>
                <a:cxn ang="0">
                  <a:pos x="52" y="256"/>
                </a:cxn>
                <a:cxn ang="0">
                  <a:pos x="74" y="270"/>
                </a:cxn>
                <a:cxn ang="0">
                  <a:pos x="100" y="282"/>
                </a:cxn>
                <a:cxn ang="0">
                  <a:pos x="128" y="288"/>
                </a:cxn>
                <a:cxn ang="0">
                  <a:pos x="144" y="288"/>
                </a:cxn>
                <a:cxn ang="0">
                  <a:pos x="172" y="286"/>
                </a:cxn>
                <a:cxn ang="0">
                  <a:pos x="200" y="276"/>
                </a:cxn>
                <a:cxn ang="0">
                  <a:pos x="224" y="264"/>
                </a:cxn>
                <a:cxn ang="0">
                  <a:pos x="246" y="246"/>
                </a:cxn>
                <a:cxn ang="0">
                  <a:pos x="262" y="224"/>
                </a:cxn>
                <a:cxn ang="0">
                  <a:pos x="276" y="200"/>
                </a:cxn>
                <a:cxn ang="0">
                  <a:pos x="284" y="174"/>
                </a:cxn>
                <a:cxn ang="0">
                  <a:pos x="288" y="144"/>
                </a:cxn>
                <a:cxn ang="0">
                  <a:pos x="286" y="130"/>
                </a:cxn>
                <a:cxn ang="0">
                  <a:pos x="280" y="102"/>
                </a:cxn>
                <a:cxn ang="0">
                  <a:pos x="270" y="76"/>
                </a:cxn>
                <a:cxn ang="0">
                  <a:pos x="254" y="52"/>
                </a:cxn>
                <a:cxn ang="0">
                  <a:pos x="234" y="32"/>
                </a:cxn>
                <a:cxn ang="0">
                  <a:pos x="212" y="18"/>
                </a:cxn>
                <a:cxn ang="0">
                  <a:pos x="186" y="6"/>
                </a:cxn>
                <a:cxn ang="0">
                  <a:pos x="158" y="0"/>
                </a:cxn>
              </a:cxnLst>
              <a:rect l="0" t="0" r="r" b="b"/>
              <a:pathLst>
                <a:path w="288" h="288">
                  <a:moveTo>
                    <a:pt x="144" y="0"/>
                  </a:moveTo>
                  <a:lnTo>
                    <a:pt x="144" y="0"/>
                  </a:lnTo>
                  <a:lnTo>
                    <a:pt x="128" y="0"/>
                  </a:lnTo>
                  <a:lnTo>
                    <a:pt x="114" y="2"/>
                  </a:lnTo>
                  <a:lnTo>
                    <a:pt x="100" y="6"/>
                  </a:lnTo>
                  <a:lnTo>
                    <a:pt x="88" y="12"/>
                  </a:lnTo>
                  <a:lnTo>
                    <a:pt x="74" y="18"/>
                  </a:lnTo>
                  <a:lnTo>
                    <a:pt x="62" y="24"/>
                  </a:lnTo>
                  <a:lnTo>
                    <a:pt x="52" y="32"/>
                  </a:lnTo>
                  <a:lnTo>
                    <a:pt x="42" y="42"/>
                  </a:lnTo>
                  <a:lnTo>
                    <a:pt x="32" y="52"/>
                  </a:lnTo>
                  <a:lnTo>
                    <a:pt x="24" y="64"/>
                  </a:lnTo>
                  <a:lnTo>
                    <a:pt x="16" y="76"/>
                  </a:lnTo>
                  <a:lnTo>
                    <a:pt x="10" y="88"/>
                  </a:lnTo>
                  <a:lnTo>
                    <a:pt x="6" y="102"/>
                  </a:lnTo>
                  <a:lnTo>
                    <a:pt x="2" y="114"/>
                  </a:lnTo>
                  <a:lnTo>
                    <a:pt x="0" y="130"/>
                  </a:lnTo>
                  <a:lnTo>
                    <a:pt x="0" y="144"/>
                  </a:lnTo>
                  <a:lnTo>
                    <a:pt x="0" y="144"/>
                  </a:lnTo>
                  <a:lnTo>
                    <a:pt x="0" y="158"/>
                  </a:lnTo>
                  <a:lnTo>
                    <a:pt x="2" y="174"/>
                  </a:lnTo>
                  <a:lnTo>
                    <a:pt x="6" y="186"/>
                  </a:lnTo>
                  <a:lnTo>
                    <a:pt x="10" y="200"/>
                  </a:lnTo>
                  <a:lnTo>
                    <a:pt x="16" y="212"/>
                  </a:lnTo>
                  <a:lnTo>
                    <a:pt x="24" y="224"/>
                  </a:lnTo>
                  <a:lnTo>
                    <a:pt x="32" y="236"/>
                  </a:lnTo>
                  <a:lnTo>
                    <a:pt x="42" y="246"/>
                  </a:lnTo>
                  <a:lnTo>
                    <a:pt x="52" y="256"/>
                  </a:lnTo>
                  <a:lnTo>
                    <a:pt x="62" y="264"/>
                  </a:lnTo>
                  <a:lnTo>
                    <a:pt x="74" y="270"/>
                  </a:lnTo>
                  <a:lnTo>
                    <a:pt x="88" y="276"/>
                  </a:lnTo>
                  <a:lnTo>
                    <a:pt x="100" y="282"/>
                  </a:lnTo>
                  <a:lnTo>
                    <a:pt x="114" y="286"/>
                  </a:lnTo>
                  <a:lnTo>
                    <a:pt x="128" y="288"/>
                  </a:lnTo>
                  <a:lnTo>
                    <a:pt x="144" y="288"/>
                  </a:lnTo>
                  <a:lnTo>
                    <a:pt x="144" y="288"/>
                  </a:lnTo>
                  <a:lnTo>
                    <a:pt x="158" y="288"/>
                  </a:lnTo>
                  <a:lnTo>
                    <a:pt x="172" y="286"/>
                  </a:lnTo>
                  <a:lnTo>
                    <a:pt x="186" y="282"/>
                  </a:lnTo>
                  <a:lnTo>
                    <a:pt x="200" y="276"/>
                  </a:lnTo>
                  <a:lnTo>
                    <a:pt x="212" y="270"/>
                  </a:lnTo>
                  <a:lnTo>
                    <a:pt x="224" y="264"/>
                  </a:lnTo>
                  <a:lnTo>
                    <a:pt x="234" y="256"/>
                  </a:lnTo>
                  <a:lnTo>
                    <a:pt x="246" y="246"/>
                  </a:lnTo>
                  <a:lnTo>
                    <a:pt x="254" y="236"/>
                  </a:lnTo>
                  <a:lnTo>
                    <a:pt x="262" y="224"/>
                  </a:lnTo>
                  <a:lnTo>
                    <a:pt x="270" y="212"/>
                  </a:lnTo>
                  <a:lnTo>
                    <a:pt x="276" y="200"/>
                  </a:lnTo>
                  <a:lnTo>
                    <a:pt x="280" y="186"/>
                  </a:lnTo>
                  <a:lnTo>
                    <a:pt x="284" y="174"/>
                  </a:lnTo>
                  <a:lnTo>
                    <a:pt x="286" y="158"/>
                  </a:lnTo>
                  <a:lnTo>
                    <a:pt x="288" y="144"/>
                  </a:lnTo>
                  <a:lnTo>
                    <a:pt x="288" y="144"/>
                  </a:lnTo>
                  <a:lnTo>
                    <a:pt x="286" y="130"/>
                  </a:lnTo>
                  <a:lnTo>
                    <a:pt x="284" y="114"/>
                  </a:lnTo>
                  <a:lnTo>
                    <a:pt x="280" y="102"/>
                  </a:lnTo>
                  <a:lnTo>
                    <a:pt x="276" y="88"/>
                  </a:lnTo>
                  <a:lnTo>
                    <a:pt x="270" y="76"/>
                  </a:lnTo>
                  <a:lnTo>
                    <a:pt x="262" y="64"/>
                  </a:lnTo>
                  <a:lnTo>
                    <a:pt x="254" y="52"/>
                  </a:lnTo>
                  <a:lnTo>
                    <a:pt x="246" y="42"/>
                  </a:lnTo>
                  <a:lnTo>
                    <a:pt x="234" y="32"/>
                  </a:lnTo>
                  <a:lnTo>
                    <a:pt x="224" y="24"/>
                  </a:lnTo>
                  <a:lnTo>
                    <a:pt x="212" y="18"/>
                  </a:lnTo>
                  <a:lnTo>
                    <a:pt x="200" y="12"/>
                  </a:lnTo>
                  <a:lnTo>
                    <a:pt x="186" y="6"/>
                  </a:lnTo>
                  <a:lnTo>
                    <a:pt x="172" y="2"/>
                  </a:lnTo>
                  <a:lnTo>
                    <a:pt x="158" y="0"/>
                  </a:lnTo>
                  <a:lnTo>
                    <a:pt x="144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520" name="Freeform 278"/>
            <p:cNvSpPr>
              <a:spLocks/>
            </p:cNvSpPr>
            <p:nvPr/>
          </p:nvSpPr>
          <p:spPr bwMode="auto">
            <a:xfrm>
              <a:off x="7509786" y="6544826"/>
              <a:ext cx="112376" cy="112376"/>
            </a:xfrm>
            <a:custGeom>
              <a:avLst/>
              <a:gdLst/>
              <a:ahLst/>
              <a:cxnLst>
                <a:cxn ang="0">
                  <a:pos x="50" y="0"/>
                </a:cxn>
                <a:cxn ang="0">
                  <a:pos x="50" y="0"/>
                </a:cxn>
                <a:cxn ang="0">
                  <a:pos x="40" y="0"/>
                </a:cxn>
                <a:cxn ang="0">
                  <a:pos x="30" y="4"/>
                </a:cxn>
                <a:cxn ang="0">
                  <a:pos x="22" y="8"/>
                </a:cxn>
                <a:cxn ang="0">
                  <a:pos x="14" y="14"/>
                </a:cxn>
                <a:cxn ang="0">
                  <a:pos x="8" y="22"/>
                </a:cxn>
                <a:cxn ang="0">
                  <a:pos x="4" y="30"/>
                </a:cxn>
                <a:cxn ang="0">
                  <a:pos x="2" y="38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2" y="58"/>
                </a:cxn>
                <a:cxn ang="0">
                  <a:pos x="4" y="68"/>
                </a:cxn>
                <a:cxn ang="0">
                  <a:pos x="8" y="76"/>
                </a:cxn>
                <a:cxn ang="0">
                  <a:pos x="14" y="84"/>
                </a:cxn>
                <a:cxn ang="0">
                  <a:pos x="22" y="90"/>
                </a:cxn>
                <a:cxn ang="0">
                  <a:pos x="30" y="94"/>
                </a:cxn>
                <a:cxn ang="0">
                  <a:pos x="40" y="96"/>
                </a:cxn>
                <a:cxn ang="0">
                  <a:pos x="50" y="98"/>
                </a:cxn>
                <a:cxn ang="0">
                  <a:pos x="50" y="98"/>
                </a:cxn>
                <a:cxn ang="0">
                  <a:pos x="60" y="96"/>
                </a:cxn>
                <a:cxn ang="0">
                  <a:pos x="68" y="94"/>
                </a:cxn>
                <a:cxn ang="0">
                  <a:pos x="78" y="90"/>
                </a:cxn>
                <a:cxn ang="0">
                  <a:pos x="84" y="84"/>
                </a:cxn>
                <a:cxn ang="0">
                  <a:pos x="90" y="76"/>
                </a:cxn>
                <a:cxn ang="0">
                  <a:pos x="94" y="68"/>
                </a:cxn>
                <a:cxn ang="0">
                  <a:pos x="98" y="58"/>
                </a:cxn>
                <a:cxn ang="0">
                  <a:pos x="98" y="48"/>
                </a:cxn>
                <a:cxn ang="0">
                  <a:pos x="98" y="48"/>
                </a:cxn>
                <a:cxn ang="0">
                  <a:pos x="98" y="38"/>
                </a:cxn>
                <a:cxn ang="0">
                  <a:pos x="94" y="30"/>
                </a:cxn>
                <a:cxn ang="0">
                  <a:pos x="90" y="22"/>
                </a:cxn>
                <a:cxn ang="0">
                  <a:pos x="84" y="14"/>
                </a:cxn>
                <a:cxn ang="0">
                  <a:pos x="78" y="8"/>
                </a:cxn>
                <a:cxn ang="0">
                  <a:pos x="68" y="4"/>
                </a:cxn>
                <a:cxn ang="0">
                  <a:pos x="60" y="0"/>
                </a:cxn>
                <a:cxn ang="0">
                  <a:pos x="50" y="0"/>
                </a:cxn>
              </a:cxnLst>
              <a:rect l="0" t="0" r="r" b="b"/>
              <a:pathLst>
                <a:path w="98" h="98">
                  <a:moveTo>
                    <a:pt x="50" y="0"/>
                  </a:moveTo>
                  <a:lnTo>
                    <a:pt x="50" y="0"/>
                  </a:lnTo>
                  <a:lnTo>
                    <a:pt x="40" y="0"/>
                  </a:lnTo>
                  <a:lnTo>
                    <a:pt x="30" y="4"/>
                  </a:lnTo>
                  <a:lnTo>
                    <a:pt x="22" y="8"/>
                  </a:lnTo>
                  <a:lnTo>
                    <a:pt x="14" y="14"/>
                  </a:lnTo>
                  <a:lnTo>
                    <a:pt x="8" y="22"/>
                  </a:lnTo>
                  <a:lnTo>
                    <a:pt x="4" y="30"/>
                  </a:lnTo>
                  <a:lnTo>
                    <a:pt x="2" y="3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2" y="58"/>
                  </a:lnTo>
                  <a:lnTo>
                    <a:pt x="4" y="68"/>
                  </a:lnTo>
                  <a:lnTo>
                    <a:pt x="8" y="76"/>
                  </a:lnTo>
                  <a:lnTo>
                    <a:pt x="14" y="84"/>
                  </a:lnTo>
                  <a:lnTo>
                    <a:pt x="22" y="90"/>
                  </a:lnTo>
                  <a:lnTo>
                    <a:pt x="30" y="94"/>
                  </a:lnTo>
                  <a:lnTo>
                    <a:pt x="40" y="96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60" y="96"/>
                  </a:lnTo>
                  <a:lnTo>
                    <a:pt x="68" y="94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0" y="76"/>
                  </a:lnTo>
                  <a:lnTo>
                    <a:pt x="94" y="68"/>
                  </a:lnTo>
                  <a:lnTo>
                    <a:pt x="98" y="58"/>
                  </a:lnTo>
                  <a:lnTo>
                    <a:pt x="98" y="48"/>
                  </a:lnTo>
                  <a:lnTo>
                    <a:pt x="98" y="48"/>
                  </a:lnTo>
                  <a:lnTo>
                    <a:pt x="98" y="38"/>
                  </a:lnTo>
                  <a:lnTo>
                    <a:pt x="94" y="30"/>
                  </a:lnTo>
                  <a:lnTo>
                    <a:pt x="90" y="22"/>
                  </a:lnTo>
                  <a:lnTo>
                    <a:pt x="84" y="14"/>
                  </a:lnTo>
                  <a:lnTo>
                    <a:pt x="78" y="8"/>
                  </a:lnTo>
                  <a:lnTo>
                    <a:pt x="68" y="4"/>
                  </a:lnTo>
                  <a:lnTo>
                    <a:pt x="60" y="0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521" name="Freeform 279"/>
            <p:cNvSpPr>
              <a:spLocks/>
            </p:cNvSpPr>
            <p:nvPr/>
          </p:nvSpPr>
          <p:spPr bwMode="auto">
            <a:xfrm>
              <a:off x="7509786" y="6544826"/>
              <a:ext cx="112376" cy="112376"/>
            </a:xfrm>
            <a:custGeom>
              <a:avLst/>
              <a:gdLst/>
              <a:ahLst/>
              <a:cxnLst>
                <a:cxn ang="0">
                  <a:pos x="50" y="0"/>
                </a:cxn>
                <a:cxn ang="0">
                  <a:pos x="50" y="0"/>
                </a:cxn>
                <a:cxn ang="0">
                  <a:pos x="40" y="0"/>
                </a:cxn>
                <a:cxn ang="0">
                  <a:pos x="30" y="4"/>
                </a:cxn>
                <a:cxn ang="0">
                  <a:pos x="22" y="8"/>
                </a:cxn>
                <a:cxn ang="0">
                  <a:pos x="14" y="14"/>
                </a:cxn>
                <a:cxn ang="0">
                  <a:pos x="8" y="22"/>
                </a:cxn>
                <a:cxn ang="0">
                  <a:pos x="4" y="30"/>
                </a:cxn>
                <a:cxn ang="0">
                  <a:pos x="2" y="38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2" y="58"/>
                </a:cxn>
                <a:cxn ang="0">
                  <a:pos x="4" y="68"/>
                </a:cxn>
                <a:cxn ang="0">
                  <a:pos x="8" y="76"/>
                </a:cxn>
                <a:cxn ang="0">
                  <a:pos x="14" y="84"/>
                </a:cxn>
                <a:cxn ang="0">
                  <a:pos x="22" y="90"/>
                </a:cxn>
                <a:cxn ang="0">
                  <a:pos x="30" y="94"/>
                </a:cxn>
                <a:cxn ang="0">
                  <a:pos x="40" y="96"/>
                </a:cxn>
                <a:cxn ang="0">
                  <a:pos x="50" y="98"/>
                </a:cxn>
                <a:cxn ang="0">
                  <a:pos x="50" y="98"/>
                </a:cxn>
                <a:cxn ang="0">
                  <a:pos x="60" y="96"/>
                </a:cxn>
                <a:cxn ang="0">
                  <a:pos x="68" y="94"/>
                </a:cxn>
                <a:cxn ang="0">
                  <a:pos x="78" y="90"/>
                </a:cxn>
                <a:cxn ang="0">
                  <a:pos x="84" y="84"/>
                </a:cxn>
                <a:cxn ang="0">
                  <a:pos x="90" y="76"/>
                </a:cxn>
                <a:cxn ang="0">
                  <a:pos x="94" y="68"/>
                </a:cxn>
                <a:cxn ang="0">
                  <a:pos x="98" y="58"/>
                </a:cxn>
                <a:cxn ang="0">
                  <a:pos x="98" y="48"/>
                </a:cxn>
                <a:cxn ang="0">
                  <a:pos x="98" y="48"/>
                </a:cxn>
                <a:cxn ang="0">
                  <a:pos x="98" y="38"/>
                </a:cxn>
                <a:cxn ang="0">
                  <a:pos x="94" y="30"/>
                </a:cxn>
                <a:cxn ang="0">
                  <a:pos x="90" y="22"/>
                </a:cxn>
                <a:cxn ang="0">
                  <a:pos x="84" y="14"/>
                </a:cxn>
                <a:cxn ang="0">
                  <a:pos x="78" y="8"/>
                </a:cxn>
                <a:cxn ang="0">
                  <a:pos x="68" y="4"/>
                </a:cxn>
                <a:cxn ang="0">
                  <a:pos x="60" y="0"/>
                </a:cxn>
                <a:cxn ang="0">
                  <a:pos x="50" y="0"/>
                </a:cxn>
              </a:cxnLst>
              <a:rect l="0" t="0" r="r" b="b"/>
              <a:pathLst>
                <a:path w="98" h="98">
                  <a:moveTo>
                    <a:pt x="50" y="0"/>
                  </a:moveTo>
                  <a:lnTo>
                    <a:pt x="50" y="0"/>
                  </a:lnTo>
                  <a:lnTo>
                    <a:pt x="40" y="0"/>
                  </a:lnTo>
                  <a:lnTo>
                    <a:pt x="30" y="4"/>
                  </a:lnTo>
                  <a:lnTo>
                    <a:pt x="22" y="8"/>
                  </a:lnTo>
                  <a:lnTo>
                    <a:pt x="14" y="14"/>
                  </a:lnTo>
                  <a:lnTo>
                    <a:pt x="8" y="22"/>
                  </a:lnTo>
                  <a:lnTo>
                    <a:pt x="4" y="30"/>
                  </a:lnTo>
                  <a:lnTo>
                    <a:pt x="2" y="3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2" y="58"/>
                  </a:lnTo>
                  <a:lnTo>
                    <a:pt x="4" y="68"/>
                  </a:lnTo>
                  <a:lnTo>
                    <a:pt x="8" y="76"/>
                  </a:lnTo>
                  <a:lnTo>
                    <a:pt x="14" y="84"/>
                  </a:lnTo>
                  <a:lnTo>
                    <a:pt x="22" y="90"/>
                  </a:lnTo>
                  <a:lnTo>
                    <a:pt x="30" y="94"/>
                  </a:lnTo>
                  <a:lnTo>
                    <a:pt x="40" y="96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60" y="96"/>
                  </a:lnTo>
                  <a:lnTo>
                    <a:pt x="68" y="94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0" y="76"/>
                  </a:lnTo>
                  <a:lnTo>
                    <a:pt x="94" y="68"/>
                  </a:lnTo>
                  <a:lnTo>
                    <a:pt x="98" y="58"/>
                  </a:lnTo>
                  <a:lnTo>
                    <a:pt x="98" y="48"/>
                  </a:lnTo>
                  <a:lnTo>
                    <a:pt x="98" y="48"/>
                  </a:lnTo>
                  <a:lnTo>
                    <a:pt x="98" y="38"/>
                  </a:lnTo>
                  <a:lnTo>
                    <a:pt x="94" y="30"/>
                  </a:lnTo>
                  <a:lnTo>
                    <a:pt x="90" y="22"/>
                  </a:lnTo>
                  <a:lnTo>
                    <a:pt x="84" y="14"/>
                  </a:lnTo>
                  <a:lnTo>
                    <a:pt x="78" y="8"/>
                  </a:lnTo>
                  <a:lnTo>
                    <a:pt x="68" y="4"/>
                  </a:lnTo>
                  <a:lnTo>
                    <a:pt x="60" y="0"/>
                  </a:lnTo>
                  <a:lnTo>
                    <a:pt x="50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522" name="Freeform 280"/>
            <p:cNvSpPr>
              <a:spLocks/>
            </p:cNvSpPr>
            <p:nvPr/>
          </p:nvSpPr>
          <p:spPr bwMode="auto">
            <a:xfrm>
              <a:off x="8156523" y="5260526"/>
              <a:ext cx="45868" cy="45868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20" y="0"/>
                </a:cxn>
                <a:cxn ang="0">
                  <a:pos x="12" y="2"/>
                </a:cxn>
                <a:cxn ang="0">
                  <a:pos x="6" y="6"/>
                </a:cxn>
                <a:cxn ang="0">
                  <a:pos x="2" y="12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2" y="28"/>
                </a:cxn>
                <a:cxn ang="0">
                  <a:pos x="6" y="34"/>
                </a:cxn>
                <a:cxn ang="0">
                  <a:pos x="12" y="38"/>
                </a:cxn>
                <a:cxn ang="0">
                  <a:pos x="20" y="40"/>
                </a:cxn>
                <a:cxn ang="0">
                  <a:pos x="20" y="40"/>
                </a:cxn>
                <a:cxn ang="0">
                  <a:pos x="28" y="38"/>
                </a:cxn>
                <a:cxn ang="0">
                  <a:pos x="34" y="34"/>
                </a:cxn>
                <a:cxn ang="0">
                  <a:pos x="38" y="28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38" y="12"/>
                </a:cxn>
                <a:cxn ang="0">
                  <a:pos x="34" y="6"/>
                </a:cxn>
                <a:cxn ang="0">
                  <a:pos x="28" y="2"/>
                </a:cxn>
                <a:cxn ang="0">
                  <a:pos x="20" y="0"/>
                </a:cxn>
              </a:cxnLst>
              <a:rect l="0" t="0" r="r" b="b"/>
              <a:pathLst>
                <a:path w="40" h="40">
                  <a:moveTo>
                    <a:pt x="20" y="0"/>
                  </a:moveTo>
                  <a:lnTo>
                    <a:pt x="20" y="0"/>
                  </a:lnTo>
                  <a:lnTo>
                    <a:pt x="12" y="2"/>
                  </a:lnTo>
                  <a:lnTo>
                    <a:pt x="6" y="6"/>
                  </a:lnTo>
                  <a:lnTo>
                    <a:pt x="2" y="1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2" y="28"/>
                  </a:lnTo>
                  <a:lnTo>
                    <a:pt x="6" y="34"/>
                  </a:lnTo>
                  <a:lnTo>
                    <a:pt x="12" y="38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8" y="38"/>
                  </a:lnTo>
                  <a:lnTo>
                    <a:pt x="34" y="34"/>
                  </a:lnTo>
                  <a:lnTo>
                    <a:pt x="38" y="28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8" y="12"/>
                  </a:lnTo>
                  <a:lnTo>
                    <a:pt x="34" y="6"/>
                  </a:lnTo>
                  <a:lnTo>
                    <a:pt x="28" y="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523" name="Freeform 281"/>
            <p:cNvSpPr>
              <a:spLocks/>
            </p:cNvSpPr>
            <p:nvPr/>
          </p:nvSpPr>
          <p:spPr bwMode="auto">
            <a:xfrm>
              <a:off x="8156523" y="5260526"/>
              <a:ext cx="45868" cy="45868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20" y="0"/>
                </a:cxn>
                <a:cxn ang="0">
                  <a:pos x="12" y="2"/>
                </a:cxn>
                <a:cxn ang="0">
                  <a:pos x="6" y="6"/>
                </a:cxn>
                <a:cxn ang="0">
                  <a:pos x="2" y="12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2" y="28"/>
                </a:cxn>
                <a:cxn ang="0">
                  <a:pos x="6" y="34"/>
                </a:cxn>
                <a:cxn ang="0">
                  <a:pos x="12" y="38"/>
                </a:cxn>
                <a:cxn ang="0">
                  <a:pos x="20" y="40"/>
                </a:cxn>
                <a:cxn ang="0">
                  <a:pos x="20" y="40"/>
                </a:cxn>
                <a:cxn ang="0">
                  <a:pos x="28" y="38"/>
                </a:cxn>
                <a:cxn ang="0">
                  <a:pos x="34" y="34"/>
                </a:cxn>
                <a:cxn ang="0">
                  <a:pos x="38" y="28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38" y="12"/>
                </a:cxn>
                <a:cxn ang="0">
                  <a:pos x="34" y="6"/>
                </a:cxn>
                <a:cxn ang="0">
                  <a:pos x="28" y="2"/>
                </a:cxn>
                <a:cxn ang="0">
                  <a:pos x="20" y="0"/>
                </a:cxn>
              </a:cxnLst>
              <a:rect l="0" t="0" r="r" b="b"/>
              <a:pathLst>
                <a:path w="40" h="40">
                  <a:moveTo>
                    <a:pt x="20" y="0"/>
                  </a:moveTo>
                  <a:lnTo>
                    <a:pt x="20" y="0"/>
                  </a:lnTo>
                  <a:lnTo>
                    <a:pt x="12" y="2"/>
                  </a:lnTo>
                  <a:lnTo>
                    <a:pt x="6" y="6"/>
                  </a:lnTo>
                  <a:lnTo>
                    <a:pt x="2" y="1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2" y="28"/>
                  </a:lnTo>
                  <a:lnTo>
                    <a:pt x="6" y="34"/>
                  </a:lnTo>
                  <a:lnTo>
                    <a:pt x="12" y="38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8" y="38"/>
                  </a:lnTo>
                  <a:lnTo>
                    <a:pt x="34" y="34"/>
                  </a:lnTo>
                  <a:lnTo>
                    <a:pt x="38" y="28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8" y="12"/>
                  </a:lnTo>
                  <a:lnTo>
                    <a:pt x="34" y="6"/>
                  </a:lnTo>
                  <a:lnTo>
                    <a:pt x="28" y="2"/>
                  </a:lnTo>
                  <a:lnTo>
                    <a:pt x="20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524" name="Freeform 283"/>
            <p:cNvSpPr>
              <a:spLocks/>
            </p:cNvSpPr>
            <p:nvPr/>
          </p:nvSpPr>
          <p:spPr bwMode="auto">
            <a:xfrm>
              <a:off x="6913504" y="5551787"/>
              <a:ext cx="263740" cy="263740"/>
            </a:xfrm>
            <a:custGeom>
              <a:avLst/>
              <a:gdLst/>
              <a:ahLst/>
              <a:cxnLst>
                <a:cxn ang="0">
                  <a:pos x="116" y="0"/>
                </a:cxn>
                <a:cxn ang="0">
                  <a:pos x="116" y="0"/>
                </a:cxn>
                <a:cxn ang="0">
                  <a:pos x="92" y="2"/>
                </a:cxn>
                <a:cxn ang="0">
                  <a:pos x="70" y="8"/>
                </a:cxn>
                <a:cxn ang="0">
                  <a:pos x="50" y="18"/>
                </a:cxn>
                <a:cxn ang="0">
                  <a:pos x="34" y="34"/>
                </a:cxn>
                <a:cxn ang="0">
                  <a:pos x="20" y="50"/>
                </a:cxn>
                <a:cxn ang="0">
                  <a:pos x="10" y="70"/>
                </a:cxn>
                <a:cxn ang="0">
                  <a:pos x="2" y="92"/>
                </a:cxn>
                <a:cxn ang="0">
                  <a:pos x="0" y="114"/>
                </a:cxn>
                <a:cxn ang="0">
                  <a:pos x="0" y="114"/>
                </a:cxn>
                <a:cxn ang="0">
                  <a:pos x="2" y="138"/>
                </a:cxn>
                <a:cxn ang="0">
                  <a:pos x="10" y="160"/>
                </a:cxn>
                <a:cxn ang="0">
                  <a:pos x="20" y="178"/>
                </a:cxn>
                <a:cxn ang="0">
                  <a:pos x="34" y="196"/>
                </a:cxn>
                <a:cxn ang="0">
                  <a:pos x="50" y="210"/>
                </a:cxn>
                <a:cxn ang="0">
                  <a:pos x="70" y="220"/>
                </a:cxn>
                <a:cxn ang="0">
                  <a:pos x="92" y="228"/>
                </a:cxn>
                <a:cxn ang="0">
                  <a:pos x="116" y="230"/>
                </a:cxn>
                <a:cxn ang="0">
                  <a:pos x="116" y="230"/>
                </a:cxn>
                <a:cxn ang="0">
                  <a:pos x="138" y="228"/>
                </a:cxn>
                <a:cxn ang="0">
                  <a:pos x="160" y="220"/>
                </a:cxn>
                <a:cxn ang="0">
                  <a:pos x="180" y="210"/>
                </a:cxn>
                <a:cxn ang="0">
                  <a:pos x="196" y="196"/>
                </a:cxn>
                <a:cxn ang="0">
                  <a:pos x="210" y="178"/>
                </a:cxn>
                <a:cxn ang="0">
                  <a:pos x="222" y="160"/>
                </a:cxn>
                <a:cxn ang="0">
                  <a:pos x="228" y="138"/>
                </a:cxn>
                <a:cxn ang="0">
                  <a:pos x="230" y="114"/>
                </a:cxn>
                <a:cxn ang="0">
                  <a:pos x="230" y="114"/>
                </a:cxn>
                <a:cxn ang="0">
                  <a:pos x="228" y="92"/>
                </a:cxn>
                <a:cxn ang="0">
                  <a:pos x="222" y="70"/>
                </a:cxn>
                <a:cxn ang="0">
                  <a:pos x="210" y="50"/>
                </a:cxn>
                <a:cxn ang="0">
                  <a:pos x="196" y="34"/>
                </a:cxn>
                <a:cxn ang="0">
                  <a:pos x="180" y="18"/>
                </a:cxn>
                <a:cxn ang="0">
                  <a:pos x="160" y="8"/>
                </a:cxn>
                <a:cxn ang="0">
                  <a:pos x="138" y="2"/>
                </a:cxn>
                <a:cxn ang="0">
                  <a:pos x="116" y="0"/>
                </a:cxn>
              </a:cxnLst>
              <a:rect l="0" t="0" r="r" b="b"/>
              <a:pathLst>
                <a:path w="230" h="230">
                  <a:moveTo>
                    <a:pt x="116" y="0"/>
                  </a:moveTo>
                  <a:lnTo>
                    <a:pt x="116" y="0"/>
                  </a:lnTo>
                  <a:lnTo>
                    <a:pt x="92" y="2"/>
                  </a:lnTo>
                  <a:lnTo>
                    <a:pt x="70" y="8"/>
                  </a:lnTo>
                  <a:lnTo>
                    <a:pt x="50" y="18"/>
                  </a:lnTo>
                  <a:lnTo>
                    <a:pt x="34" y="34"/>
                  </a:lnTo>
                  <a:lnTo>
                    <a:pt x="20" y="50"/>
                  </a:lnTo>
                  <a:lnTo>
                    <a:pt x="10" y="70"/>
                  </a:lnTo>
                  <a:lnTo>
                    <a:pt x="2" y="92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2" y="138"/>
                  </a:lnTo>
                  <a:lnTo>
                    <a:pt x="10" y="160"/>
                  </a:lnTo>
                  <a:lnTo>
                    <a:pt x="20" y="178"/>
                  </a:lnTo>
                  <a:lnTo>
                    <a:pt x="34" y="196"/>
                  </a:lnTo>
                  <a:lnTo>
                    <a:pt x="50" y="210"/>
                  </a:lnTo>
                  <a:lnTo>
                    <a:pt x="70" y="220"/>
                  </a:lnTo>
                  <a:lnTo>
                    <a:pt x="92" y="228"/>
                  </a:lnTo>
                  <a:lnTo>
                    <a:pt x="116" y="230"/>
                  </a:lnTo>
                  <a:lnTo>
                    <a:pt x="116" y="230"/>
                  </a:lnTo>
                  <a:lnTo>
                    <a:pt x="138" y="228"/>
                  </a:lnTo>
                  <a:lnTo>
                    <a:pt x="160" y="220"/>
                  </a:lnTo>
                  <a:lnTo>
                    <a:pt x="180" y="210"/>
                  </a:lnTo>
                  <a:lnTo>
                    <a:pt x="196" y="196"/>
                  </a:lnTo>
                  <a:lnTo>
                    <a:pt x="210" y="178"/>
                  </a:lnTo>
                  <a:lnTo>
                    <a:pt x="222" y="160"/>
                  </a:lnTo>
                  <a:lnTo>
                    <a:pt x="228" y="138"/>
                  </a:lnTo>
                  <a:lnTo>
                    <a:pt x="230" y="114"/>
                  </a:lnTo>
                  <a:lnTo>
                    <a:pt x="230" y="114"/>
                  </a:lnTo>
                  <a:lnTo>
                    <a:pt x="228" y="92"/>
                  </a:lnTo>
                  <a:lnTo>
                    <a:pt x="222" y="70"/>
                  </a:lnTo>
                  <a:lnTo>
                    <a:pt x="210" y="50"/>
                  </a:lnTo>
                  <a:lnTo>
                    <a:pt x="196" y="34"/>
                  </a:lnTo>
                  <a:lnTo>
                    <a:pt x="180" y="18"/>
                  </a:lnTo>
                  <a:lnTo>
                    <a:pt x="160" y="8"/>
                  </a:lnTo>
                  <a:lnTo>
                    <a:pt x="138" y="2"/>
                  </a:lnTo>
                  <a:lnTo>
                    <a:pt x="116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525" name="Freeform 285"/>
            <p:cNvSpPr>
              <a:spLocks/>
            </p:cNvSpPr>
            <p:nvPr/>
          </p:nvSpPr>
          <p:spPr bwMode="auto">
            <a:xfrm>
              <a:off x="8525760" y="5806354"/>
              <a:ext cx="396757" cy="394464"/>
            </a:xfrm>
            <a:custGeom>
              <a:avLst/>
              <a:gdLst/>
              <a:ahLst/>
              <a:cxnLst>
                <a:cxn ang="0">
                  <a:pos x="174" y="0"/>
                </a:cxn>
                <a:cxn ang="0">
                  <a:pos x="138" y="4"/>
                </a:cxn>
                <a:cxn ang="0">
                  <a:pos x="106" y="14"/>
                </a:cxn>
                <a:cxn ang="0">
                  <a:pos x="76" y="30"/>
                </a:cxn>
                <a:cxn ang="0">
                  <a:pos x="52" y="50"/>
                </a:cxn>
                <a:cxn ang="0">
                  <a:pos x="30" y="76"/>
                </a:cxn>
                <a:cxn ang="0">
                  <a:pos x="14" y="106"/>
                </a:cxn>
                <a:cxn ang="0">
                  <a:pos x="4" y="138"/>
                </a:cxn>
                <a:cxn ang="0">
                  <a:pos x="0" y="172"/>
                </a:cxn>
                <a:cxn ang="0">
                  <a:pos x="2" y="190"/>
                </a:cxn>
                <a:cxn ang="0">
                  <a:pos x="8" y="224"/>
                </a:cxn>
                <a:cxn ang="0">
                  <a:pos x="22" y="254"/>
                </a:cxn>
                <a:cxn ang="0">
                  <a:pos x="40" y="282"/>
                </a:cxn>
                <a:cxn ang="0">
                  <a:pos x="64" y="306"/>
                </a:cxn>
                <a:cxn ang="0">
                  <a:pos x="90" y="324"/>
                </a:cxn>
                <a:cxn ang="0">
                  <a:pos x="122" y="338"/>
                </a:cxn>
                <a:cxn ang="0">
                  <a:pos x="156" y="344"/>
                </a:cxn>
                <a:cxn ang="0">
                  <a:pos x="174" y="344"/>
                </a:cxn>
                <a:cxn ang="0">
                  <a:pos x="208" y="342"/>
                </a:cxn>
                <a:cxn ang="0">
                  <a:pos x="240" y="332"/>
                </a:cxn>
                <a:cxn ang="0">
                  <a:pos x="270" y="316"/>
                </a:cxn>
                <a:cxn ang="0">
                  <a:pos x="296" y="294"/>
                </a:cxn>
                <a:cxn ang="0">
                  <a:pos x="316" y="268"/>
                </a:cxn>
                <a:cxn ang="0">
                  <a:pos x="332" y="240"/>
                </a:cxn>
                <a:cxn ang="0">
                  <a:pos x="342" y="208"/>
                </a:cxn>
                <a:cxn ang="0">
                  <a:pos x="346" y="172"/>
                </a:cxn>
                <a:cxn ang="0">
                  <a:pos x="344" y="154"/>
                </a:cxn>
                <a:cxn ang="0">
                  <a:pos x="338" y="122"/>
                </a:cxn>
                <a:cxn ang="0">
                  <a:pos x="324" y="90"/>
                </a:cxn>
                <a:cxn ang="0">
                  <a:pos x="306" y="62"/>
                </a:cxn>
                <a:cxn ang="0">
                  <a:pos x="282" y="40"/>
                </a:cxn>
                <a:cxn ang="0">
                  <a:pos x="256" y="20"/>
                </a:cxn>
                <a:cxn ang="0">
                  <a:pos x="224" y="8"/>
                </a:cxn>
                <a:cxn ang="0">
                  <a:pos x="190" y="0"/>
                </a:cxn>
              </a:cxnLst>
              <a:rect l="0" t="0" r="r" b="b"/>
              <a:pathLst>
                <a:path w="346" h="344">
                  <a:moveTo>
                    <a:pt x="174" y="0"/>
                  </a:moveTo>
                  <a:lnTo>
                    <a:pt x="174" y="0"/>
                  </a:lnTo>
                  <a:lnTo>
                    <a:pt x="156" y="0"/>
                  </a:lnTo>
                  <a:lnTo>
                    <a:pt x="138" y="4"/>
                  </a:lnTo>
                  <a:lnTo>
                    <a:pt x="122" y="8"/>
                  </a:lnTo>
                  <a:lnTo>
                    <a:pt x="106" y="14"/>
                  </a:lnTo>
                  <a:lnTo>
                    <a:pt x="90" y="20"/>
                  </a:lnTo>
                  <a:lnTo>
                    <a:pt x="76" y="30"/>
                  </a:lnTo>
                  <a:lnTo>
                    <a:pt x="64" y="40"/>
                  </a:lnTo>
                  <a:lnTo>
                    <a:pt x="52" y="50"/>
                  </a:lnTo>
                  <a:lnTo>
                    <a:pt x="40" y="62"/>
                  </a:lnTo>
                  <a:lnTo>
                    <a:pt x="30" y="76"/>
                  </a:lnTo>
                  <a:lnTo>
                    <a:pt x="22" y="90"/>
                  </a:lnTo>
                  <a:lnTo>
                    <a:pt x="14" y="106"/>
                  </a:lnTo>
                  <a:lnTo>
                    <a:pt x="8" y="122"/>
                  </a:lnTo>
                  <a:lnTo>
                    <a:pt x="4" y="138"/>
                  </a:lnTo>
                  <a:lnTo>
                    <a:pt x="2" y="154"/>
                  </a:lnTo>
                  <a:lnTo>
                    <a:pt x="0" y="172"/>
                  </a:lnTo>
                  <a:lnTo>
                    <a:pt x="0" y="172"/>
                  </a:lnTo>
                  <a:lnTo>
                    <a:pt x="2" y="190"/>
                  </a:lnTo>
                  <a:lnTo>
                    <a:pt x="4" y="208"/>
                  </a:lnTo>
                  <a:lnTo>
                    <a:pt x="8" y="224"/>
                  </a:lnTo>
                  <a:lnTo>
                    <a:pt x="14" y="240"/>
                  </a:lnTo>
                  <a:lnTo>
                    <a:pt x="22" y="254"/>
                  </a:lnTo>
                  <a:lnTo>
                    <a:pt x="30" y="268"/>
                  </a:lnTo>
                  <a:lnTo>
                    <a:pt x="40" y="282"/>
                  </a:lnTo>
                  <a:lnTo>
                    <a:pt x="52" y="294"/>
                  </a:lnTo>
                  <a:lnTo>
                    <a:pt x="64" y="306"/>
                  </a:lnTo>
                  <a:lnTo>
                    <a:pt x="76" y="316"/>
                  </a:lnTo>
                  <a:lnTo>
                    <a:pt x="90" y="324"/>
                  </a:lnTo>
                  <a:lnTo>
                    <a:pt x="106" y="332"/>
                  </a:lnTo>
                  <a:lnTo>
                    <a:pt x="122" y="338"/>
                  </a:lnTo>
                  <a:lnTo>
                    <a:pt x="138" y="342"/>
                  </a:lnTo>
                  <a:lnTo>
                    <a:pt x="156" y="344"/>
                  </a:lnTo>
                  <a:lnTo>
                    <a:pt x="174" y="344"/>
                  </a:lnTo>
                  <a:lnTo>
                    <a:pt x="174" y="344"/>
                  </a:lnTo>
                  <a:lnTo>
                    <a:pt x="190" y="344"/>
                  </a:lnTo>
                  <a:lnTo>
                    <a:pt x="208" y="342"/>
                  </a:lnTo>
                  <a:lnTo>
                    <a:pt x="224" y="338"/>
                  </a:lnTo>
                  <a:lnTo>
                    <a:pt x="240" y="332"/>
                  </a:lnTo>
                  <a:lnTo>
                    <a:pt x="256" y="324"/>
                  </a:lnTo>
                  <a:lnTo>
                    <a:pt x="270" y="316"/>
                  </a:lnTo>
                  <a:lnTo>
                    <a:pt x="282" y="306"/>
                  </a:lnTo>
                  <a:lnTo>
                    <a:pt x="296" y="294"/>
                  </a:lnTo>
                  <a:lnTo>
                    <a:pt x="306" y="282"/>
                  </a:lnTo>
                  <a:lnTo>
                    <a:pt x="316" y="268"/>
                  </a:lnTo>
                  <a:lnTo>
                    <a:pt x="324" y="254"/>
                  </a:lnTo>
                  <a:lnTo>
                    <a:pt x="332" y="240"/>
                  </a:lnTo>
                  <a:lnTo>
                    <a:pt x="338" y="224"/>
                  </a:lnTo>
                  <a:lnTo>
                    <a:pt x="342" y="208"/>
                  </a:lnTo>
                  <a:lnTo>
                    <a:pt x="344" y="190"/>
                  </a:lnTo>
                  <a:lnTo>
                    <a:pt x="346" y="172"/>
                  </a:lnTo>
                  <a:lnTo>
                    <a:pt x="346" y="172"/>
                  </a:lnTo>
                  <a:lnTo>
                    <a:pt x="344" y="154"/>
                  </a:lnTo>
                  <a:lnTo>
                    <a:pt x="342" y="138"/>
                  </a:lnTo>
                  <a:lnTo>
                    <a:pt x="338" y="122"/>
                  </a:lnTo>
                  <a:lnTo>
                    <a:pt x="332" y="106"/>
                  </a:lnTo>
                  <a:lnTo>
                    <a:pt x="324" y="90"/>
                  </a:lnTo>
                  <a:lnTo>
                    <a:pt x="316" y="76"/>
                  </a:lnTo>
                  <a:lnTo>
                    <a:pt x="306" y="62"/>
                  </a:lnTo>
                  <a:lnTo>
                    <a:pt x="296" y="50"/>
                  </a:lnTo>
                  <a:lnTo>
                    <a:pt x="282" y="40"/>
                  </a:lnTo>
                  <a:lnTo>
                    <a:pt x="270" y="30"/>
                  </a:lnTo>
                  <a:lnTo>
                    <a:pt x="256" y="20"/>
                  </a:lnTo>
                  <a:lnTo>
                    <a:pt x="240" y="14"/>
                  </a:lnTo>
                  <a:lnTo>
                    <a:pt x="224" y="8"/>
                  </a:lnTo>
                  <a:lnTo>
                    <a:pt x="208" y="4"/>
                  </a:lnTo>
                  <a:lnTo>
                    <a:pt x="190" y="0"/>
                  </a:lnTo>
                  <a:lnTo>
                    <a:pt x="174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526" name="Freeform 286"/>
            <p:cNvSpPr>
              <a:spLocks/>
            </p:cNvSpPr>
            <p:nvPr/>
          </p:nvSpPr>
          <p:spPr bwMode="auto">
            <a:xfrm>
              <a:off x="7392823" y="5771953"/>
              <a:ext cx="233926" cy="233926"/>
            </a:xfrm>
            <a:custGeom>
              <a:avLst/>
              <a:gdLst/>
              <a:ahLst/>
              <a:cxnLst>
                <a:cxn ang="0">
                  <a:pos x="102" y="0"/>
                </a:cxn>
                <a:cxn ang="0">
                  <a:pos x="102" y="0"/>
                </a:cxn>
                <a:cxn ang="0">
                  <a:pos x="82" y="2"/>
                </a:cxn>
                <a:cxn ang="0">
                  <a:pos x="62" y="8"/>
                </a:cxn>
                <a:cxn ang="0">
                  <a:pos x="46" y="16"/>
                </a:cxn>
                <a:cxn ang="0">
                  <a:pos x="30" y="30"/>
                </a:cxn>
                <a:cxn ang="0">
                  <a:pos x="18" y="44"/>
                </a:cxn>
                <a:cxn ang="0">
                  <a:pos x="8" y="62"/>
                </a:cxn>
                <a:cxn ang="0">
                  <a:pos x="2" y="80"/>
                </a:cxn>
                <a:cxn ang="0">
                  <a:pos x="0" y="102"/>
                </a:cxn>
                <a:cxn ang="0">
                  <a:pos x="0" y="102"/>
                </a:cxn>
                <a:cxn ang="0">
                  <a:pos x="2" y="122"/>
                </a:cxn>
                <a:cxn ang="0">
                  <a:pos x="8" y="142"/>
                </a:cxn>
                <a:cxn ang="0">
                  <a:pos x="18" y="158"/>
                </a:cxn>
                <a:cxn ang="0">
                  <a:pos x="30" y="174"/>
                </a:cxn>
                <a:cxn ang="0">
                  <a:pos x="46" y="186"/>
                </a:cxn>
                <a:cxn ang="0">
                  <a:pos x="62" y="196"/>
                </a:cxn>
                <a:cxn ang="0">
                  <a:pos x="82" y="202"/>
                </a:cxn>
                <a:cxn ang="0">
                  <a:pos x="102" y="204"/>
                </a:cxn>
                <a:cxn ang="0">
                  <a:pos x="102" y="204"/>
                </a:cxn>
                <a:cxn ang="0">
                  <a:pos x="122" y="202"/>
                </a:cxn>
                <a:cxn ang="0">
                  <a:pos x="142" y="196"/>
                </a:cxn>
                <a:cxn ang="0">
                  <a:pos x="160" y="186"/>
                </a:cxn>
                <a:cxn ang="0">
                  <a:pos x="174" y="174"/>
                </a:cxn>
                <a:cxn ang="0">
                  <a:pos x="188" y="158"/>
                </a:cxn>
                <a:cxn ang="0">
                  <a:pos x="196" y="142"/>
                </a:cxn>
                <a:cxn ang="0">
                  <a:pos x="202" y="122"/>
                </a:cxn>
                <a:cxn ang="0">
                  <a:pos x="204" y="102"/>
                </a:cxn>
                <a:cxn ang="0">
                  <a:pos x="204" y="102"/>
                </a:cxn>
                <a:cxn ang="0">
                  <a:pos x="202" y="80"/>
                </a:cxn>
                <a:cxn ang="0">
                  <a:pos x="196" y="62"/>
                </a:cxn>
                <a:cxn ang="0">
                  <a:pos x="188" y="44"/>
                </a:cxn>
                <a:cxn ang="0">
                  <a:pos x="174" y="30"/>
                </a:cxn>
                <a:cxn ang="0">
                  <a:pos x="160" y="16"/>
                </a:cxn>
                <a:cxn ang="0">
                  <a:pos x="142" y="8"/>
                </a:cxn>
                <a:cxn ang="0">
                  <a:pos x="122" y="2"/>
                </a:cxn>
                <a:cxn ang="0">
                  <a:pos x="102" y="0"/>
                </a:cxn>
              </a:cxnLst>
              <a:rect l="0" t="0" r="r" b="b"/>
              <a:pathLst>
                <a:path w="204" h="204">
                  <a:moveTo>
                    <a:pt x="102" y="0"/>
                  </a:moveTo>
                  <a:lnTo>
                    <a:pt x="102" y="0"/>
                  </a:lnTo>
                  <a:lnTo>
                    <a:pt x="82" y="2"/>
                  </a:lnTo>
                  <a:lnTo>
                    <a:pt x="62" y="8"/>
                  </a:lnTo>
                  <a:lnTo>
                    <a:pt x="46" y="16"/>
                  </a:lnTo>
                  <a:lnTo>
                    <a:pt x="30" y="30"/>
                  </a:lnTo>
                  <a:lnTo>
                    <a:pt x="18" y="44"/>
                  </a:lnTo>
                  <a:lnTo>
                    <a:pt x="8" y="62"/>
                  </a:lnTo>
                  <a:lnTo>
                    <a:pt x="2" y="80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2" y="122"/>
                  </a:lnTo>
                  <a:lnTo>
                    <a:pt x="8" y="142"/>
                  </a:lnTo>
                  <a:lnTo>
                    <a:pt x="18" y="158"/>
                  </a:lnTo>
                  <a:lnTo>
                    <a:pt x="30" y="174"/>
                  </a:lnTo>
                  <a:lnTo>
                    <a:pt x="46" y="186"/>
                  </a:lnTo>
                  <a:lnTo>
                    <a:pt x="62" y="196"/>
                  </a:lnTo>
                  <a:lnTo>
                    <a:pt x="82" y="202"/>
                  </a:lnTo>
                  <a:lnTo>
                    <a:pt x="102" y="204"/>
                  </a:lnTo>
                  <a:lnTo>
                    <a:pt x="102" y="204"/>
                  </a:lnTo>
                  <a:lnTo>
                    <a:pt x="122" y="202"/>
                  </a:lnTo>
                  <a:lnTo>
                    <a:pt x="142" y="196"/>
                  </a:lnTo>
                  <a:lnTo>
                    <a:pt x="160" y="186"/>
                  </a:lnTo>
                  <a:lnTo>
                    <a:pt x="174" y="174"/>
                  </a:lnTo>
                  <a:lnTo>
                    <a:pt x="188" y="158"/>
                  </a:lnTo>
                  <a:lnTo>
                    <a:pt x="196" y="142"/>
                  </a:lnTo>
                  <a:lnTo>
                    <a:pt x="202" y="122"/>
                  </a:lnTo>
                  <a:lnTo>
                    <a:pt x="204" y="102"/>
                  </a:lnTo>
                  <a:lnTo>
                    <a:pt x="204" y="102"/>
                  </a:lnTo>
                  <a:lnTo>
                    <a:pt x="202" y="80"/>
                  </a:lnTo>
                  <a:lnTo>
                    <a:pt x="196" y="62"/>
                  </a:lnTo>
                  <a:lnTo>
                    <a:pt x="188" y="44"/>
                  </a:lnTo>
                  <a:lnTo>
                    <a:pt x="174" y="30"/>
                  </a:lnTo>
                  <a:lnTo>
                    <a:pt x="160" y="16"/>
                  </a:lnTo>
                  <a:lnTo>
                    <a:pt x="142" y="8"/>
                  </a:lnTo>
                  <a:lnTo>
                    <a:pt x="122" y="2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527" name="Freeform 287"/>
            <p:cNvSpPr>
              <a:spLocks/>
            </p:cNvSpPr>
            <p:nvPr/>
          </p:nvSpPr>
          <p:spPr bwMode="auto">
            <a:xfrm>
              <a:off x="7392823" y="5771953"/>
              <a:ext cx="233926" cy="233926"/>
            </a:xfrm>
            <a:custGeom>
              <a:avLst/>
              <a:gdLst/>
              <a:ahLst/>
              <a:cxnLst>
                <a:cxn ang="0">
                  <a:pos x="102" y="0"/>
                </a:cxn>
                <a:cxn ang="0">
                  <a:pos x="102" y="0"/>
                </a:cxn>
                <a:cxn ang="0">
                  <a:pos x="82" y="2"/>
                </a:cxn>
                <a:cxn ang="0">
                  <a:pos x="62" y="8"/>
                </a:cxn>
                <a:cxn ang="0">
                  <a:pos x="46" y="16"/>
                </a:cxn>
                <a:cxn ang="0">
                  <a:pos x="30" y="30"/>
                </a:cxn>
                <a:cxn ang="0">
                  <a:pos x="18" y="44"/>
                </a:cxn>
                <a:cxn ang="0">
                  <a:pos x="8" y="62"/>
                </a:cxn>
                <a:cxn ang="0">
                  <a:pos x="2" y="80"/>
                </a:cxn>
                <a:cxn ang="0">
                  <a:pos x="0" y="102"/>
                </a:cxn>
                <a:cxn ang="0">
                  <a:pos x="0" y="102"/>
                </a:cxn>
                <a:cxn ang="0">
                  <a:pos x="2" y="122"/>
                </a:cxn>
                <a:cxn ang="0">
                  <a:pos x="8" y="142"/>
                </a:cxn>
                <a:cxn ang="0">
                  <a:pos x="18" y="158"/>
                </a:cxn>
                <a:cxn ang="0">
                  <a:pos x="30" y="174"/>
                </a:cxn>
                <a:cxn ang="0">
                  <a:pos x="46" y="186"/>
                </a:cxn>
                <a:cxn ang="0">
                  <a:pos x="62" y="196"/>
                </a:cxn>
                <a:cxn ang="0">
                  <a:pos x="82" y="202"/>
                </a:cxn>
                <a:cxn ang="0">
                  <a:pos x="102" y="204"/>
                </a:cxn>
                <a:cxn ang="0">
                  <a:pos x="102" y="204"/>
                </a:cxn>
                <a:cxn ang="0">
                  <a:pos x="122" y="202"/>
                </a:cxn>
                <a:cxn ang="0">
                  <a:pos x="142" y="196"/>
                </a:cxn>
                <a:cxn ang="0">
                  <a:pos x="160" y="186"/>
                </a:cxn>
                <a:cxn ang="0">
                  <a:pos x="174" y="174"/>
                </a:cxn>
                <a:cxn ang="0">
                  <a:pos x="188" y="158"/>
                </a:cxn>
                <a:cxn ang="0">
                  <a:pos x="196" y="142"/>
                </a:cxn>
                <a:cxn ang="0">
                  <a:pos x="202" y="122"/>
                </a:cxn>
                <a:cxn ang="0">
                  <a:pos x="204" y="102"/>
                </a:cxn>
                <a:cxn ang="0">
                  <a:pos x="204" y="102"/>
                </a:cxn>
                <a:cxn ang="0">
                  <a:pos x="202" y="80"/>
                </a:cxn>
                <a:cxn ang="0">
                  <a:pos x="196" y="62"/>
                </a:cxn>
                <a:cxn ang="0">
                  <a:pos x="188" y="44"/>
                </a:cxn>
                <a:cxn ang="0">
                  <a:pos x="174" y="30"/>
                </a:cxn>
                <a:cxn ang="0">
                  <a:pos x="160" y="16"/>
                </a:cxn>
                <a:cxn ang="0">
                  <a:pos x="142" y="8"/>
                </a:cxn>
                <a:cxn ang="0">
                  <a:pos x="122" y="2"/>
                </a:cxn>
                <a:cxn ang="0">
                  <a:pos x="102" y="0"/>
                </a:cxn>
              </a:cxnLst>
              <a:rect l="0" t="0" r="r" b="b"/>
              <a:pathLst>
                <a:path w="204" h="204">
                  <a:moveTo>
                    <a:pt x="102" y="0"/>
                  </a:moveTo>
                  <a:lnTo>
                    <a:pt x="102" y="0"/>
                  </a:lnTo>
                  <a:lnTo>
                    <a:pt x="82" y="2"/>
                  </a:lnTo>
                  <a:lnTo>
                    <a:pt x="62" y="8"/>
                  </a:lnTo>
                  <a:lnTo>
                    <a:pt x="46" y="16"/>
                  </a:lnTo>
                  <a:lnTo>
                    <a:pt x="30" y="30"/>
                  </a:lnTo>
                  <a:lnTo>
                    <a:pt x="18" y="44"/>
                  </a:lnTo>
                  <a:lnTo>
                    <a:pt x="8" y="62"/>
                  </a:lnTo>
                  <a:lnTo>
                    <a:pt x="2" y="80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2" y="122"/>
                  </a:lnTo>
                  <a:lnTo>
                    <a:pt x="8" y="142"/>
                  </a:lnTo>
                  <a:lnTo>
                    <a:pt x="18" y="158"/>
                  </a:lnTo>
                  <a:lnTo>
                    <a:pt x="30" y="174"/>
                  </a:lnTo>
                  <a:lnTo>
                    <a:pt x="46" y="186"/>
                  </a:lnTo>
                  <a:lnTo>
                    <a:pt x="62" y="196"/>
                  </a:lnTo>
                  <a:lnTo>
                    <a:pt x="82" y="202"/>
                  </a:lnTo>
                  <a:lnTo>
                    <a:pt x="102" y="204"/>
                  </a:lnTo>
                  <a:lnTo>
                    <a:pt x="102" y="204"/>
                  </a:lnTo>
                  <a:lnTo>
                    <a:pt x="122" y="202"/>
                  </a:lnTo>
                  <a:lnTo>
                    <a:pt x="142" y="196"/>
                  </a:lnTo>
                  <a:lnTo>
                    <a:pt x="160" y="186"/>
                  </a:lnTo>
                  <a:lnTo>
                    <a:pt x="174" y="174"/>
                  </a:lnTo>
                  <a:lnTo>
                    <a:pt x="188" y="158"/>
                  </a:lnTo>
                  <a:lnTo>
                    <a:pt x="196" y="142"/>
                  </a:lnTo>
                  <a:lnTo>
                    <a:pt x="202" y="122"/>
                  </a:lnTo>
                  <a:lnTo>
                    <a:pt x="204" y="102"/>
                  </a:lnTo>
                  <a:lnTo>
                    <a:pt x="204" y="102"/>
                  </a:lnTo>
                  <a:lnTo>
                    <a:pt x="202" y="80"/>
                  </a:lnTo>
                  <a:lnTo>
                    <a:pt x="196" y="62"/>
                  </a:lnTo>
                  <a:lnTo>
                    <a:pt x="188" y="44"/>
                  </a:lnTo>
                  <a:lnTo>
                    <a:pt x="174" y="30"/>
                  </a:lnTo>
                  <a:lnTo>
                    <a:pt x="160" y="16"/>
                  </a:lnTo>
                  <a:lnTo>
                    <a:pt x="142" y="8"/>
                  </a:lnTo>
                  <a:lnTo>
                    <a:pt x="122" y="2"/>
                  </a:lnTo>
                  <a:lnTo>
                    <a:pt x="102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528" name="Freeform 288"/>
            <p:cNvSpPr>
              <a:spLocks/>
            </p:cNvSpPr>
            <p:nvPr/>
          </p:nvSpPr>
          <p:spPr bwMode="auto">
            <a:xfrm>
              <a:off x="8007453" y="6441624"/>
              <a:ext cx="87149" cy="87149"/>
            </a:xfrm>
            <a:custGeom>
              <a:avLst/>
              <a:gdLst/>
              <a:ahLst/>
              <a:cxnLst>
                <a:cxn ang="0">
                  <a:pos x="38" y="0"/>
                </a:cxn>
                <a:cxn ang="0">
                  <a:pos x="38" y="0"/>
                </a:cxn>
                <a:cxn ang="0">
                  <a:pos x="30" y="2"/>
                </a:cxn>
                <a:cxn ang="0">
                  <a:pos x="24" y="4"/>
                </a:cxn>
                <a:cxn ang="0">
                  <a:pos x="18" y="6"/>
                </a:cxn>
                <a:cxn ang="0">
                  <a:pos x="12" y="12"/>
                </a:cxn>
                <a:cxn ang="0">
                  <a:pos x="6" y="18"/>
                </a:cxn>
                <a:cxn ang="0">
                  <a:pos x="4" y="24"/>
                </a:cxn>
                <a:cxn ang="0">
                  <a:pos x="2" y="30"/>
                </a:cxn>
                <a:cxn ang="0">
                  <a:pos x="0" y="38"/>
                </a:cxn>
                <a:cxn ang="0">
                  <a:pos x="0" y="38"/>
                </a:cxn>
                <a:cxn ang="0">
                  <a:pos x="2" y="46"/>
                </a:cxn>
                <a:cxn ang="0">
                  <a:pos x="4" y="54"/>
                </a:cxn>
                <a:cxn ang="0">
                  <a:pos x="6" y="60"/>
                </a:cxn>
                <a:cxn ang="0">
                  <a:pos x="12" y="66"/>
                </a:cxn>
                <a:cxn ang="0">
                  <a:pos x="18" y="70"/>
                </a:cxn>
                <a:cxn ang="0">
                  <a:pos x="24" y="74"/>
                </a:cxn>
                <a:cxn ang="0">
                  <a:pos x="30" y="76"/>
                </a:cxn>
                <a:cxn ang="0">
                  <a:pos x="38" y="76"/>
                </a:cxn>
                <a:cxn ang="0">
                  <a:pos x="38" y="76"/>
                </a:cxn>
                <a:cxn ang="0">
                  <a:pos x="46" y="76"/>
                </a:cxn>
                <a:cxn ang="0">
                  <a:pos x="54" y="74"/>
                </a:cxn>
                <a:cxn ang="0">
                  <a:pos x="60" y="70"/>
                </a:cxn>
                <a:cxn ang="0">
                  <a:pos x="66" y="66"/>
                </a:cxn>
                <a:cxn ang="0">
                  <a:pos x="70" y="60"/>
                </a:cxn>
                <a:cxn ang="0">
                  <a:pos x="74" y="54"/>
                </a:cxn>
                <a:cxn ang="0">
                  <a:pos x="76" y="46"/>
                </a:cxn>
                <a:cxn ang="0">
                  <a:pos x="76" y="38"/>
                </a:cxn>
                <a:cxn ang="0">
                  <a:pos x="76" y="38"/>
                </a:cxn>
                <a:cxn ang="0">
                  <a:pos x="76" y="30"/>
                </a:cxn>
                <a:cxn ang="0">
                  <a:pos x="74" y="24"/>
                </a:cxn>
                <a:cxn ang="0">
                  <a:pos x="70" y="18"/>
                </a:cxn>
                <a:cxn ang="0">
                  <a:pos x="66" y="12"/>
                </a:cxn>
                <a:cxn ang="0">
                  <a:pos x="60" y="6"/>
                </a:cxn>
                <a:cxn ang="0">
                  <a:pos x="54" y="4"/>
                </a:cxn>
                <a:cxn ang="0">
                  <a:pos x="46" y="2"/>
                </a:cxn>
                <a:cxn ang="0">
                  <a:pos x="38" y="0"/>
                </a:cxn>
              </a:cxnLst>
              <a:rect l="0" t="0" r="r" b="b"/>
              <a:pathLst>
                <a:path w="76" h="76">
                  <a:moveTo>
                    <a:pt x="38" y="0"/>
                  </a:moveTo>
                  <a:lnTo>
                    <a:pt x="38" y="0"/>
                  </a:lnTo>
                  <a:lnTo>
                    <a:pt x="30" y="2"/>
                  </a:lnTo>
                  <a:lnTo>
                    <a:pt x="24" y="4"/>
                  </a:lnTo>
                  <a:lnTo>
                    <a:pt x="18" y="6"/>
                  </a:lnTo>
                  <a:lnTo>
                    <a:pt x="12" y="12"/>
                  </a:lnTo>
                  <a:lnTo>
                    <a:pt x="6" y="18"/>
                  </a:lnTo>
                  <a:lnTo>
                    <a:pt x="4" y="24"/>
                  </a:lnTo>
                  <a:lnTo>
                    <a:pt x="2" y="30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2" y="46"/>
                  </a:lnTo>
                  <a:lnTo>
                    <a:pt x="4" y="54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0"/>
                  </a:lnTo>
                  <a:lnTo>
                    <a:pt x="24" y="74"/>
                  </a:lnTo>
                  <a:lnTo>
                    <a:pt x="30" y="76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46" y="76"/>
                  </a:lnTo>
                  <a:lnTo>
                    <a:pt x="54" y="74"/>
                  </a:lnTo>
                  <a:lnTo>
                    <a:pt x="60" y="70"/>
                  </a:lnTo>
                  <a:lnTo>
                    <a:pt x="66" y="66"/>
                  </a:lnTo>
                  <a:lnTo>
                    <a:pt x="70" y="60"/>
                  </a:lnTo>
                  <a:lnTo>
                    <a:pt x="74" y="54"/>
                  </a:lnTo>
                  <a:lnTo>
                    <a:pt x="76" y="46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30"/>
                  </a:lnTo>
                  <a:lnTo>
                    <a:pt x="74" y="24"/>
                  </a:lnTo>
                  <a:lnTo>
                    <a:pt x="70" y="18"/>
                  </a:lnTo>
                  <a:lnTo>
                    <a:pt x="66" y="12"/>
                  </a:lnTo>
                  <a:lnTo>
                    <a:pt x="60" y="6"/>
                  </a:lnTo>
                  <a:lnTo>
                    <a:pt x="54" y="4"/>
                  </a:lnTo>
                  <a:lnTo>
                    <a:pt x="46" y="2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D1CF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  <p:sp>
          <p:nvSpPr>
            <p:cNvPr id="529" name="Freeform 289"/>
            <p:cNvSpPr>
              <a:spLocks/>
            </p:cNvSpPr>
            <p:nvPr/>
          </p:nvSpPr>
          <p:spPr bwMode="auto">
            <a:xfrm>
              <a:off x="8007453" y="6441624"/>
              <a:ext cx="87149" cy="87149"/>
            </a:xfrm>
            <a:custGeom>
              <a:avLst/>
              <a:gdLst/>
              <a:ahLst/>
              <a:cxnLst>
                <a:cxn ang="0">
                  <a:pos x="38" y="0"/>
                </a:cxn>
                <a:cxn ang="0">
                  <a:pos x="38" y="0"/>
                </a:cxn>
                <a:cxn ang="0">
                  <a:pos x="30" y="2"/>
                </a:cxn>
                <a:cxn ang="0">
                  <a:pos x="24" y="4"/>
                </a:cxn>
                <a:cxn ang="0">
                  <a:pos x="18" y="6"/>
                </a:cxn>
                <a:cxn ang="0">
                  <a:pos x="12" y="12"/>
                </a:cxn>
                <a:cxn ang="0">
                  <a:pos x="6" y="18"/>
                </a:cxn>
                <a:cxn ang="0">
                  <a:pos x="4" y="24"/>
                </a:cxn>
                <a:cxn ang="0">
                  <a:pos x="2" y="30"/>
                </a:cxn>
                <a:cxn ang="0">
                  <a:pos x="0" y="38"/>
                </a:cxn>
                <a:cxn ang="0">
                  <a:pos x="0" y="38"/>
                </a:cxn>
                <a:cxn ang="0">
                  <a:pos x="2" y="46"/>
                </a:cxn>
                <a:cxn ang="0">
                  <a:pos x="4" y="54"/>
                </a:cxn>
                <a:cxn ang="0">
                  <a:pos x="6" y="60"/>
                </a:cxn>
                <a:cxn ang="0">
                  <a:pos x="12" y="66"/>
                </a:cxn>
                <a:cxn ang="0">
                  <a:pos x="18" y="70"/>
                </a:cxn>
                <a:cxn ang="0">
                  <a:pos x="24" y="74"/>
                </a:cxn>
                <a:cxn ang="0">
                  <a:pos x="30" y="76"/>
                </a:cxn>
                <a:cxn ang="0">
                  <a:pos x="38" y="76"/>
                </a:cxn>
                <a:cxn ang="0">
                  <a:pos x="38" y="76"/>
                </a:cxn>
                <a:cxn ang="0">
                  <a:pos x="46" y="76"/>
                </a:cxn>
                <a:cxn ang="0">
                  <a:pos x="54" y="74"/>
                </a:cxn>
                <a:cxn ang="0">
                  <a:pos x="60" y="70"/>
                </a:cxn>
                <a:cxn ang="0">
                  <a:pos x="66" y="66"/>
                </a:cxn>
                <a:cxn ang="0">
                  <a:pos x="70" y="60"/>
                </a:cxn>
                <a:cxn ang="0">
                  <a:pos x="74" y="54"/>
                </a:cxn>
                <a:cxn ang="0">
                  <a:pos x="76" y="46"/>
                </a:cxn>
                <a:cxn ang="0">
                  <a:pos x="76" y="38"/>
                </a:cxn>
                <a:cxn ang="0">
                  <a:pos x="76" y="38"/>
                </a:cxn>
                <a:cxn ang="0">
                  <a:pos x="76" y="30"/>
                </a:cxn>
                <a:cxn ang="0">
                  <a:pos x="74" y="24"/>
                </a:cxn>
                <a:cxn ang="0">
                  <a:pos x="70" y="18"/>
                </a:cxn>
                <a:cxn ang="0">
                  <a:pos x="66" y="12"/>
                </a:cxn>
                <a:cxn ang="0">
                  <a:pos x="60" y="6"/>
                </a:cxn>
                <a:cxn ang="0">
                  <a:pos x="54" y="4"/>
                </a:cxn>
                <a:cxn ang="0">
                  <a:pos x="46" y="2"/>
                </a:cxn>
                <a:cxn ang="0">
                  <a:pos x="38" y="0"/>
                </a:cxn>
              </a:cxnLst>
              <a:rect l="0" t="0" r="r" b="b"/>
              <a:pathLst>
                <a:path w="76" h="76">
                  <a:moveTo>
                    <a:pt x="38" y="0"/>
                  </a:moveTo>
                  <a:lnTo>
                    <a:pt x="38" y="0"/>
                  </a:lnTo>
                  <a:lnTo>
                    <a:pt x="30" y="2"/>
                  </a:lnTo>
                  <a:lnTo>
                    <a:pt x="24" y="4"/>
                  </a:lnTo>
                  <a:lnTo>
                    <a:pt x="18" y="6"/>
                  </a:lnTo>
                  <a:lnTo>
                    <a:pt x="12" y="12"/>
                  </a:lnTo>
                  <a:lnTo>
                    <a:pt x="6" y="18"/>
                  </a:lnTo>
                  <a:lnTo>
                    <a:pt x="4" y="24"/>
                  </a:lnTo>
                  <a:lnTo>
                    <a:pt x="2" y="30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2" y="46"/>
                  </a:lnTo>
                  <a:lnTo>
                    <a:pt x="4" y="54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0"/>
                  </a:lnTo>
                  <a:lnTo>
                    <a:pt x="24" y="74"/>
                  </a:lnTo>
                  <a:lnTo>
                    <a:pt x="30" y="76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46" y="76"/>
                  </a:lnTo>
                  <a:lnTo>
                    <a:pt x="54" y="74"/>
                  </a:lnTo>
                  <a:lnTo>
                    <a:pt x="60" y="70"/>
                  </a:lnTo>
                  <a:lnTo>
                    <a:pt x="66" y="66"/>
                  </a:lnTo>
                  <a:lnTo>
                    <a:pt x="70" y="60"/>
                  </a:lnTo>
                  <a:lnTo>
                    <a:pt x="74" y="54"/>
                  </a:lnTo>
                  <a:lnTo>
                    <a:pt x="76" y="46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30"/>
                  </a:lnTo>
                  <a:lnTo>
                    <a:pt x="74" y="24"/>
                  </a:lnTo>
                  <a:lnTo>
                    <a:pt x="70" y="18"/>
                  </a:lnTo>
                  <a:lnTo>
                    <a:pt x="66" y="12"/>
                  </a:lnTo>
                  <a:lnTo>
                    <a:pt x="60" y="6"/>
                  </a:lnTo>
                  <a:lnTo>
                    <a:pt x="54" y="4"/>
                  </a:lnTo>
                  <a:lnTo>
                    <a:pt x="46" y="2"/>
                  </a:lnTo>
                  <a:lnTo>
                    <a:pt x="38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맑은 고딕"/>
                <a:ea typeface="나눔고딕" pitchFamily="50" charset="-127"/>
              </a:endParaRPr>
            </a:p>
          </p:txBody>
        </p:sp>
      </p:grpSp>
      <p:sp>
        <p:nvSpPr>
          <p:cNvPr id="530" name="Freeform 188"/>
          <p:cNvSpPr>
            <a:spLocks/>
          </p:cNvSpPr>
          <p:nvPr userDrawn="1"/>
        </p:nvSpPr>
        <p:spPr bwMode="auto">
          <a:xfrm>
            <a:off x="8986261" y="5482985"/>
            <a:ext cx="377645" cy="348596"/>
          </a:xfrm>
          <a:custGeom>
            <a:avLst/>
            <a:gdLst/>
            <a:ahLst/>
            <a:cxnLst>
              <a:cxn ang="0">
                <a:pos x="152" y="0"/>
              </a:cxn>
              <a:cxn ang="0">
                <a:pos x="122" y="4"/>
              </a:cxn>
              <a:cxn ang="0">
                <a:pos x="92" y="12"/>
              </a:cxn>
              <a:cxn ang="0">
                <a:pos x="66" y="26"/>
              </a:cxn>
              <a:cxn ang="0">
                <a:pos x="44" y="46"/>
              </a:cxn>
              <a:cxn ang="0">
                <a:pos x="26" y="68"/>
              </a:cxn>
              <a:cxn ang="0">
                <a:pos x="12" y="94"/>
              </a:cxn>
              <a:cxn ang="0">
                <a:pos x="2" y="122"/>
              </a:cxn>
              <a:cxn ang="0">
                <a:pos x="0" y="152"/>
              </a:cxn>
              <a:cxn ang="0">
                <a:pos x="0" y="168"/>
              </a:cxn>
              <a:cxn ang="0">
                <a:pos x="6" y="198"/>
              </a:cxn>
              <a:cxn ang="0">
                <a:pos x="18" y="226"/>
              </a:cxn>
              <a:cxn ang="0">
                <a:pos x="34" y="250"/>
              </a:cxn>
              <a:cxn ang="0">
                <a:pos x="56" y="270"/>
              </a:cxn>
              <a:cxn ang="0">
                <a:pos x="80" y="286"/>
              </a:cxn>
              <a:cxn ang="0">
                <a:pos x="106" y="298"/>
              </a:cxn>
              <a:cxn ang="0">
                <a:pos x="136" y="304"/>
              </a:cxn>
              <a:cxn ang="0">
                <a:pos x="152" y="304"/>
              </a:cxn>
              <a:cxn ang="0">
                <a:pos x="182" y="302"/>
              </a:cxn>
              <a:cxn ang="0">
                <a:pos x="212" y="292"/>
              </a:cxn>
              <a:cxn ang="0">
                <a:pos x="236" y="278"/>
              </a:cxn>
              <a:cxn ang="0">
                <a:pos x="260" y="260"/>
              </a:cxn>
              <a:cxn ang="0">
                <a:pos x="278" y="238"/>
              </a:cxn>
              <a:cxn ang="0">
                <a:pos x="292" y="212"/>
              </a:cxn>
              <a:cxn ang="0">
                <a:pos x="300" y="184"/>
              </a:cxn>
              <a:cxn ang="0">
                <a:pos x="304" y="152"/>
              </a:cxn>
              <a:cxn ang="0">
                <a:pos x="304" y="138"/>
              </a:cxn>
              <a:cxn ang="0">
                <a:pos x="298" y="108"/>
              </a:cxn>
              <a:cxn ang="0">
                <a:pos x="286" y="80"/>
              </a:cxn>
              <a:cxn ang="0">
                <a:pos x="270" y="56"/>
              </a:cxn>
              <a:cxn ang="0">
                <a:pos x="248" y="36"/>
              </a:cxn>
              <a:cxn ang="0">
                <a:pos x="224" y="18"/>
              </a:cxn>
              <a:cxn ang="0">
                <a:pos x="198" y="8"/>
              </a:cxn>
              <a:cxn ang="0">
                <a:pos x="168" y="2"/>
              </a:cxn>
            </a:cxnLst>
            <a:rect l="0" t="0" r="r" b="b"/>
            <a:pathLst>
              <a:path w="304" h="304">
                <a:moveTo>
                  <a:pt x="152" y="0"/>
                </a:moveTo>
                <a:lnTo>
                  <a:pt x="152" y="0"/>
                </a:lnTo>
                <a:lnTo>
                  <a:pt x="136" y="2"/>
                </a:lnTo>
                <a:lnTo>
                  <a:pt x="122" y="4"/>
                </a:lnTo>
                <a:lnTo>
                  <a:pt x="106" y="8"/>
                </a:lnTo>
                <a:lnTo>
                  <a:pt x="92" y="12"/>
                </a:lnTo>
                <a:lnTo>
                  <a:pt x="80" y="18"/>
                </a:lnTo>
                <a:lnTo>
                  <a:pt x="66" y="26"/>
                </a:lnTo>
                <a:lnTo>
                  <a:pt x="56" y="36"/>
                </a:lnTo>
                <a:lnTo>
                  <a:pt x="44" y="46"/>
                </a:lnTo>
                <a:lnTo>
                  <a:pt x="34" y="56"/>
                </a:lnTo>
                <a:lnTo>
                  <a:pt x="26" y="68"/>
                </a:lnTo>
                <a:lnTo>
                  <a:pt x="18" y="80"/>
                </a:lnTo>
                <a:lnTo>
                  <a:pt x="12" y="94"/>
                </a:lnTo>
                <a:lnTo>
                  <a:pt x="6" y="108"/>
                </a:lnTo>
                <a:lnTo>
                  <a:pt x="2" y="122"/>
                </a:lnTo>
                <a:lnTo>
                  <a:pt x="0" y="138"/>
                </a:lnTo>
                <a:lnTo>
                  <a:pt x="0" y="152"/>
                </a:lnTo>
                <a:lnTo>
                  <a:pt x="0" y="152"/>
                </a:lnTo>
                <a:lnTo>
                  <a:pt x="0" y="168"/>
                </a:lnTo>
                <a:lnTo>
                  <a:pt x="2" y="184"/>
                </a:lnTo>
                <a:lnTo>
                  <a:pt x="6" y="198"/>
                </a:lnTo>
                <a:lnTo>
                  <a:pt x="12" y="212"/>
                </a:lnTo>
                <a:lnTo>
                  <a:pt x="18" y="226"/>
                </a:lnTo>
                <a:lnTo>
                  <a:pt x="26" y="238"/>
                </a:lnTo>
                <a:lnTo>
                  <a:pt x="34" y="250"/>
                </a:lnTo>
                <a:lnTo>
                  <a:pt x="44" y="260"/>
                </a:lnTo>
                <a:lnTo>
                  <a:pt x="56" y="270"/>
                </a:lnTo>
                <a:lnTo>
                  <a:pt x="66" y="278"/>
                </a:lnTo>
                <a:lnTo>
                  <a:pt x="80" y="286"/>
                </a:lnTo>
                <a:lnTo>
                  <a:pt x="92" y="292"/>
                </a:lnTo>
                <a:lnTo>
                  <a:pt x="106" y="298"/>
                </a:lnTo>
                <a:lnTo>
                  <a:pt x="122" y="302"/>
                </a:lnTo>
                <a:lnTo>
                  <a:pt x="136" y="304"/>
                </a:lnTo>
                <a:lnTo>
                  <a:pt x="152" y="304"/>
                </a:lnTo>
                <a:lnTo>
                  <a:pt x="152" y="304"/>
                </a:lnTo>
                <a:lnTo>
                  <a:pt x="168" y="304"/>
                </a:lnTo>
                <a:lnTo>
                  <a:pt x="182" y="302"/>
                </a:lnTo>
                <a:lnTo>
                  <a:pt x="198" y="298"/>
                </a:lnTo>
                <a:lnTo>
                  <a:pt x="212" y="292"/>
                </a:lnTo>
                <a:lnTo>
                  <a:pt x="224" y="286"/>
                </a:lnTo>
                <a:lnTo>
                  <a:pt x="236" y="278"/>
                </a:lnTo>
                <a:lnTo>
                  <a:pt x="248" y="270"/>
                </a:lnTo>
                <a:lnTo>
                  <a:pt x="260" y="260"/>
                </a:lnTo>
                <a:lnTo>
                  <a:pt x="270" y="250"/>
                </a:lnTo>
                <a:lnTo>
                  <a:pt x="278" y="238"/>
                </a:lnTo>
                <a:lnTo>
                  <a:pt x="286" y="226"/>
                </a:lnTo>
                <a:lnTo>
                  <a:pt x="292" y="212"/>
                </a:lnTo>
                <a:lnTo>
                  <a:pt x="298" y="198"/>
                </a:lnTo>
                <a:lnTo>
                  <a:pt x="300" y="184"/>
                </a:lnTo>
                <a:lnTo>
                  <a:pt x="304" y="168"/>
                </a:lnTo>
                <a:lnTo>
                  <a:pt x="304" y="152"/>
                </a:lnTo>
                <a:lnTo>
                  <a:pt x="304" y="152"/>
                </a:lnTo>
                <a:lnTo>
                  <a:pt x="304" y="138"/>
                </a:lnTo>
                <a:lnTo>
                  <a:pt x="300" y="122"/>
                </a:lnTo>
                <a:lnTo>
                  <a:pt x="298" y="108"/>
                </a:lnTo>
                <a:lnTo>
                  <a:pt x="292" y="94"/>
                </a:lnTo>
                <a:lnTo>
                  <a:pt x="286" y="80"/>
                </a:lnTo>
                <a:lnTo>
                  <a:pt x="278" y="68"/>
                </a:lnTo>
                <a:lnTo>
                  <a:pt x="270" y="56"/>
                </a:lnTo>
                <a:lnTo>
                  <a:pt x="260" y="46"/>
                </a:lnTo>
                <a:lnTo>
                  <a:pt x="248" y="36"/>
                </a:lnTo>
                <a:lnTo>
                  <a:pt x="236" y="26"/>
                </a:lnTo>
                <a:lnTo>
                  <a:pt x="224" y="18"/>
                </a:lnTo>
                <a:lnTo>
                  <a:pt x="212" y="12"/>
                </a:lnTo>
                <a:lnTo>
                  <a:pt x="198" y="8"/>
                </a:lnTo>
                <a:lnTo>
                  <a:pt x="182" y="4"/>
                </a:lnTo>
                <a:lnTo>
                  <a:pt x="168" y="2"/>
                </a:lnTo>
                <a:lnTo>
                  <a:pt x="152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531" name="Freeform 192"/>
          <p:cNvSpPr>
            <a:spLocks/>
          </p:cNvSpPr>
          <p:nvPr userDrawn="1"/>
        </p:nvSpPr>
        <p:spPr bwMode="auto">
          <a:xfrm>
            <a:off x="8827246" y="6356768"/>
            <a:ext cx="315532" cy="288968"/>
          </a:xfrm>
          <a:custGeom>
            <a:avLst/>
            <a:gdLst/>
            <a:ahLst/>
            <a:cxnLst>
              <a:cxn ang="0">
                <a:pos x="128" y="0"/>
              </a:cxn>
              <a:cxn ang="0">
                <a:pos x="128" y="0"/>
              </a:cxn>
              <a:cxn ang="0">
                <a:pos x="114" y="0"/>
              </a:cxn>
              <a:cxn ang="0">
                <a:pos x="102" y="2"/>
              </a:cxn>
              <a:cxn ang="0">
                <a:pos x="90" y="4"/>
              </a:cxn>
              <a:cxn ang="0">
                <a:pos x="78" y="10"/>
              </a:cxn>
              <a:cxn ang="0">
                <a:pos x="56" y="20"/>
              </a:cxn>
              <a:cxn ang="0">
                <a:pos x="38" y="36"/>
              </a:cxn>
              <a:cxn ang="0">
                <a:pos x="22" y="56"/>
              </a:cxn>
              <a:cxn ang="0">
                <a:pos x="10" y="76"/>
              </a:cxn>
              <a:cxn ang="0">
                <a:pos x="6" y="88"/>
              </a:cxn>
              <a:cxn ang="0">
                <a:pos x="4" y="100"/>
              </a:cxn>
              <a:cxn ang="0">
                <a:pos x="2" y="114"/>
              </a:cxn>
              <a:cxn ang="0">
                <a:pos x="0" y="126"/>
              </a:cxn>
              <a:cxn ang="0">
                <a:pos x="0" y="126"/>
              </a:cxn>
              <a:cxn ang="0">
                <a:pos x="2" y="138"/>
              </a:cxn>
              <a:cxn ang="0">
                <a:pos x="4" y="152"/>
              </a:cxn>
              <a:cxn ang="0">
                <a:pos x="6" y="164"/>
              </a:cxn>
              <a:cxn ang="0">
                <a:pos x="10" y="176"/>
              </a:cxn>
              <a:cxn ang="0">
                <a:pos x="22" y="196"/>
              </a:cxn>
              <a:cxn ang="0">
                <a:pos x="38" y="216"/>
              </a:cxn>
              <a:cxn ang="0">
                <a:pos x="56" y="232"/>
              </a:cxn>
              <a:cxn ang="0">
                <a:pos x="78" y="242"/>
              </a:cxn>
              <a:cxn ang="0">
                <a:pos x="90" y="248"/>
              </a:cxn>
              <a:cxn ang="0">
                <a:pos x="102" y="250"/>
              </a:cxn>
              <a:cxn ang="0">
                <a:pos x="114" y="252"/>
              </a:cxn>
              <a:cxn ang="0">
                <a:pos x="128" y="252"/>
              </a:cxn>
              <a:cxn ang="0">
                <a:pos x="128" y="252"/>
              </a:cxn>
              <a:cxn ang="0">
                <a:pos x="140" y="252"/>
              </a:cxn>
              <a:cxn ang="0">
                <a:pos x="154" y="250"/>
              </a:cxn>
              <a:cxn ang="0">
                <a:pos x="166" y="248"/>
              </a:cxn>
              <a:cxn ang="0">
                <a:pos x="178" y="242"/>
              </a:cxn>
              <a:cxn ang="0">
                <a:pos x="198" y="232"/>
              </a:cxn>
              <a:cxn ang="0">
                <a:pos x="218" y="216"/>
              </a:cxn>
              <a:cxn ang="0">
                <a:pos x="232" y="196"/>
              </a:cxn>
              <a:cxn ang="0">
                <a:pos x="244" y="176"/>
              </a:cxn>
              <a:cxn ang="0">
                <a:pos x="248" y="164"/>
              </a:cxn>
              <a:cxn ang="0">
                <a:pos x="252" y="152"/>
              </a:cxn>
              <a:cxn ang="0">
                <a:pos x="254" y="138"/>
              </a:cxn>
              <a:cxn ang="0">
                <a:pos x="254" y="126"/>
              </a:cxn>
              <a:cxn ang="0">
                <a:pos x="254" y="126"/>
              </a:cxn>
              <a:cxn ang="0">
                <a:pos x="254" y="114"/>
              </a:cxn>
              <a:cxn ang="0">
                <a:pos x="252" y="100"/>
              </a:cxn>
              <a:cxn ang="0">
                <a:pos x="248" y="88"/>
              </a:cxn>
              <a:cxn ang="0">
                <a:pos x="244" y="76"/>
              </a:cxn>
              <a:cxn ang="0">
                <a:pos x="232" y="56"/>
              </a:cxn>
              <a:cxn ang="0">
                <a:pos x="218" y="36"/>
              </a:cxn>
              <a:cxn ang="0">
                <a:pos x="198" y="20"/>
              </a:cxn>
              <a:cxn ang="0">
                <a:pos x="178" y="10"/>
              </a:cxn>
              <a:cxn ang="0">
                <a:pos x="166" y="4"/>
              </a:cxn>
              <a:cxn ang="0">
                <a:pos x="154" y="2"/>
              </a:cxn>
              <a:cxn ang="0">
                <a:pos x="140" y="0"/>
              </a:cxn>
              <a:cxn ang="0">
                <a:pos x="128" y="0"/>
              </a:cxn>
            </a:cxnLst>
            <a:rect l="0" t="0" r="r" b="b"/>
            <a:pathLst>
              <a:path w="254" h="252">
                <a:moveTo>
                  <a:pt x="128" y="0"/>
                </a:moveTo>
                <a:lnTo>
                  <a:pt x="128" y="0"/>
                </a:lnTo>
                <a:lnTo>
                  <a:pt x="114" y="0"/>
                </a:lnTo>
                <a:lnTo>
                  <a:pt x="102" y="2"/>
                </a:lnTo>
                <a:lnTo>
                  <a:pt x="90" y="4"/>
                </a:lnTo>
                <a:lnTo>
                  <a:pt x="78" y="10"/>
                </a:lnTo>
                <a:lnTo>
                  <a:pt x="56" y="20"/>
                </a:lnTo>
                <a:lnTo>
                  <a:pt x="38" y="36"/>
                </a:lnTo>
                <a:lnTo>
                  <a:pt x="22" y="56"/>
                </a:lnTo>
                <a:lnTo>
                  <a:pt x="10" y="76"/>
                </a:lnTo>
                <a:lnTo>
                  <a:pt x="6" y="88"/>
                </a:lnTo>
                <a:lnTo>
                  <a:pt x="4" y="100"/>
                </a:lnTo>
                <a:lnTo>
                  <a:pt x="2" y="114"/>
                </a:lnTo>
                <a:lnTo>
                  <a:pt x="0" y="126"/>
                </a:lnTo>
                <a:lnTo>
                  <a:pt x="0" y="126"/>
                </a:lnTo>
                <a:lnTo>
                  <a:pt x="2" y="138"/>
                </a:lnTo>
                <a:lnTo>
                  <a:pt x="4" y="152"/>
                </a:lnTo>
                <a:lnTo>
                  <a:pt x="6" y="164"/>
                </a:lnTo>
                <a:lnTo>
                  <a:pt x="10" y="176"/>
                </a:lnTo>
                <a:lnTo>
                  <a:pt x="22" y="196"/>
                </a:lnTo>
                <a:lnTo>
                  <a:pt x="38" y="216"/>
                </a:lnTo>
                <a:lnTo>
                  <a:pt x="56" y="232"/>
                </a:lnTo>
                <a:lnTo>
                  <a:pt x="78" y="242"/>
                </a:lnTo>
                <a:lnTo>
                  <a:pt x="90" y="248"/>
                </a:lnTo>
                <a:lnTo>
                  <a:pt x="102" y="250"/>
                </a:lnTo>
                <a:lnTo>
                  <a:pt x="114" y="252"/>
                </a:lnTo>
                <a:lnTo>
                  <a:pt x="128" y="252"/>
                </a:lnTo>
                <a:lnTo>
                  <a:pt x="128" y="252"/>
                </a:lnTo>
                <a:lnTo>
                  <a:pt x="140" y="252"/>
                </a:lnTo>
                <a:lnTo>
                  <a:pt x="154" y="250"/>
                </a:lnTo>
                <a:lnTo>
                  <a:pt x="166" y="248"/>
                </a:lnTo>
                <a:lnTo>
                  <a:pt x="178" y="242"/>
                </a:lnTo>
                <a:lnTo>
                  <a:pt x="198" y="232"/>
                </a:lnTo>
                <a:lnTo>
                  <a:pt x="218" y="216"/>
                </a:lnTo>
                <a:lnTo>
                  <a:pt x="232" y="196"/>
                </a:lnTo>
                <a:lnTo>
                  <a:pt x="244" y="176"/>
                </a:lnTo>
                <a:lnTo>
                  <a:pt x="248" y="164"/>
                </a:lnTo>
                <a:lnTo>
                  <a:pt x="252" y="152"/>
                </a:lnTo>
                <a:lnTo>
                  <a:pt x="254" y="138"/>
                </a:lnTo>
                <a:lnTo>
                  <a:pt x="254" y="126"/>
                </a:lnTo>
                <a:lnTo>
                  <a:pt x="254" y="126"/>
                </a:lnTo>
                <a:lnTo>
                  <a:pt x="254" y="114"/>
                </a:lnTo>
                <a:lnTo>
                  <a:pt x="252" y="100"/>
                </a:lnTo>
                <a:lnTo>
                  <a:pt x="248" y="88"/>
                </a:lnTo>
                <a:lnTo>
                  <a:pt x="244" y="76"/>
                </a:lnTo>
                <a:lnTo>
                  <a:pt x="232" y="56"/>
                </a:lnTo>
                <a:lnTo>
                  <a:pt x="218" y="36"/>
                </a:lnTo>
                <a:lnTo>
                  <a:pt x="198" y="20"/>
                </a:lnTo>
                <a:lnTo>
                  <a:pt x="178" y="10"/>
                </a:lnTo>
                <a:lnTo>
                  <a:pt x="166" y="4"/>
                </a:lnTo>
                <a:lnTo>
                  <a:pt x="154" y="2"/>
                </a:lnTo>
                <a:lnTo>
                  <a:pt x="140" y="0"/>
                </a:lnTo>
                <a:lnTo>
                  <a:pt x="128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532" name="Freeform 206"/>
          <p:cNvSpPr>
            <a:spLocks/>
          </p:cNvSpPr>
          <p:nvPr userDrawn="1"/>
        </p:nvSpPr>
        <p:spPr bwMode="auto">
          <a:xfrm>
            <a:off x="8109224" y="5485278"/>
            <a:ext cx="313049" cy="288968"/>
          </a:xfrm>
          <a:custGeom>
            <a:avLst/>
            <a:gdLst/>
            <a:ahLst/>
            <a:cxnLst>
              <a:cxn ang="0">
                <a:pos x="126" y="0"/>
              </a:cxn>
              <a:cxn ang="0">
                <a:pos x="126" y="0"/>
              </a:cxn>
              <a:cxn ang="0">
                <a:pos x="114" y="2"/>
              </a:cxn>
              <a:cxn ang="0">
                <a:pos x="102" y="4"/>
              </a:cxn>
              <a:cxn ang="0">
                <a:pos x="90" y="6"/>
              </a:cxn>
              <a:cxn ang="0">
                <a:pos x="78" y="10"/>
              </a:cxn>
              <a:cxn ang="0">
                <a:pos x="56" y="22"/>
              </a:cxn>
              <a:cxn ang="0">
                <a:pos x="38" y="38"/>
              </a:cxn>
              <a:cxn ang="0">
                <a:pos x="22" y="56"/>
              </a:cxn>
              <a:cxn ang="0">
                <a:pos x="10" y="78"/>
              </a:cxn>
              <a:cxn ang="0">
                <a:pos x="6" y="88"/>
              </a:cxn>
              <a:cxn ang="0">
                <a:pos x="4" y="100"/>
              </a:cxn>
              <a:cxn ang="0">
                <a:pos x="2" y="114"/>
              </a:cxn>
              <a:cxn ang="0">
                <a:pos x="0" y="126"/>
              </a:cxn>
              <a:cxn ang="0">
                <a:pos x="0" y="126"/>
              </a:cxn>
              <a:cxn ang="0">
                <a:pos x="2" y="140"/>
              </a:cxn>
              <a:cxn ang="0">
                <a:pos x="4" y="152"/>
              </a:cxn>
              <a:cxn ang="0">
                <a:pos x="6" y="164"/>
              </a:cxn>
              <a:cxn ang="0">
                <a:pos x="10" y="176"/>
              </a:cxn>
              <a:cxn ang="0">
                <a:pos x="22" y="196"/>
              </a:cxn>
              <a:cxn ang="0">
                <a:pos x="38" y="216"/>
              </a:cxn>
              <a:cxn ang="0">
                <a:pos x="56" y="230"/>
              </a:cxn>
              <a:cxn ang="0">
                <a:pos x="78" y="242"/>
              </a:cxn>
              <a:cxn ang="0">
                <a:pos x="90" y="246"/>
              </a:cxn>
              <a:cxn ang="0">
                <a:pos x="102" y="250"/>
              </a:cxn>
              <a:cxn ang="0">
                <a:pos x="114" y="252"/>
              </a:cxn>
              <a:cxn ang="0">
                <a:pos x="126" y="252"/>
              </a:cxn>
              <a:cxn ang="0">
                <a:pos x="126" y="252"/>
              </a:cxn>
              <a:cxn ang="0">
                <a:pos x="140" y="252"/>
              </a:cxn>
              <a:cxn ang="0">
                <a:pos x="152" y="250"/>
              </a:cxn>
              <a:cxn ang="0">
                <a:pos x="164" y="246"/>
              </a:cxn>
              <a:cxn ang="0">
                <a:pos x="176" y="242"/>
              </a:cxn>
              <a:cxn ang="0">
                <a:pos x="196" y="230"/>
              </a:cxn>
              <a:cxn ang="0">
                <a:pos x="216" y="216"/>
              </a:cxn>
              <a:cxn ang="0">
                <a:pos x="230" y="196"/>
              </a:cxn>
              <a:cxn ang="0">
                <a:pos x="242" y="176"/>
              </a:cxn>
              <a:cxn ang="0">
                <a:pos x="246" y="164"/>
              </a:cxn>
              <a:cxn ang="0">
                <a:pos x="250" y="152"/>
              </a:cxn>
              <a:cxn ang="0">
                <a:pos x="252" y="140"/>
              </a:cxn>
              <a:cxn ang="0">
                <a:pos x="252" y="126"/>
              </a:cxn>
              <a:cxn ang="0">
                <a:pos x="252" y="126"/>
              </a:cxn>
              <a:cxn ang="0">
                <a:pos x="252" y="114"/>
              </a:cxn>
              <a:cxn ang="0">
                <a:pos x="250" y="100"/>
              </a:cxn>
              <a:cxn ang="0">
                <a:pos x="246" y="88"/>
              </a:cxn>
              <a:cxn ang="0">
                <a:pos x="242" y="78"/>
              </a:cxn>
              <a:cxn ang="0">
                <a:pos x="230" y="56"/>
              </a:cxn>
              <a:cxn ang="0">
                <a:pos x="216" y="38"/>
              </a:cxn>
              <a:cxn ang="0">
                <a:pos x="196" y="22"/>
              </a:cxn>
              <a:cxn ang="0">
                <a:pos x="176" y="10"/>
              </a:cxn>
              <a:cxn ang="0">
                <a:pos x="164" y="6"/>
              </a:cxn>
              <a:cxn ang="0">
                <a:pos x="152" y="4"/>
              </a:cxn>
              <a:cxn ang="0">
                <a:pos x="140" y="2"/>
              </a:cxn>
              <a:cxn ang="0">
                <a:pos x="126" y="0"/>
              </a:cxn>
            </a:cxnLst>
            <a:rect l="0" t="0" r="r" b="b"/>
            <a:pathLst>
              <a:path w="252" h="252">
                <a:moveTo>
                  <a:pt x="126" y="0"/>
                </a:moveTo>
                <a:lnTo>
                  <a:pt x="126" y="0"/>
                </a:lnTo>
                <a:lnTo>
                  <a:pt x="114" y="2"/>
                </a:lnTo>
                <a:lnTo>
                  <a:pt x="102" y="4"/>
                </a:lnTo>
                <a:lnTo>
                  <a:pt x="90" y="6"/>
                </a:lnTo>
                <a:lnTo>
                  <a:pt x="78" y="10"/>
                </a:lnTo>
                <a:lnTo>
                  <a:pt x="56" y="22"/>
                </a:lnTo>
                <a:lnTo>
                  <a:pt x="38" y="38"/>
                </a:lnTo>
                <a:lnTo>
                  <a:pt x="22" y="56"/>
                </a:lnTo>
                <a:lnTo>
                  <a:pt x="10" y="78"/>
                </a:lnTo>
                <a:lnTo>
                  <a:pt x="6" y="88"/>
                </a:lnTo>
                <a:lnTo>
                  <a:pt x="4" y="100"/>
                </a:lnTo>
                <a:lnTo>
                  <a:pt x="2" y="114"/>
                </a:lnTo>
                <a:lnTo>
                  <a:pt x="0" y="126"/>
                </a:lnTo>
                <a:lnTo>
                  <a:pt x="0" y="126"/>
                </a:lnTo>
                <a:lnTo>
                  <a:pt x="2" y="140"/>
                </a:lnTo>
                <a:lnTo>
                  <a:pt x="4" y="152"/>
                </a:lnTo>
                <a:lnTo>
                  <a:pt x="6" y="164"/>
                </a:lnTo>
                <a:lnTo>
                  <a:pt x="10" y="176"/>
                </a:lnTo>
                <a:lnTo>
                  <a:pt x="22" y="196"/>
                </a:lnTo>
                <a:lnTo>
                  <a:pt x="38" y="216"/>
                </a:lnTo>
                <a:lnTo>
                  <a:pt x="56" y="230"/>
                </a:lnTo>
                <a:lnTo>
                  <a:pt x="78" y="242"/>
                </a:lnTo>
                <a:lnTo>
                  <a:pt x="90" y="246"/>
                </a:lnTo>
                <a:lnTo>
                  <a:pt x="102" y="250"/>
                </a:lnTo>
                <a:lnTo>
                  <a:pt x="114" y="252"/>
                </a:lnTo>
                <a:lnTo>
                  <a:pt x="126" y="252"/>
                </a:lnTo>
                <a:lnTo>
                  <a:pt x="126" y="252"/>
                </a:lnTo>
                <a:lnTo>
                  <a:pt x="140" y="252"/>
                </a:lnTo>
                <a:lnTo>
                  <a:pt x="152" y="250"/>
                </a:lnTo>
                <a:lnTo>
                  <a:pt x="164" y="246"/>
                </a:lnTo>
                <a:lnTo>
                  <a:pt x="176" y="242"/>
                </a:lnTo>
                <a:lnTo>
                  <a:pt x="196" y="230"/>
                </a:lnTo>
                <a:lnTo>
                  <a:pt x="216" y="216"/>
                </a:lnTo>
                <a:lnTo>
                  <a:pt x="230" y="196"/>
                </a:lnTo>
                <a:lnTo>
                  <a:pt x="242" y="176"/>
                </a:lnTo>
                <a:lnTo>
                  <a:pt x="246" y="164"/>
                </a:lnTo>
                <a:lnTo>
                  <a:pt x="250" y="152"/>
                </a:lnTo>
                <a:lnTo>
                  <a:pt x="252" y="140"/>
                </a:lnTo>
                <a:lnTo>
                  <a:pt x="252" y="126"/>
                </a:lnTo>
                <a:lnTo>
                  <a:pt x="252" y="126"/>
                </a:lnTo>
                <a:lnTo>
                  <a:pt x="252" y="114"/>
                </a:lnTo>
                <a:lnTo>
                  <a:pt x="250" y="100"/>
                </a:lnTo>
                <a:lnTo>
                  <a:pt x="246" y="88"/>
                </a:lnTo>
                <a:lnTo>
                  <a:pt x="242" y="78"/>
                </a:lnTo>
                <a:lnTo>
                  <a:pt x="230" y="56"/>
                </a:lnTo>
                <a:lnTo>
                  <a:pt x="216" y="38"/>
                </a:lnTo>
                <a:lnTo>
                  <a:pt x="196" y="22"/>
                </a:lnTo>
                <a:lnTo>
                  <a:pt x="176" y="10"/>
                </a:lnTo>
                <a:lnTo>
                  <a:pt x="164" y="6"/>
                </a:lnTo>
                <a:lnTo>
                  <a:pt x="152" y="4"/>
                </a:lnTo>
                <a:lnTo>
                  <a:pt x="140" y="2"/>
                </a:lnTo>
                <a:lnTo>
                  <a:pt x="126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533" name="Freeform 222"/>
          <p:cNvSpPr>
            <a:spLocks/>
          </p:cNvSpPr>
          <p:nvPr userDrawn="1"/>
        </p:nvSpPr>
        <p:spPr bwMode="auto">
          <a:xfrm>
            <a:off x="9304277" y="5237592"/>
            <a:ext cx="377645" cy="348596"/>
          </a:xfrm>
          <a:custGeom>
            <a:avLst/>
            <a:gdLst/>
            <a:ahLst/>
            <a:cxnLst>
              <a:cxn ang="0">
                <a:pos x="152" y="0"/>
              </a:cxn>
              <a:cxn ang="0">
                <a:pos x="122" y="2"/>
              </a:cxn>
              <a:cxn ang="0">
                <a:pos x="94" y="12"/>
              </a:cxn>
              <a:cxn ang="0">
                <a:pos x="68" y="26"/>
              </a:cxn>
              <a:cxn ang="0">
                <a:pos x="46" y="44"/>
              </a:cxn>
              <a:cxn ang="0">
                <a:pos x="26" y="66"/>
              </a:cxn>
              <a:cxn ang="0">
                <a:pos x="12" y="92"/>
              </a:cxn>
              <a:cxn ang="0">
                <a:pos x="4" y="120"/>
              </a:cxn>
              <a:cxn ang="0">
                <a:pos x="0" y="152"/>
              </a:cxn>
              <a:cxn ang="0">
                <a:pos x="2" y="168"/>
              </a:cxn>
              <a:cxn ang="0">
                <a:pos x="8" y="196"/>
              </a:cxn>
              <a:cxn ang="0">
                <a:pos x="20" y="224"/>
              </a:cxn>
              <a:cxn ang="0">
                <a:pos x="36" y="248"/>
              </a:cxn>
              <a:cxn ang="0">
                <a:pos x="56" y="268"/>
              </a:cxn>
              <a:cxn ang="0">
                <a:pos x="80" y="284"/>
              </a:cxn>
              <a:cxn ang="0">
                <a:pos x="108" y="296"/>
              </a:cxn>
              <a:cxn ang="0">
                <a:pos x="136" y="302"/>
              </a:cxn>
              <a:cxn ang="0">
                <a:pos x="152" y="304"/>
              </a:cxn>
              <a:cxn ang="0">
                <a:pos x="184" y="300"/>
              </a:cxn>
              <a:cxn ang="0">
                <a:pos x="212" y="292"/>
              </a:cxn>
              <a:cxn ang="0">
                <a:pos x="238" y="278"/>
              </a:cxn>
              <a:cxn ang="0">
                <a:pos x="260" y="258"/>
              </a:cxn>
              <a:cxn ang="0">
                <a:pos x="278" y="236"/>
              </a:cxn>
              <a:cxn ang="0">
                <a:pos x="292" y="210"/>
              </a:cxn>
              <a:cxn ang="0">
                <a:pos x="302" y="182"/>
              </a:cxn>
              <a:cxn ang="0">
                <a:pos x="304" y="152"/>
              </a:cxn>
              <a:cxn ang="0">
                <a:pos x="304" y="136"/>
              </a:cxn>
              <a:cxn ang="0">
                <a:pos x="298" y="106"/>
              </a:cxn>
              <a:cxn ang="0">
                <a:pos x="286" y="80"/>
              </a:cxn>
              <a:cxn ang="0">
                <a:pos x="270" y="54"/>
              </a:cxn>
              <a:cxn ang="0">
                <a:pos x="250" y="34"/>
              </a:cxn>
              <a:cxn ang="0">
                <a:pos x="224" y="18"/>
              </a:cxn>
              <a:cxn ang="0">
                <a:pos x="198" y="6"/>
              </a:cxn>
              <a:cxn ang="0">
                <a:pos x="168" y="0"/>
              </a:cxn>
            </a:cxnLst>
            <a:rect l="0" t="0" r="r" b="b"/>
            <a:pathLst>
              <a:path w="304" h="304">
                <a:moveTo>
                  <a:pt x="152" y="0"/>
                </a:moveTo>
                <a:lnTo>
                  <a:pt x="152" y="0"/>
                </a:lnTo>
                <a:lnTo>
                  <a:pt x="136" y="0"/>
                </a:lnTo>
                <a:lnTo>
                  <a:pt x="122" y="2"/>
                </a:lnTo>
                <a:lnTo>
                  <a:pt x="108" y="6"/>
                </a:lnTo>
                <a:lnTo>
                  <a:pt x="94" y="12"/>
                </a:lnTo>
                <a:lnTo>
                  <a:pt x="80" y="18"/>
                </a:lnTo>
                <a:lnTo>
                  <a:pt x="68" y="26"/>
                </a:lnTo>
                <a:lnTo>
                  <a:pt x="56" y="34"/>
                </a:lnTo>
                <a:lnTo>
                  <a:pt x="46" y="44"/>
                </a:lnTo>
                <a:lnTo>
                  <a:pt x="36" y="54"/>
                </a:lnTo>
                <a:lnTo>
                  <a:pt x="26" y="66"/>
                </a:lnTo>
                <a:lnTo>
                  <a:pt x="20" y="80"/>
                </a:lnTo>
                <a:lnTo>
                  <a:pt x="12" y="92"/>
                </a:lnTo>
                <a:lnTo>
                  <a:pt x="8" y="106"/>
                </a:lnTo>
                <a:lnTo>
                  <a:pt x="4" y="120"/>
                </a:lnTo>
                <a:lnTo>
                  <a:pt x="2" y="136"/>
                </a:lnTo>
                <a:lnTo>
                  <a:pt x="0" y="152"/>
                </a:lnTo>
                <a:lnTo>
                  <a:pt x="0" y="152"/>
                </a:lnTo>
                <a:lnTo>
                  <a:pt x="2" y="168"/>
                </a:lnTo>
                <a:lnTo>
                  <a:pt x="4" y="182"/>
                </a:lnTo>
                <a:lnTo>
                  <a:pt x="8" y="196"/>
                </a:lnTo>
                <a:lnTo>
                  <a:pt x="12" y="210"/>
                </a:lnTo>
                <a:lnTo>
                  <a:pt x="20" y="224"/>
                </a:lnTo>
                <a:lnTo>
                  <a:pt x="26" y="236"/>
                </a:lnTo>
                <a:lnTo>
                  <a:pt x="36" y="248"/>
                </a:lnTo>
                <a:lnTo>
                  <a:pt x="46" y="258"/>
                </a:lnTo>
                <a:lnTo>
                  <a:pt x="56" y="268"/>
                </a:lnTo>
                <a:lnTo>
                  <a:pt x="68" y="278"/>
                </a:lnTo>
                <a:lnTo>
                  <a:pt x="80" y="284"/>
                </a:lnTo>
                <a:lnTo>
                  <a:pt x="94" y="292"/>
                </a:lnTo>
                <a:lnTo>
                  <a:pt x="108" y="296"/>
                </a:lnTo>
                <a:lnTo>
                  <a:pt x="122" y="300"/>
                </a:lnTo>
                <a:lnTo>
                  <a:pt x="136" y="302"/>
                </a:lnTo>
                <a:lnTo>
                  <a:pt x="152" y="304"/>
                </a:lnTo>
                <a:lnTo>
                  <a:pt x="152" y="304"/>
                </a:lnTo>
                <a:lnTo>
                  <a:pt x="168" y="302"/>
                </a:lnTo>
                <a:lnTo>
                  <a:pt x="184" y="300"/>
                </a:lnTo>
                <a:lnTo>
                  <a:pt x="198" y="296"/>
                </a:lnTo>
                <a:lnTo>
                  <a:pt x="212" y="292"/>
                </a:lnTo>
                <a:lnTo>
                  <a:pt x="224" y="284"/>
                </a:lnTo>
                <a:lnTo>
                  <a:pt x="238" y="278"/>
                </a:lnTo>
                <a:lnTo>
                  <a:pt x="250" y="268"/>
                </a:lnTo>
                <a:lnTo>
                  <a:pt x="260" y="258"/>
                </a:lnTo>
                <a:lnTo>
                  <a:pt x="270" y="248"/>
                </a:lnTo>
                <a:lnTo>
                  <a:pt x="278" y="236"/>
                </a:lnTo>
                <a:lnTo>
                  <a:pt x="286" y="224"/>
                </a:lnTo>
                <a:lnTo>
                  <a:pt x="292" y="210"/>
                </a:lnTo>
                <a:lnTo>
                  <a:pt x="298" y="196"/>
                </a:lnTo>
                <a:lnTo>
                  <a:pt x="302" y="182"/>
                </a:lnTo>
                <a:lnTo>
                  <a:pt x="304" y="168"/>
                </a:lnTo>
                <a:lnTo>
                  <a:pt x="304" y="152"/>
                </a:lnTo>
                <a:lnTo>
                  <a:pt x="304" y="152"/>
                </a:lnTo>
                <a:lnTo>
                  <a:pt x="304" y="136"/>
                </a:lnTo>
                <a:lnTo>
                  <a:pt x="302" y="120"/>
                </a:lnTo>
                <a:lnTo>
                  <a:pt x="298" y="106"/>
                </a:lnTo>
                <a:lnTo>
                  <a:pt x="292" y="92"/>
                </a:lnTo>
                <a:lnTo>
                  <a:pt x="286" y="80"/>
                </a:lnTo>
                <a:lnTo>
                  <a:pt x="278" y="66"/>
                </a:lnTo>
                <a:lnTo>
                  <a:pt x="270" y="54"/>
                </a:lnTo>
                <a:lnTo>
                  <a:pt x="260" y="44"/>
                </a:lnTo>
                <a:lnTo>
                  <a:pt x="250" y="34"/>
                </a:lnTo>
                <a:lnTo>
                  <a:pt x="238" y="26"/>
                </a:lnTo>
                <a:lnTo>
                  <a:pt x="224" y="18"/>
                </a:lnTo>
                <a:lnTo>
                  <a:pt x="212" y="12"/>
                </a:lnTo>
                <a:lnTo>
                  <a:pt x="198" y="6"/>
                </a:lnTo>
                <a:lnTo>
                  <a:pt x="184" y="2"/>
                </a:lnTo>
                <a:lnTo>
                  <a:pt x="168" y="0"/>
                </a:lnTo>
                <a:lnTo>
                  <a:pt x="152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534" name="Freeform 228"/>
          <p:cNvSpPr>
            <a:spLocks/>
          </p:cNvSpPr>
          <p:nvPr userDrawn="1"/>
        </p:nvSpPr>
        <p:spPr bwMode="auto">
          <a:xfrm>
            <a:off x="8804891" y="5026600"/>
            <a:ext cx="283234" cy="263740"/>
          </a:xfrm>
          <a:custGeom>
            <a:avLst/>
            <a:gdLst/>
            <a:ahLst/>
            <a:cxnLst>
              <a:cxn ang="0">
                <a:pos x="114" y="0"/>
              </a:cxn>
              <a:cxn ang="0">
                <a:pos x="114" y="0"/>
              </a:cxn>
              <a:cxn ang="0">
                <a:pos x="90" y="2"/>
              </a:cxn>
              <a:cxn ang="0">
                <a:pos x="70" y="10"/>
              </a:cxn>
              <a:cxn ang="0">
                <a:pos x="50" y="20"/>
              </a:cxn>
              <a:cxn ang="0">
                <a:pos x="32" y="34"/>
              </a:cxn>
              <a:cxn ang="0">
                <a:pos x="18" y="50"/>
              </a:cxn>
              <a:cxn ang="0">
                <a:pos x="8" y="70"/>
              </a:cxn>
              <a:cxn ang="0">
                <a:pos x="2" y="92"/>
              </a:cxn>
              <a:cxn ang="0">
                <a:pos x="0" y="116"/>
              </a:cxn>
              <a:cxn ang="0">
                <a:pos x="0" y="116"/>
              </a:cxn>
              <a:cxn ang="0">
                <a:pos x="2" y="138"/>
              </a:cxn>
              <a:cxn ang="0">
                <a:pos x="8" y="160"/>
              </a:cxn>
              <a:cxn ang="0">
                <a:pos x="18" y="180"/>
              </a:cxn>
              <a:cxn ang="0">
                <a:pos x="32" y="196"/>
              </a:cxn>
              <a:cxn ang="0">
                <a:pos x="50" y="210"/>
              </a:cxn>
              <a:cxn ang="0">
                <a:pos x="70" y="220"/>
              </a:cxn>
              <a:cxn ang="0">
                <a:pos x="90" y="228"/>
              </a:cxn>
              <a:cxn ang="0">
                <a:pos x="114" y="230"/>
              </a:cxn>
              <a:cxn ang="0">
                <a:pos x="114" y="230"/>
              </a:cxn>
              <a:cxn ang="0">
                <a:pos x="136" y="228"/>
              </a:cxn>
              <a:cxn ang="0">
                <a:pos x="158" y="220"/>
              </a:cxn>
              <a:cxn ang="0">
                <a:pos x="178" y="210"/>
              </a:cxn>
              <a:cxn ang="0">
                <a:pos x="194" y="196"/>
              </a:cxn>
              <a:cxn ang="0">
                <a:pos x="208" y="180"/>
              </a:cxn>
              <a:cxn ang="0">
                <a:pos x="220" y="160"/>
              </a:cxn>
              <a:cxn ang="0">
                <a:pos x="226" y="138"/>
              </a:cxn>
              <a:cxn ang="0">
                <a:pos x="228" y="116"/>
              </a:cxn>
              <a:cxn ang="0">
                <a:pos x="228" y="116"/>
              </a:cxn>
              <a:cxn ang="0">
                <a:pos x="226" y="92"/>
              </a:cxn>
              <a:cxn ang="0">
                <a:pos x="220" y="70"/>
              </a:cxn>
              <a:cxn ang="0">
                <a:pos x="208" y="50"/>
              </a:cxn>
              <a:cxn ang="0">
                <a:pos x="194" y="34"/>
              </a:cxn>
              <a:cxn ang="0">
                <a:pos x="178" y="20"/>
              </a:cxn>
              <a:cxn ang="0">
                <a:pos x="158" y="10"/>
              </a:cxn>
              <a:cxn ang="0">
                <a:pos x="136" y="2"/>
              </a:cxn>
              <a:cxn ang="0">
                <a:pos x="114" y="0"/>
              </a:cxn>
            </a:cxnLst>
            <a:rect l="0" t="0" r="r" b="b"/>
            <a:pathLst>
              <a:path w="228" h="230">
                <a:moveTo>
                  <a:pt x="114" y="0"/>
                </a:moveTo>
                <a:lnTo>
                  <a:pt x="114" y="0"/>
                </a:lnTo>
                <a:lnTo>
                  <a:pt x="90" y="2"/>
                </a:lnTo>
                <a:lnTo>
                  <a:pt x="70" y="10"/>
                </a:lnTo>
                <a:lnTo>
                  <a:pt x="50" y="20"/>
                </a:lnTo>
                <a:lnTo>
                  <a:pt x="32" y="34"/>
                </a:lnTo>
                <a:lnTo>
                  <a:pt x="18" y="50"/>
                </a:lnTo>
                <a:lnTo>
                  <a:pt x="8" y="70"/>
                </a:lnTo>
                <a:lnTo>
                  <a:pt x="2" y="92"/>
                </a:lnTo>
                <a:lnTo>
                  <a:pt x="0" y="116"/>
                </a:lnTo>
                <a:lnTo>
                  <a:pt x="0" y="116"/>
                </a:lnTo>
                <a:lnTo>
                  <a:pt x="2" y="138"/>
                </a:lnTo>
                <a:lnTo>
                  <a:pt x="8" y="160"/>
                </a:lnTo>
                <a:lnTo>
                  <a:pt x="18" y="180"/>
                </a:lnTo>
                <a:lnTo>
                  <a:pt x="32" y="196"/>
                </a:lnTo>
                <a:lnTo>
                  <a:pt x="50" y="210"/>
                </a:lnTo>
                <a:lnTo>
                  <a:pt x="70" y="220"/>
                </a:lnTo>
                <a:lnTo>
                  <a:pt x="90" y="228"/>
                </a:lnTo>
                <a:lnTo>
                  <a:pt x="114" y="230"/>
                </a:lnTo>
                <a:lnTo>
                  <a:pt x="114" y="230"/>
                </a:lnTo>
                <a:lnTo>
                  <a:pt x="136" y="228"/>
                </a:lnTo>
                <a:lnTo>
                  <a:pt x="158" y="220"/>
                </a:lnTo>
                <a:lnTo>
                  <a:pt x="178" y="210"/>
                </a:lnTo>
                <a:lnTo>
                  <a:pt x="194" y="196"/>
                </a:lnTo>
                <a:lnTo>
                  <a:pt x="208" y="180"/>
                </a:lnTo>
                <a:lnTo>
                  <a:pt x="220" y="160"/>
                </a:lnTo>
                <a:lnTo>
                  <a:pt x="226" y="138"/>
                </a:lnTo>
                <a:lnTo>
                  <a:pt x="228" y="116"/>
                </a:lnTo>
                <a:lnTo>
                  <a:pt x="228" y="116"/>
                </a:lnTo>
                <a:lnTo>
                  <a:pt x="226" y="92"/>
                </a:lnTo>
                <a:lnTo>
                  <a:pt x="220" y="70"/>
                </a:lnTo>
                <a:lnTo>
                  <a:pt x="208" y="50"/>
                </a:lnTo>
                <a:lnTo>
                  <a:pt x="194" y="34"/>
                </a:lnTo>
                <a:lnTo>
                  <a:pt x="178" y="20"/>
                </a:lnTo>
                <a:lnTo>
                  <a:pt x="158" y="10"/>
                </a:lnTo>
                <a:lnTo>
                  <a:pt x="136" y="2"/>
                </a:lnTo>
                <a:lnTo>
                  <a:pt x="114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535" name="Freeform 240"/>
          <p:cNvSpPr>
            <a:spLocks/>
          </p:cNvSpPr>
          <p:nvPr userDrawn="1"/>
        </p:nvSpPr>
        <p:spPr bwMode="auto">
          <a:xfrm>
            <a:off x="8250845" y="6356768"/>
            <a:ext cx="377645" cy="348596"/>
          </a:xfrm>
          <a:custGeom>
            <a:avLst/>
            <a:gdLst/>
            <a:ahLst/>
            <a:cxnLst>
              <a:cxn ang="0">
                <a:pos x="152" y="0"/>
              </a:cxn>
              <a:cxn ang="0">
                <a:pos x="120" y="4"/>
              </a:cxn>
              <a:cxn ang="0">
                <a:pos x="92" y="12"/>
              </a:cxn>
              <a:cxn ang="0">
                <a:pos x="66" y="26"/>
              </a:cxn>
              <a:cxn ang="0">
                <a:pos x="44" y="46"/>
              </a:cxn>
              <a:cxn ang="0">
                <a:pos x="26" y="68"/>
              </a:cxn>
              <a:cxn ang="0">
                <a:pos x="12" y="94"/>
              </a:cxn>
              <a:cxn ang="0">
                <a:pos x="2" y="122"/>
              </a:cxn>
              <a:cxn ang="0">
                <a:pos x="0" y="152"/>
              </a:cxn>
              <a:cxn ang="0">
                <a:pos x="0" y="168"/>
              </a:cxn>
              <a:cxn ang="0">
                <a:pos x="6" y="198"/>
              </a:cxn>
              <a:cxn ang="0">
                <a:pos x="18" y="226"/>
              </a:cxn>
              <a:cxn ang="0">
                <a:pos x="34" y="250"/>
              </a:cxn>
              <a:cxn ang="0">
                <a:pos x="54" y="270"/>
              </a:cxn>
              <a:cxn ang="0">
                <a:pos x="80" y="286"/>
              </a:cxn>
              <a:cxn ang="0">
                <a:pos x="106" y="298"/>
              </a:cxn>
              <a:cxn ang="0">
                <a:pos x="136" y="304"/>
              </a:cxn>
              <a:cxn ang="0">
                <a:pos x="152" y="304"/>
              </a:cxn>
              <a:cxn ang="0">
                <a:pos x="182" y="302"/>
              </a:cxn>
              <a:cxn ang="0">
                <a:pos x="210" y="292"/>
              </a:cxn>
              <a:cxn ang="0">
                <a:pos x="236" y="278"/>
              </a:cxn>
              <a:cxn ang="0">
                <a:pos x="258" y="260"/>
              </a:cxn>
              <a:cxn ang="0">
                <a:pos x="278" y="238"/>
              </a:cxn>
              <a:cxn ang="0">
                <a:pos x="292" y="212"/>
              </a:cxn>
              <a:cxn ang="0">
                <a:pos x="300" y="184"/>
              </a:cxn>
              <a:cxn ang="0">
                <a:pos x="304" y="152"/>
              </a:cxn>
              <a:cxn ang="0">
                <a:pos x="302" y="138"/>
              </a:cxn>
              <a:cxn ang="0">
                <a:pos x="296" y="108"/>
              </a:cxn>
              <a:cxn ang="0">
                <a:pos x="284" y="80"/>
              </a:cxn>
              <a:cxn ang="0">
                <a:pos x="268" y="56"/>
              </a:cxn>
              <a:cxn ang="0">
                <a:pos x="248" y="36"/>
              </a:cxn>
              <a:cxn ang="0">
                <a:pos x="224" y="20"/>
              </a:cxn>
              <a:cxn ang="0">
                <a:pos x="196" y="8"/>
              </a:cxn>
              <a:cxn ang="0">
                <a:pos x="166" y="2"/>
              </a:cxn>
            </a:cxnLst>
            <a:rect l="0" t="0" r="r" b="b"/>
            <a:pathLst>
              <a:path w="304" h="304">
                <a:moveTo>
                  <a:pt x="152" y="0"/>
                </a:moveTo>
                <a:lnTo>
                  <a:pt x="152" y="0"/>
                </a:lnTo>
                <a:lnTo>
                  <a:pt x="136" y="2"/>
                </a:lnTo>
                <a:lnTo>
                  <a:pt x="120" y="4"/>
                </a:lnTo>
                <a:lnTo>
                  <a:pt x="106" y="8"/>
                </a:lnTo>
                <a:lnTo>
                  <a:pt x="92" y="12"/>
                </a:lnTo>
                <a:lnTo>
                  <a:pt x="80" y="20"/>
                </a:lnTo>
                <a:lnTo>
                  <a:pt x="66" y="26"/>
                </a:lnTo>
                <a:lnTo>
                  <a:pt x="54" y="36"/>
                </a:lnTo>
                <a:lnTo>
                  <a:pt x="44" y="46"/>
                </a:lnTo>
                <a:lnTo>
                  <a:pt x="34" y="56"/>
                </a:lnTo>
                <a:lnTo>
                  <a:pt x="26" y="68"/>
                </a:lnTo>
                <a:lnTo>
                  <a:pt x="18" y="80"/>
                </a:lnTo>
                <a:lnTo>
                  <a:pt x="12" y="94"/>
                </a:lnTo>
                <a:lnTo>
                  <a:pt x="6" y="108"/>
                </a:lnTo>
                <a:lnTo>
                  <a:pt x="2" y="122"/>
                </a:lnTo>
                <a:lnTo>
                  <a:pt x="0" y="138"/>
                </a:lnTo>
                <a:lnTo>
                  <a:pt x="0" y="152"/>
                </a:lnTo>
                <a:lnTo>
                  <a:pt x="0" y="152"/>
                </a:lnTo>
                <a:lnTo>
                  <a:pt x="0" y="168"/>
                </a:lnTo>
                <a:lnTo>
                  <a:pt x="2" y="184"/>
                </a:lnTo>
                <a:lnTo>
                  <a:pt x="6" y="198"/>
                </a:lnTo>
                <a:lnTo>
                  <a:pt x="12" y="212"/>
                </a:lnTo>
                <a:lnTo>
                  <a:pt x="18" y="226"/>
                </a:lnTo>
                <a:lnTo>
                  <a:pt x="26" y="238"/>
                </a:lnTo>
                <a:lnTo>
                  <a:pt x="34" y="250"/>
                </a:lnTo>
                <a:lnTo>
                  <a:pt x="44" y="260"/>
                </a:lnTo>
                <a:lnTo>
                  <a:pt x="54" y="270"/>
                </a:lnTo>
                <a:lnTo>
                  <a:pt x="66" y="278"/>
                </a:lnTo>
                <a:lnTo>
                  <a:pt x="80" y="286"/>
                </a:lnTo>
                <a:lnTo>
                  <a:pt x="92" y="292"/>
                </a:lnTo>
                <a:lnTo>
                  <a:pt x="106" y="298"/>
                </a:lnTo>
                <a:lnTo>
                  <a:pt x="120" y="302"/>
                </a:lnTo>
                <a:lnTo>
                  <a:pt x="136" y="304"/>
                </a:lnTo>
                <a:lnTo>
                  <a:pt x="152" y="304"/>
                </a:lnTo>
                <a:lnTo>
                  <a:pt x="152" y="304"/>
                </a:lnTo>
                <a:lnTo>
                  <a:pt x="166" y="304"/>
                </a:lnTo>
                <a:lnTo>
                  <a:pt x="182" y="302"/>
                </a:lnTo>
                <a:lnTo>
                  <a:pt x="196" y="298"/>
                </a:lnTo>
                <a:lnTo>
                  <a:pt x="210" y="292"/>
                </a:lnTo>
                <a:lnTo>
                  <a:pt x="224" y="286"/>
                </a:lnTo>
                <a:lnTo>
                  <a:pt x="236" y="278"/>
                </a:lnTo>
                <a:lnTo>
                  <a:pt x="248" y="270"/>
                </a:lnTo>
                <a:lnTo>
                  <a:pt x="258" y="260"/>
                </a:lnTo>
                <a:lnTo>
                  <a:pt x="268" y="250"/>
                </a:lnTo>
                <a:lnTo>
                  <a:pt x="278" y="238"/>
                </a:lnTo>
                <a:lnTo>
                  <a:pt x="284" y="226"/>
                </a:lnTo>
                <a:lnTo>
                  <a:pt x="292" y="212"/>
                </a:lnTo>
                <a:lnTo>
                  <a:pt x="296" y="198"/>
                </a:lnTo>
                <a:lnTo>
                  <a:pt x="300" y="184"/>
                </a:lnTo>
                <a:lnTo>
                  <a:pt x="302" y="168"/>
                </a:lnTo>
                <a:lnTo>
                  <a:pt x="304" y="152"/>
                </a:lnTo>
                <a:lnTo>
                  <a:pt x="304" y="152"/>
                </a:lnTo>
                <a:lnTo>
                  <a:pt x="302" y="138"/>
                </a:lnTo>
                <a:lnTo>
                  <a:pt x="300" y="122"/>
                </a:lnTo>
                <a:lnTo>
                  <a:pt x="296" y="108"/>
                </a:lnTo>
                <a:lnTo>
                  <a:pt x="292" y="94"/>
                </a:lnTo>
                <a:lnTo>
                  <a:pt x="284" y="80"/>
                </a:lnTo>
                <a:lnTo>
                  <a:pt x="278" y="68"/>
                </a:lnTo>
                <a:lnTo>
                  <a:pt x="268" y="56"/>
                </a:lnTo>
                <a:lnTo>
                  <a:pt x="258" y="46"/>
                </a:lnTo>
                <a:lnTo>
                  <a:pt x="248" y="36"/>
                </a:lnTo>
                <a:lnTo>
                  <a:pt x="236" y="26"/>
                </a:lnTo>
                <a:lnTo>
                  <a:pt x="224" y="20"/>
                </a:lnTo>
                <a:lnTo>
                  <a:pt x="210" y="12"/>
                </a:lnTo>
                <a:lnTo>
                  <a:pt x="196" y="8"/>
                </a:lnTo>
                <a:lnTo>
                  <a:pt x="182" y="4"/>
                </a:lnTo>
                <a:lnTo>
                  <a:pt x="166" y="2"/>
                </a:lnTo>
                <a:lnTo>
                  <a:pt x="152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536" name="Freeform 242"/>
          <p:cNvSpPr>
            <a:spLocks/>
          </p:cNvSpPr>
          <p:nvPr userDrawn="1"/>
        </p:nvSpPr>
        <p:spPr bwMode="auto">
          <a:xfrm>
            <a:off x="8397426" y="4590855"/>
            <a:ext cx="417398" cy="385290"/>
          </a:xfrm>
          <a:custGeom>
            <a:avLst/>
            <a:gdLst/>
            <a:ahLst/>
            <a:cxnLst>
              <a:cxn ang="0">
                <a:pos x="168" y="0"/>
              </a:cxn>
              <a:cxn ang="0">
                <a:pos x="134" y="4"/>
              </a:cxn>
              <a:cxn ang="0">
                <a:pos x="102" y="12"/>
              </a:cxn>
              <a:cxn ang="0">
                <a:pos x="74" y="28"/>
              </a:cxn>
              <a:cxn ang="0">
                <a:pos x="50" y="48"/>
              </a:cxn>
              <a:cxn ang="0">
                <a:pos x="28" y="74"/>
              </a:cxn>
              <a:cxn ang="0">
                <a:pos x="14" y="102"/>
              </a:cxn>
              <a:cxn ang="0">
                <a:pos x="4" y="134"/>
              </a:cxn>
              <a:cxn ang="0">
                <a:pos x="0" y="168"/>
              </a:cxn>
              <a:cxn ang="0">
                <a:pos x="0" y="184"/>
              </a:cxn>
              <a:cxn ang="0">
                <a:pos x="8" y="218"/>
              </a:cxn>
              <a:cxn ang="0">
                <a:pos x="20" y="248"/>
              </a:cxn>
              <a:cxn ang="0">
                <a:pos x="38" y="274"/>
              </a:cxn>
              <a:cxn ang="0">
                <a:pos x="60" y="296"/>
              </a:cxn>
              <a:cxn ang="0">
                <a:pos x="88" y="314"/>
              </a:cxn>
              <a:cxn ang="0">
                <a:pos x="118" y="328"/>
              </a:cxn>
              <a:cxn ang="0">
                <a:pos x="150" y="334"/>
              </a:cxn>
              <a:cxn ang="0">
                <a:pos x="168" y="336"/>
              </a:cxn>
              <a:cxn ang="0">
                <a:pos x="202" y="332"/>
              </a:cxn>
              <a:cxn ang="0">
                <a:pos x="232" y="322"/>
              </a:cxn>
              <a:cxn ang="0">
                <a:pos x="262" y="306"/>
              </a:cxn>
              <a:cxn ang="0">
                <a:pos x="286" y="286"/>
              </a:cxn>
              <a:cxn ang="0">
                <a:pos x="306" y="262"/>
              </a:cxn>
              <a:cxn ang="0">
                <a:pos x="322" y="232"/>
              </a:cxn>
              <a:cxn ang="0">
                <a:pos x="332" y="202"/>
              </a:cxn>
              <a:cxn ang="0">
                <a:pos x="336" y="168"/>
              </a:cxn>
              <a:cxn ang="0">
                <a:pos x="334" y="150"/>
              </a:cxn>
              <a:cxn ang="0">
                <a:pos x="328" y="118"/>
              </a:cxn>
              <a:cxn ang="0">
                <a:pos x="316" y="88"/>
              </a:cxn>
              <a:cxn ang="0">
                <a:pos x="296" y="60"/>
              </a:cxn>
              <a:cxn ang="0">
                <a:pos x="274" y="38"/>
              </a:cxn>
              <a:cxn ang="0">
                <a:pos x="248" y="20"/>
              </a:cxn>
              <a:cxn ang="0">
                <a:pos x="218" y="8"/>
              </a:cxn>
              <a:cxn ang="0">
                <a:pos x="184" y="0"/>
              </a:cxn>
            </a:cxnLst>
            <a:rect l="0" t="0" r="r" b="b"/>
            <a:pathLst>
              <a:path w="336" h="336">
                <a:moveTo>
                  <a:pt x="168" y="0"/>
                </a:moveTo>
                <a:lnTo>
                  <a:pt x="168" y="0"/>
                </a:lnTo>
                <a:lnTo>
                  <a:pt x="150" y="0"/>
                </a:lnTo>
                <a:lnTo>
                  <a:pt x="134" y="4"/>
                </a:lnTo>
                <a:lnTo>
                  <a:pt x="118" y="8"/>
                </a:lnTo>
                <a:lnTo>
                  <a:pt x="102" y="12"/>
                </a:lnTo>
                <a:lnTo>
                  <a:pt x="88" y="20"/>
                </a:lnTo>
                <a:lnTo>
                  <a:pt x="74" y="28"/>
                </a:lnTo>
                <a:lnTo>
                  <a:pt x="60" y="38"/>
                </a:lnTo>
                <a:lnTo>
                  <a:pt x="50" y="48"/>
                </a:lnTo>
                <a:lnTo>
                  <a:pt x="38" y="60"/>
                </a:lnTo>
                <a:lnTo>
                  <a:pt x="28" y="74"/>
                </a:lnTo>
                <a:lnTo>
                  <a:pt x="20" y="88"/>
                </a:lnTo>
                <a:lnTo>
                  <a:pt x="14" y="102"/>
                </a:lnTo>
                <a:lnTo>
                  <a:pt x="8" y="118"/>
                </a:lnTo>
                <a:lnTo>
                  <a:pt x="4" y="134"/>
                </a:lnTo>
                <a:lnTo>
                  <a:pt x="0" y="150"/>
                </a:lnTo>
                <a:lnTo>
                  <a:pt x="0" y="168"/>
                </a:lnTo>
                <a:lnTo>
                  <a:pt x="0" y="168"/>
                </a:lnTo>
                <a:lnTo>
                  <a:pt x="0" y="184"/>
                </a:lnTo>
                <a:lnTo>
                  <a:pt x="4" y="202"/>
                </a:lnTo>
                <a:lnTo>
                  <a:pt x="8" y="218"/>
                </a:lnTo>
                <a:lnTo>
                  <a:pt x="14" y="232"/>
                </a:lnTo>
                <a:lnTo>
                  <a:pt x="20" y="248"/>
                </a:lnTo>
                <a:lnTo>
                  <a:pt x="28" y="262"/>
                </a:lnTo>
                <a:lnTo>
                  <a:pt x="38" y="274"/>
                </a:lnTo>
                <a:lnTo>
                  <a:pt x="50" y="286"/>
                </a:lnTo>
                <a:lnTo>
                  <a:pt x="60" y="296"/>
                </a:lnTo>
                <a:lnTo>
                  <a:pt x="74" y="306"/>
                </a:lnTo>
                <a:lnTo>
                  <a:pt x="88" y="314"/>
                </a:lnTo>
                <a:lnTo>
                  <a:pt x="102" y="322"/>
                </a:lnTo>
                <a:lnTo>
                  <a:pt x="118" y="328"/>
                </a:lnTo>
                <a:lnTo>
                  <a:pt x="134" y="332"/>
                </a:lnTo>
                <a:lnTo>
                  <a:pt x="150" y="334"/>
                </a:lnTo>
                <a:lnTo>
                  <a:pt x="168" y="336"/>
                </a:lnTo>
                <a:lnTo>
                  <a:pt x="168" y="336"/>
                </a:lnTo>
                <a:lnTo>
                  <a:pt x="184" y="334"/>
                </a:lnTo>
                <a:lnTo>
                  <a:pt x="202" y="332"/>
                </a:lnTo>
                <a:lnTo>
                  <a:pt x="218" y="328"/>
                </a:lnTo>
                <a:lnTo>
                  <a:pt x="232" y="322"/>
                </a:lnTo>
                <a:lnTo>
                  <a:pt x="248" y="314"/>
                </a:lnTo>
                <a:lnTo>
                  <a:pt x="262" y="306"/>
                </a:lnTo>
                <a:lnTo>
                  <a:pt x="274" y="296"/>
                </a:lnTo>
                <a:lnTo>
                  <a:pt x="286" y="286"/>
                </a:lnTo>
                <a:lnTo>
                  <a:pt x="296" y="274"/>
                </a:lnTo>
                <a:lnTo>
                  <a:pt x="306" y="262"/>
                </a:lnTo>
                <a:lnTo>
                  <a:pt x="316" y="248"/>
                </a:lnTo>
                <a:lnTo>
                  <a:pt x="322" y="232"/>
                </a:lnTo>
                <a:lnTo>
                  <a:pt x="328" y="218"/>
                </a:lnTo>
                <a:lnTo>
                  <a:pt x="332" y="202"/>
                </a:lnTo>
                <a:lnTo>
                  <a:pt x="334" y="184"/>
                </a:lnTo>
                <a:lnTo>
                  <a:pt x="336" y="168"/>
                </a:lnTo>
                <a:lnTo>
                  <a:pt x="336" y="168"/>
                </a:lnTo>
                <a:lnTo>
                  <a:pt x="334" y="150"/>
                </a:lnTo>
                <a:lnTo>
                  <a:pt x="332" y="134"/>
                </a:lnTo>
                <a:lnTo>
                  <a:pt x="328" y="118"/>
                </a:lnTo>
                <a:lnTo>
                  <a:pt x="322" y="102"/>
                </a:lnTo>
                <a:lnTo>
                  <a:pt x="316" y="88"/>
                </a:lnTo>
                <a:lnTo>
                  <a:pt x="306" y="74"/>
                </a:lnTo>
                <a:lnTo>
                  <a:pt x="296" y="60"/>
                </a:lnTo>
                <a:lnTo>
                  <a:pt x="286" y="48"/>
                </a:lnTo>
                <a:lnTo>
                  <a:pt x="274" y="38"/>
                </a:lnTo>
                <a:lnTo>
                  <a:pt x="262" y="28"/>
                </a:lnTo>
                <a:lnTo>
                  <a:pt x="248" y="20"/>
                </a:lnTo>
                <a:lnTo>
                  <a:pt x="232" y="12"/>
                </a:lnTo>
                <a:lnTo>
                  <a:pt x="218" y="8"/>
                </a:lnTo>
                <a:lnTo>
                  <a:pt x="202" y="4"/>
                </a:lnTo>
                <a:lnTo>
                  <a:pt x="184" y="0"/>
                </a:lnTo>
                <a:lnTo>
                  <a:pt x="168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537" name="Freeform 250"/>
          <p:cNvSpPr>
            <a:spLocks/>
          </p:cNvSpPr>
          <p:nvPr userDrawn="1"/>
        </p:nvSpPr>
        <p:spPr bwMode="auto">
          <a:xfrm>
            <a:off x="7495548" y="5120629"/>
            <a:ext cx="414915" cy="385290"/>
          </a:xfrm>
          <a:custGeom>
            <a:avLst/>
            <a:gdLst/>
            <a:ahLst/>
            <a:cxnLst>
              <a:cxn ang="0">
                <a:pos x="166" y="0"/>
              </a:cxn>
              <a:cxn ang="0">
                <a:pos x="134" y="4"/>
              </a:cxn>
              <a:cxn ang="0">
                <a:pos x="102" y="14"/>
              </a:cxn>
              <a:cxn ang="0">
                <a:pos x="74" y="28"/>
              </a:cxn>
              <a:cxn ang="0">
                <a:pos x="48" y="50"/>
              </a:cxn>
              <a:cxn ang="0">
                <a:pos x="28" y="74"/>
              </a:cxn>
              <a:cxn ang="0">
                <a:pos x="12" y="102"/>
              </a:cxn>
              <a:cxn ang="0">
                <a:pos x="2" y="134"/>
              </a:cxn>
              <a:cxn ang="0">
                <a:pos x="0" y="168"/>
              </a:cxn>
              <a:cxn ang="0">
                <a:pos x="0" y="184"/>
              </a:cxn>
              <a:cxn ang="0">
                <a:pos x="6" y="218"/>
              </a:cxn>
              <a:cxn ang="0">
                <a:pos x="20" y="248"/>
              </a:cxn>
              <a:cxn ang="0">
                <a:pos x="38" y="274"/>
              </a:cxn>
              <a:cxn ang="0">
                <a:pos x="60" y="296"/>
              </a:cxn>
              <a:cxn ang="0">
                <a:pos x="86" y="314"/>
              </a:cxn>
              <a:cxn ang="0">
                <a:pos x="118" y="328"/>
              </a:cxn>
              <a:cxn ang="0">
                <a:pos x="150" y="334"/>
              </a:cxn>
              <a:cxn ang="0">
                <a:pos x="166" y="336"/>
              </a:cxn>
              <a:cxn ang="0">
                <a:pos x="200" y="332"/>
              </a:cxn>
              <a:cxn ang="0">
                <a:pos x="232" y="322"/>
              </a:cxn>
              <a:cxn ang="0">
                <a:pos x="260" y="306"/>
              </a:cxn>
              <a:cxn ang="0">
                <a:pos x="286" y="286"/>
              </a:cxn>
              <a:cxn ang="0">
                <a:pos x="306" y="262"/>
              </a:cxn>
              <a:cxn ang="0">
                <a:pos x="322" y="232"/>
              </a:cxn>
              <a:cxn ang="0">
                <a:pos x="332" y="202"/>
              </a:cxn>
              <a:cxn ang="0">
                <a:pos x="334" y="168"/>
              </a:cxn>
              <a:cxn ang="0">
                <a:pos x="334" y="150"/>
              </a:cxn>
              <a:cxn ang="0">
                <a:pos x="328" y="118"/>
              </a:cxn>
              <a:cxn ang="0">
                <a:pos x="314" y="88"/>
              </a:cxn>
              <a:cxn ang="0">
                <a:pos x="296" y="60"/>
              </a:cxn>
              <a:cxn ang="0">
                <a:pos x="274" y="38"/>
              </a:cxn>
              <a:cxn ang="0">
                <a:pos x="246" y="20"/>
              </a:cxn>
              <a:cxn ang="0">
                <a:pos x="216" y="8"/>
              </a:cxn>
              <a:cxn ang="0">
                <a:pos x="184" y="0"/>
              </a:cxn>
            </a:cxnLst>
            <a:rect l="0" t="0" r="r" b="b"/>
            <a:pathLst>
              <a:path w="334" h="336">
                <a:moveTo>
                  <a:pt x="166" y="0"/>
                </a:moveTo>
                <a:lnTo>
                  <a:pt x="166" y="0"/>
                </a:lnTo>
                <a:lnTo>
                  <a:pt x="150" y="0"/>
                </a:lnTo>
                <a:lnTo>
                  <a:pt x="134" y="4"/>
                </a:lnTo>
                <a:lnTo>
                  <a:pt x="118" y="8"/>
                </a:lnTo>
                <a:lnTo>
                  <a:pt x="102" y="14"/>
                </a:lnTo>
                <a:lnTo>
                  <a:pt x="86" y="20"/>
                </a:lnTo>
                <a:lnTo>
                  <a:pt x="74" y="28"/>
                </a:lnTo>
                <a:lnTo>
                  <a:pt x="60" y="38"/>
                </a:lnTo>
                <a:lnTo>
                  <a:pt x="48" y="50"/>
                </a:lnTo>
                <a:lnTo>
                  <a:pt x="38" y="60"/>
                </a:lnTo>
                <a:lnTo>
                  <a:pt x="28" y="74"/>
                </a:lnTo>
                <a:lnTo>
                  <a:pt x="20" y="88"/>
                </a:lnTo>
                <a:lnTo>
                  <a:pt x="12" y="102"/>
                </a:lnTo>
                <a:lnTo>
                  <a:pt x="6" y="118"/>
                </a:lnTo>
                <a:lnTo>
                  <a:pt x="2" y="134"/>
                </a:lnTo>
                <a:lnTo>
                  <a:pt x="0" y="150"/>
                </a:lnTo>
                <a:lnTo>
                  <a:pt x="0" y="168"/>
                </a:lnTo>
                <a:lnTo>
                  <a:pt x="0" y="168"/>
                </a:lnTo>
                <a:lnTo>
                  <a:pt x="0" y="184"/>
                </a:lnTo>
                <a:lnTo>
                  <a:pt x="2" y="202"/>
                </a:lnTo>
                <a:lnTo>
                  <a:pt x="6" y="218"/>
                </a:lnTo>
                <a:lnTo>
                  <a:pt x="12" y="232"/>
                </a:lnTo>
                <a:lnTo>
                  <a:pt x="20" y="248"/>
                </a:lnTo>
                <a:lnTo>
                  <a:pt x="28" y="262"/>
                </a:lnTo>
                <a:lnTo>
                  <a:pt x="38" y="274"/>
                </a:lnTo>
                <a:lnTo>
                  <a:pt x="48" y="286"/>
                </a:lnTo>
                <a:lnTo>
                  <a:pt x="60" y="296"/>
                </a:lnTo>
                <a:lnTo>
                  <a:pt x="74" y="306"/>
                </a:lnTo>
                <a:lnTo>
                  <a:pt x="86" y="314"/>
                </a:lnTo>
                <a:lnTo>
                  <a:pt x="102" y="322"/>
                </a:lnTo>
                <a:lnTo>
                  <a:pt x="118" y="328"/>
                </a:lnTo>
                <a:lnTo>
                  <a:pt x="134" y="332"/>
                </a:lnTo>
                <a:lnTo>
                  <a:pt x="150" y="334"/>
                </a:lnTo>
                <a:lnTo>
                  <a:pt x="166" y="336"/>
                </a:lnTo>
                <a:lnTo>
                  <a:pt x="166" y="336"/>
                </a:lnTo>
                <a:lnTo>
                  <a:pt x="184" y="334"/>
                </a:lnTo>
                <a:lnTo>
                  <a:pt x="200" y="332"/>
                </a:lnTo>
                <a:lnTo>
                  <a:pt x="216" y="328"/>
                </a:lnTo>
                <a:lnTo>
                  <a:pt x="232" y="322"/>
                </a:lnTo>
                <a:lnTo>
                  <a:pt x="246" y="314"/>
                </a:lnTo>
                <a:lnTo>
                  <a:pt x="260" y="306"/>
                </a:lnTo>
                <a:lnTo>
                  <a:pt x="274" y="296"/>
                </a:lnTo>
                <a:lnTo>
                  <a:pt x="286" y="286"/>
                </a:lnTo>
                <a:lnTo>
                  <a:pt x="296" y="274"/>
                </a:lnTo>
                <a:lnTo>
                  <a:pt x="306" y="262"/>
                </a:lnTo>
                <a:lnTo>
                  <a:pt x="314" y="248"/>
                </a:lnTo>
                <a:lnTo>
                  <a:pt x="322" y="232"/>
                </a:lnTo>
                <a:lnTo>
                  <a:pt x="328" y="218"/>
                </a:lnTo>
                <a:lnTo>
                  <a:pt x="332" y="202"/>
                </a:lnTo>
                <a:lnTo>
                  <a:pt x="334" y="184"/>
                </a:lnTo>
                <a:lnTo>
                  <a:pt x="334" y="168"/>
                </a:lnTo>
                <a:lnTo>
                  <a:pt x="334" y="168"/>
                </a:lnTo>
                <a:lnTo>
                  <a:pt x="334" y="150"/>
                </a:lnTo>
                <a:lnTo>
                  <a:pt x="332" y="134"/>
                </a:lnTo>
                <a:lnTo>
                  <a:pt x="328" y="118"/>
                </a:lnTo>
                <a:lnTo>
                  <a:pt x="322" y="102"/>
                </a:lnTo>
                <a:lnTo>
                  <a:pt x="314" y="88"/>
                </a:lnTo>
                <a:lnTo>
                  <a:pt x="306" y="74"/>
                </a:lnTo>
                <a:lnTo>
                  <a:pt x="296" y="60"/>
                </a:lnTo>
                <a:lnTo>
                  <a:pt x="286" y="50"/>
                </a:lnTo>
                <a:lnTo>
                  <a:pt x="274" y="38"/>
                </a:lnTo>
                <a:lnTo>
                  <a:pt x="260" y="28"/>
                </a:lnTo>
                <a:lnTo>
                  <a:pt x="246" y="20"/>
                </a:lnTo>
                <a:lnTo>
                  <a:pt x="232" y="14"/>
                </a:lnTo>
                <a:lnTo>
                  <a:pt x="216" y="8"/>
                </a:lnTo>
                <a:lnTo>
                  <a:pt x="200" y="4"/>
                </a:lnTo>
                <a:lnTo>
                  <a:pt x="184" y="0"/>
                </a:lnTo>
                <a:lnTo>
                  <a:pt x="166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538" name="Freeform 259"/>
          <p:cNvSpPr>
            <a:spLocks/>
          </p:cNvSpPr>
          <p:nvPr userDrawn="1"/>
        </p:nvSpPr>
        <p:spPr bwMode="auto">
          <a:xfrm>
            <a:off x="8727867" y="5742140"/>
            <a:ext cx="313049" cy="288968"/>
          </a:xfrm>
          <a:custGeom>
            <a:avLst/>
            <a:gdLst/>
            <a:ahLst/>
            <a:cxnLst>
              <a:cxn ang="0">
                <a:pos x="126" y="0"/>
              </a:cxn>
              <a:cxn ang="0">
                <a:pos x="126" y="0"/>
              </a:cxn>
              <a:cxn ang="0">
                <a:pos x="114" y="0"/>
              </a:cxn>
              <a:cxn ang="0">
                <a:pos x="100" y="2"/>
              </a:cxn>
              <a:cxn ang="0">
                <a:pos x="88" y="6"/>
              </a:cxn>
              <a:cxn ang="0">
                <a:pos x="78" y="10"/>
              </a:cxn>
              <a:cxn ang="0">
                <a:pos x="56" y="22"/>
              </a:cxn>
              <a:cxn ang="0">
                <a:pos x="36" y="36"/>
              </a:cxn>
              <a:cxn ang="0">
                <a:pos x="22" y="56"/>
              </a:cxn>
              <a:cxn ang="0">
                <a:pos x="10" y="76"/>
              </a:cxn>
              <a:cxn ang="0">
                <a:pos x="6" y="88"/>
              </a:cxn>
              <a:cxn ang="0">
                <a:pos x="2" y="100"/>
              </a:cxn>
              <a:cxn ang="0">
                <a:pos x="0" y="114"/>
              </a:cxn>
              <a:cxn ang="0">
                <a:pos x="0" y="126"/>
              </a:cxn>
              <a:cxn ang="0">
                <a:pos x="0" y="126"/>
              </a:cxn>
              <a:cxn ang="0">
                <a:pos x="0" y="140"/>
              </a:cxn>
              <a:cxn ang="0">
                <a:pos x="2" y="152"/>
              </a:cxn>
              <a:cxn ang="0">
                <a:pos x="6" y="164"/>
              </a:cxn>
              <a:cxn ang="0">
                <a:pos x="10" y="176"/>
              </a:cxn>
              <a:cxn ang="0">
                <a:pos x="22" y="196"/>
              </a:cxn>
              <a:cxn ang="0">
                <a:pos x="36" y="216"/>
              </a:cxn>
              <a:cxn ang="0">
                <a:pos x="56" y="232"/>
              </a:cxn>
              <a:cxn ang="0">
                <a:pos x="78" y="242"/>
              </a:cxn>
              <a:cxn ang="0">
                <a:pos x="88" y="248"/>
              </a:cxn>
              <a:cxn ang="0">
                <a:pos x="100" y="250"/>
              </a:cxn>
              <a:cxn ang="0">
                <a:pos x="114" y="252"/>
              </a:cxn>
              <a:cxn ang="0">
                <a:pos x="126" y="252"/>
              </a:cxn>
              <a:cxn ang="0">
                <a:pos x="126" y="252"/>
              </a:cxn>
              <a:cxn ang="0">
                <a:pos x="140" y="252"/>
              </a:cxn>
              <a:cxn ang="0">
                <a:pos x="152" y="250"/>
              </a:cxn>
              <a:cxn ang="0">
                <a:pos x="164" y="248"/>
              </a:cxn>
              <a:cxn ang="0">
                <a:pos x="176" y="242"/>
              </a:cxn>
              <a:cxn ang="0">
                <a:pos x="198" y="232"/>
              </a:cxn>
              <a:cxn ang="0">
                <a:pos x="216" y="216"/>
              </a:cxn>
              <a:cxn ang="0">
                <a:pos x="232" y="196"/>
              </a:cxn>
              <a:cxn ang="0">
                <a:pos x="242" y="176"/>
              </a:cxn>
              <a:cxn ang="0">
                <a:pos x="248" y="164"/>
              </a:cxn>
              <a:cxn ang="0">
                <a:pos x="250" y="152"/>
              </a:cxn>
              <a:cxn ang="0">
                <a:pos x="252" y="140"/>
              </a:cxn>
              <a:cxn ang="0">
                <a:pos x="252" y="126"/>
              </a:cxn>
              <a:cxn ang="0">
                <a:pos x="252" y="126"/>
              </a:cxn>
              <a:cxn ang="0">
                <a:pos x="252" y="114"/>
              </a:cxn>
              <a:cxn ang="0">
                <a:pos x="250" y="100"/>
              </a:cxn>
              <a:cxn ang="0">
                <a:pos x="248" y="88"/>
              </a:cxn>
              <a:cxn ang="0">
                <a:pos x="242" y="76"/>
              </a:cxn>
              <a:cxn ang="0">
                <a:pos x="232" y="56"/>
              </a:cxn>
              <a:cxn ang="0">
                <a:pos x="216" y="36"/>
              </a:cxn>
              <a:cxn ang="0">
                <a:pos x="198" y="22"/>
              </a:cxn>
              <a:cxn ang="0">
                <a:pos x="176" y="10"/>
              </a:cxn>
              <a:cxn ang="0">
                <a:pos x="164" y="6"/>
              </a:cxn>
              <a:cxn ang="0">
                <a:pos x="152" y="2"/>
              </a:cxn>
              <a:cxn ang="0">
                <a:pos x="140" y="0"/>
              </a:cxn>
              <a:cxn ang="0">
                <a:pos x="126" y="0"/>
              </a:cxn>
            </a:cxnLst>
            <a:rect l="0" t="0" r="r" b="b"/>
            <a:pathLst>
              <a:path w="252" h="252">
                <a:moveTo>
                  <a:pt x="126" y="0"/>
                </a:moveTo>
                <a:lnTo>
                  <a:pt x="126" y="0"/>
                </a:lnTo>
                <a:lnTo>
                  <a:pt x="114" y="0"/>
                </a:lnTo>
                <a:lnTo>
                  <a:pt x="100" y="2"/>
                </a:lnTo>
                <a:lnTo>
                  <a:pt x="88" y="6"/>
                </a:lnTo>
                <a:lnTo>
                  <a:pt x="78" y="10"/>
                </a:lnTo>
                <a:lnTo>
                  <a:pt x="56" y="22"/>
                </a:lnTo>
                <a:lnTo>
                  <a:pt x="36" y="36"/>
                </a:lnTo>
                <a:lnTo>
                  <a:pt x="22" y="56"/>
                </a:lnTo>
                <a:lnTo>
                  <a:pt x="10" y="76"/>
                </a:lnTo>
                <a:lnTo>
                  <a:pt x="6" y="88"/>
                </a:lnTo>
                <a:lnTo>
                  <a:pt x="2" y="100"/>
                </a:lnTo>
                <a:lnTo>
                  <a:pt x="0" y="114"/>
                </a:lnTo>
                <a:lnTo>
                  <a:pt x="0" y="126"/>
                </a:lnTo>
                <a:lnTo>
                  <a:pt x="0" y="126"/>
                </a:lnTo>
                <a:lnTo>
                  <a:pt x="0" y="140"/>
                </a:lnTo>
                <a:lnTo>
                  <a:pt x="2" y="152"/>
                </a:lnTo>
                <a:lnTo>
                  <a:pt x="6" y="164"/>
                </a:lnTo>
                <a:lnTo>
                  <a:pt x="10" y="176"/>
                </a:lnTo>
                <a:lnTo>
                  <a:pt x="22" y="196"/>
                </a:lnTo>
                <a:lnTo>
                  <a:pt x="36" y="216"/>
                </a:lnTo>
                <a:lnTo>
                  <a:pt x="56" y="232"/>
                </a:lnTo>
                <a:lnTo>
                  <a:pt x="78" y="242"/>
                </a:lnTo>
                <a:lnTo>
                  <a:pt x="88" y="248"/>
                </a:lnTo>
                <a:lnTo>
                  <a:pt x="100" y="250"/>
                </a:lnTo>
                <a:lnTo>
                  <a:pt x="114" y="252"/>
                </a:lnTo>
                <a:lnTo>
                  <a:pt x="126" y="252"/>
                </a:lnTo>
                <a:lnTo>
                  <a:pt x="126" y="252"/>
                </a:lnTo>
                <a:lnTo>
                  <a:pt x="140" y="252"/>
                </a:lnTo>
                <a:lnTo>
                  <a:pt x="152" y="250"/>
                </a:lnTo>
                <a:lnTo>
                  <a:pt x="164" y="248"/>
                </a:lnTo>
                <a:lnTo>
                  <a:pt x="176" y="242"/>
                </a:lnTo>
                <a:lnTo>
                  <a:pt x="198" y="232"/>
                </a:lnTo>
                <a:lnTo>
                  <a:pt x="216" y="216"/>
                </a:lnTo>
                <a:lnTo>
                  <a:pt x="232" y="196"/>
                </a:lnTo>
                <a:lnTo>
                  <a:pt x="242" y="176"/>
                </a:lnTo>
                <a:lnTo>
                  <a:pt x="248" y="164"/>
                </a:lnTo>
                <a:lnTo>
                  <a:pt x="250" y="152"/>
                </a:lnTo>
                <a:lnTo>
                  <a:pt x="252" y="140"/>
                </a:lnTo>
                <a:lnTo>
                  <a:pt x="252" y="126"/>
                </a:lnTo>
                <a:lnTo>
                  <a:pt x="252" y="126"/>
                </a:lnTo>
                <a:lnTo>
                  <a:pt x="252" y="114"/>
                </a:lnTo>
                <a:lnTo>
                  <a:pt x="250" y="100"/>
                </a:lnTo>
                <a:lnTo>
                  <a:pt x="248" y="88"/>
                </a:lnTo>
                <a:lnTo>
                  <a:pt x="242" y="76"/>
                </a:lnTo>
                <a:lnTo>
                  <a:pt x="232" y="56"/>
                </a:lnTo>
                <a:lnTo>
                  <a:pt x="216" y="36"/>
                </a:lnTo>
                <a:lnTo>
                  <a:pt x="198" y="22"/>
                </a:lnTo>
                <a:lnTo>
                  <a:pt x="176" y="10"/>
                </a:lnTo>
                <a:lnTo>
                  <a:pt x="164" y="6"/>
                </a:lnTo>
                <a:lnTo>
                  <a:pt x="152" y="2"/>
                </a:lnTo>
                <a:lnTo>
                  <a:pt x="140" y="0"/>
                </a:lnTo>
                <a:lnTo>
                  <a:pt x="126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539" name="Freeform 260"/>
          <p:cNvSpPr>
            <a:spLocks/>
          </p:cNvSpPr>
          <p:nvPr userDrawn="1"/>
        </p:nvSpPr>
        <p:spPr bwMode="auto">
          <a:xfrm>
            <a:off x="8529106" y="6113668"/>
            <a:ext cx="315532" cy="288968"/>
          </a:xfrm>
          <a:custGeom>
            <a:avLst/>
            <a:gdLst/>
            <a:ahLst/>
            <a:cxnLst>
              <a:cxn ang="0">
                <a:pos x="126" y="0"/>
              </a:cxn>
              <a:cxn ang="0">
                <a:pos x="126" y="0"/>
              </a:cxn>
              <a:cxn ang="0">
                <a:pos x="114" y="0"/>
              </a:cxn>
              <a:cxn ang="0">
                <a:pos x="100" y="2"/>
              </a:cxn>
              <a:cxn ang="0">
                <a:pos x="88" y="4"/>
              </a:cxn>
              <a:cxn ang="0">
                <a:pos x="78" y="10"/>
              </a:cxn>
              <a:cxn ang="0">
                <a:pos x="56" y="20"/>
              </a:cxn>
              <a:cxn ang="0">
                <a:pos x="36" y="36"/>
              </a:cxn>
              <a:cxn ang="0">
                <a:pos x="22" y="56"/>
              </a:cxn>
              <a:cxn ang="0">
                <a:pos x="10" y="76"/>
              </a:cxn>
              <a:cxn ang="0">
                <a:pos x="6" y="88"/>
              </a:cxn>
              <a:cxn ang="0">
                <a:pos x="2" y="100"/>
              </a:cxn>
              <a:cxn ang="0">
                <a:pos x="0" y="112"/>
              </a:cxn>
              <a:cxn ang="0">
                <a:pos x="0" y="126"/>
              </a:cxn>
              <a:cxn ang="0">
                <a:pos x="0" y="126"/>
              </a:cxn>
              <a:cxn ang="0">
                <a:pos x="0" y="138"/>
              </a:cxn>
              <a:cxn ang="0">
                <a:pos x="2" y="152"/>
              </a:cxn>
              <a:cxn ang="0">
                <a:pos x="6" y="164"/>
              </a:cxn>
              <a:cxn ang="0">
                <a:pos x="10" y="176"/>
              </a:cxn>
              <a:cxn ang="0">
                <a:pos x="22" y="196"/>
              </a:cxn>
              <a:cxn ang="0">
                <a:pos x="36" y="216"/>
              </a:cxn>
              <a:cxn ang="0">
                <a:pos x="56" y="230"/>
              </a:cxn>
              <a:cxn ang="0">
                <a:pos x="78" y="242"/>
              </a:cxn>
              <a:cxn ang="0">
                <a:pos x="88" y="246"/>
              </a:cxn>
              <a:cxn ang="0">
                <a:pos x="100" y="250"/>
              </a:cxn>
              <a:cxn ang="0">
                <a:pos x="114" y="252"/>
              </a:cxn>
              <a:cxn ang="0">
                <a:pos x="126" y="252"/>
              </a:cxn>
              <a:cxn ang="0">
                <a:pos x="126" y="252"/>
              </a:cxn>
              <a:cxn ang="0">
                <a:pos x="140" y="252"/>
              </a:cxn>
              <a:cxn ang="0">
                <a:pos x="152" y="250"/>
              </a:cxn>
              <a:cxn ang="0">
                <a:pos x="164" y="246"/>
              </a:cxn>
              <a:cxn ang="0">
                <a:pos x="176" y="242"/>
              </a:cxn>
              <a:cxn ang="0">
                <a:pos x="198" y="230"/>
              </a:cxn>
              <a:cxn ang="0">
                <a:pos x="216" y="216"/>
              </a:cxn>
              <a:cxn ang="0">
                <a:pos x="232" y="196"/>
              </a:cxn>
              <a:cxn ang="0">
                <a:pos x="244" y="176"/>
              </a:cxn>
              <a:cxn ang="0">
                <a:pos x="248" y="164"/>
              </a:cxn>
              <a:cxn ang="0">
                <a:pos x="250" y="152"/>
              </a:cxn>
              <a:cxn ang="0">
                <a:pos x="252" y="138"/>
              </a:cxn>
              <a:cxn ang="0">
                <a:pos x="254" y="126"/>
              </a:cxn>
              <a:cxn ang="0">
                <a:pos x="254" y="126"/>
              </a:cxn>
              <a:cxn ang="0">
                <a:pos x="252" y="112"/>
              </a:cxn>
              <a:cxn ang="0">
                <a:pos x="250" y="100"/>
              </a:cxn>
              <a:cxn ang="0">
                <a:pos x="248" y="88"/>
              </a:cxn>
              <a:cxn ang="0">
                <a:pos x="244" y="76"/>
              </a:cxn>
              <a:cxn ang="0">
                <a:pos x="232" y="56"/>
              </a:cxn>
              <a:cxn ang="0">
                <a:pos x="216" y="36"/>
              </a:cxn>
              <a:cxn ang="0">
                <a:pos x="198" y="20"/>
              </a:cxn>
              <a:cxn ang="0">
                <a:pos x="176" y="10"/>
              </a:cxn>
              <a:cxn ang="0">
                <a:pos x="164" y="4"/>
              </a:cxn>
              <a:cxn ang="0">
                <a:pos x="152" y="2"/>
              </a:cxn>
              <a:cxn ang="0">
                <a:pos x="140" y="0"/>
              </a:cxn>
              <a:cxn ang="0">
                <a:pos x="126" y="0"/>
              </a:cxn>
            </a:cxnLst>
            <a:rect l="0" t="0" r="r" b="b"/>
            <a:pathLst>
              <a:path w="254" h="252">
                <a:moveTo>
                  <a:pt x="126" y="0"/>
                </a:moveTo>
                <a:lnTo>
                  <a:pt x="126" y="0"/>
                </a:lnTo>
                <a:lnTo>
                  <a:pt x="114" y="0"/>
                </a:lnTo>
                <a:lnTo>
                  <a:pt x="100" y="2"/>
                </a:lnTo>
                <a:lnTo>
                  <a:pt x="88" y="4"/>
                </a:lnTo>
                <a:lnTo>
                  <a:pt x="78" y="10"/>
                </a:lnTo>
                <a:lnTo>
                  <a:pt x="56" y="20"/>
                </a:lnTo>
                <a:lnTo>
                  <a:pt x="36" y="36"/>
                </a:lnTo>
                <a:lnTo>
                  <a:pt x="22" y="56"/>
                </a:lnTo>
                <a:lnTo>
                  <a:pt x="10" y="76"/>
                </a:lnTo>
                <a:lnTo>
                  <a:pt x="6" y="88"/>
                </a:lnTo>
                <a:lnTo>
                  <a:pt x="2" y="100"/>
                </a:lnTo>
                <a:lnTo>
                  <a:pt x="0" y="112"/>
                </a:lnTo>
                <a:lnTo>
                  <a:pt x="0" y="126"/>
                </a:lnTo>
                <a:lnTo>
                  <a:pt x="0" y="126"/>
                </a:lnTo>
                <a:lnTo>
                  <a:pt x="0" y="138"/>
                </a:lnTo>
                <a:lnTo>
                  <a:pt x="2" y="152"/>
                </a:lnTo>
                <a:lnTo>
                  <a:pt x="6" y="164"/>
                </a:lnTo>
                <a:lnTo>
                  <a:pt x="10" y="176"/>
                </a:lnTo>
                <a:lnTo>
                  <a:pt x="22" y="196"/>
                </a:lnTo>
                <a:lnTo>
                  <a:pt x="36" y="216"/>
                </a:lnTo>
                <a:lnTo>
                  <a:pt x="56" y="230"/>
                </a:lnTo>
                <a:lnTo>
                  <a:pt x="78" y="242"/>
                </a:lnTo>
                <a:lnTo>
                  <a:pt x="88" y="246"/>
                </a:lnTo>
                <a:lnTo>
                  <a:pt x="100" y="250"/>
                </a:lnTo>
                <a:lnTo>
                  <a:pt x="114" y="252"/>
                </a:lnTo>
                <a:lnTo>
                  <a:pt x="126" y="252"/>
                </a:lnTo>
                <a:lnTo>
                  <a:pt x="126" y="252"/>
                </a:lnTo>
                <a:lnTo>
                  <a:pt x="140" y="252"/>
                </a:lnTo>
                <a:lnTo>
                  <a:pt x="152" y="250"/>
                </a:lnTo>
                <a:lnTo>
                  <a:pt x="164" y="246"/>
                </a:lnTo>
                <a:lnTo>
                  <a:pt x="176" y="242"/>
                </a:lnTo>
                <a:lnTo>
                  <a:pt x="198" y="230"/>
                </a:lnTo>
                <a:lnTo>
                  <a:pt x="216" y="216"/>
                </a:lnTo>
                <a:lnTo>
                  <a:pt x="232" y="196"/>
                </a:lnTo>
                <a:lnTo>
                  <a:pt x="244" y="176"/>
                </a:lnTo>
                <a:lnTo>
                  <a:pt x="248" y="164"/>
                </a:lnTo>
                <a:lnTo>
                  <a:pt x="250" y="152"/>
                </a:lnTo>
                <a:lnTo>
                  <a:pt x="252" y="138"/>
                </a:lnTo>
                <a:lnTo>
                  <a:pt x="254" y="126"/>
                </a:lnTo>
                <a:lnTo>
                  <a:pt x="254" y="126"/>
                </a:lnTo>
                <a:lnTo>
                  <a:pt x="252" y="112"/>
                </a:lnTo>
                <a:lnTo>
                  <a:pt x="250" y="100"/>
                </a:lnTo>
                <a:lnTo>
                  <a:pt x="248" y="88"/>
                </a:lnTo>
                <a:lnTo>
                  <a:pt x="244" y="76"/>
                </a:lnTo>
                <a:lnTo>
                  <a:pt x="232" y="56"/>
                </a:lnTo>
                <a:lnTo>
                  <a:pt x="216" y="36"/>
                </a:lnTo>
                <a:lnTo>
                  <a:pt x="198" y="20"/>
                </a:lnTo>
                <a:lnTo>
                  <a:pt x="176" y="10"/>
                </a:lnTo>
                <a:lnTo>
                  <a:pt x="164" y="4"/>
                </a:lnTo>
                <a:lnTo>
                  <a:pt x="152" y="2"/>
                </a:lnTo>
                <a:lnTo>
                  <a:pt x="140" y="0"/>
                </a:lnTo>
                <a:lnTo>
                  <a:pt x="126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540" name="Freeform 262"/>
          <p:cNvSpPr>
            <a:spLocks/>
          </p:cNvSpPr>
          <p:nvPr userDrawn="1"/>
        </p:nvSpPr>
        <p:spPr bwMode="auto">
          <a:xfrm>
            <a:off x="8317925" y="5061001"/>
            <a:ext cx="457150" cy="421984"/>
          </a:xfrm>
          <a:custGeom>
            <a:avLst/>
            <a:gdLst/>
            <a:ahLst/>
            <a:cxnLst>
              <a:cxn ang="0">
                <a:pos x="184" y="0"/>
              </a:cxn>
              <a:cxn ang="0">
                <a:pos x="148" y="4"/>
              </a:cxn>
              <a:cxn ang="0">
                <a:pos x="112" y="14"/>
              </a:cxn>
              <a:cxn ang="0">
                <a:pos x="82" y="32"/>
              </a:cxn>
              <a:cxn ang="0">
                <a:pos x="54" y="54"/>
              </a:cxn>
              <a:cxn ang="0">
                <a:pos x="32" y="82"/>
              </a:cxn>
              <a:cxn ang="0">
                <a:pos x="16" y="112"/>
              </a:cxn>
              <a:cxn ang="0">
                <a:pos x="4" y="146"/>
              </a:cxn>
              <a:cxn ang="0">
                <a:pos x="0" y="184"/>
              </a:cxn>
              <a:cxn ang="0">
                <a:pos x="2" y="202"/>
              </a:cxn>
              <a:cxn ang="0">
                <a:pos x="10" y="238"/>
              </a:cxn>
              <a:cxn ang="0">
                <a:pos x="22" y="272"/>
              </a:cxn>
              <a:cxn ang="0">
                <a:pos x="42" y="300"/>
              </a:cxn>
              <a:cxn ang="0">
                <a:pos x="68" y="326"/>
              </a:cxn>
              <a:cxn ang="0">
                <a:pos x="96" y="346"/>
              </a:cxn>
              <a:cxn ang="0">
                <a:pos x="130" y="360"/>
              </a:cxn>
              <a:cxn ang="0">
                <a:pos x="166" y="366"/>
              </a:cxn>
              <a:cxn ang="0">
                <a:pos x="184" y="368"/>
              </a:cxn>
              <a:cxn ang="0">
                <a:pos x="222" y="364"/>
              </a:cxn>
              <a:cxn ang="0">
                <a:pos x="256" y="352"/>
              </a:cxn>
              <a:cxn ang="0">
                <a:pos x="286" y="336"/>
              </a:cxn>
              <a:cxn ang="0">
                <a:pos x="314" y="314"/>
              </a:cxn>
              <a:cxn ang="0">
                <a:pos x="336" y="286"/>
              </a:cxn>
              <a:cxn ang="0">
                <a:pos x="354" y="256"/>
              </a:cxn>
              <a:cxn ang="0">
                <a:pos x="364" y="220"/>
              </a:cxn>
              <a:cxn ang="0">
                <a:pos x="368" y="184"/>
              </a:cxn>
              <a:cxn ang="0">
                <a:pos x="368" y="166"/>
              </a:cxn>
              <a:cxn ang="0">
                <a:pos x="360" y="130"/>
              </a:cxn>
              <a:cxn ang="0">
                <a:pos x="346" y="96"/>
              </a:cxn>
              <a:cxn ang="0">
                <a:pos x="326" y="68"/>
              </a:cxn>
              <a:cxn ang="0">
                <a:pos x="302" y="42"/>
              </a:cxn>
              <a:cxn ang="0">
                <a:pos x="272" y="22"/>
              </a:cxn>
              <a:cxn ang="0">
                <a:pos x="238" y="8"/>
              </a:cxn>
              <a:cxn ang="0">
                <a:pos x="204" y="2"/>
              </a:cxn>
            </a:cxnLst>
            <a:rect l="0" t="0" r="r" b="b"/>
            <a:pathLst>
              <a:path w="368" h="368">
                <a:moveTo>
                  <a:pt x="184" y="0"/>
                </a:moveTo>
                <a:lnTo>
                  <a:pt x="184" y="0"/>
                </a:lnTo>
                <a:lnTo>
                  <a:pt x="166" y="2"/>
                </a:lnTo>
                <a:lnTo>
                  <a:pt x="148" y="4"/>
                </a:lnTo>
                <a:lnTo>
                  <a:pt x="130" y="8"/>
                </a:lnTo>
                <a:lnTo>
                  <a:pt x="112" y="14"/>
                </a:lnTo>
                <a:lnTo>
                  <a:pt x="96" y="22"/>
                </a:lnTo>
                <a:lnTo>
                  <a:pt x="82" y="32"/>
                </a:lnTo>
                <a:lnTo>
                  <a:pt x="68" y="42"/>
                </a:lnTo>
                <a:lnTo>
                  <a:pt x="54" y="54"/>
                </a:lnTo>
                <a:lnTo>
                  <a:pt x="42" y="68"/>
                </a:lnTo>
                <a:lnTo>
                  <a:pt x="32" y="82"/>
                </a:lnTo>
                <a:lnTo>
                  <a:pt x="22" y="96"/>
                </a:lnTo>
                <a:lnTo>
                  <a:pt x="16" y="112"/>
                </a:lnTo>
                <a:lnTo>
                  <a:pt x="10" y="130"/>
                </a:lnTo>
                <a:lnTo>
                  <a:pt x="4" y="146"/>
                </a:lnTo>
                <a:lnTo>
                  <a:pt x="2" y="166"/>
                </a:lnTo>
                <a:lnTo>
                  <a:pt x="0" y="184"/>
                </a:lnTo>
                <a:lnTo>
                  <a:pt x="0" y="184"/>
                </a:lnTo>
                <a:lnTo>
                  <a:pt x="2" y="202"/>
                </a:lnTo>
                <a:lnTo>
                  <a:pt x="4" y="220"/>
                </a:lnTo>
                <a:lnTo>
                  <a:pt x="10" y="238"/>
                </a:lnTo>
                <a:lnTo>
                  <a:pt x="16" y="256"/>
                </a:lnTo>
                <a:lnTo>
                  <a:pt x="22" y="272"/>
                </a:lnTo>
                <a:lnTo>
                  <a:pt x="32" y="286"/>
                </a:lnTo>
                <a:lnTo>
                  <a:pt x="42" y="300"/>
                </a:lnTo>
                <a:lnTo>
                  <a:pt x="54" y="314"/>
                </a:lnTo>
                <a:lnTo>
                  <a:pt x="68" y="326"/>
                </a:lnTo>
                <a:lnTo>
                  <a:pt x="82" y="336"/>
                </a:lnTo>
                <a:lnTo>
                  <a:pt x="96" y="346"/>
                </a:lnTo>
                <a:lnTo>
                  <a:pt x="112" y="352"/>
                </a:lnTo>
                <a:lnTo>
                  <a:pt x="130" y="360"/>
                </a:lnTo>
                <a:lnTo>
                  <a:pt x="148" y="364"/>
                </a:lnTo>
                <a:lnTo>
                  <a:pt x="166" y="366"/>
                </a:lnTo>
                <a:lnTo>
                  <a:pt x="184" y="368"/>
                </a:lnTo>
                <a:lnTo>
                  <a:pt x="184" y="368"/>
                </a:lnTo>
                <a:lnTo>
                  <a:pt x="204" y="366"/>
                </a:lnTo>
                <a:lnTo>
                  <a:pt x="222" y="364"/>
                </a:lnTo>
                <a:lnTo>
                  <a:pt x="238" y="360"/>
                </a:lnTo>
                <a:lnTo>
                  <a:pt x="256" y="352"/>
                </a:lnTo>
                <a:lnTo>
                  <a:pt x="272" y="346"/>
                </a:lnTo>
                <a:lnTo>
                  <a:pt x="286" y="336"/>
                </a:lnTo>
                <a:lnTo>
                  <a:pt x="302" y="326"/>
                </a:lnTo>
                <a:lnTo>
                  <a:pt x="314" y="314"/>
                </a:lnTo>
                <a:lnTo>
                  <a:pt x="326" y="300"/>
                </a:lnTo>
                <a:lnTo>
                  <a:pt x="336" y="286"/>
                </a:lnTo>
                <a:lnTo>
                  <a:pt x="346" y="272"/>
                </a:lnTo>
                <a:lnTo>
                  <a:pt x="354" y="256"/>
                </a:lnTo>
                <a:lnTo>
                  <a:pt x="360" y="238"/>
                </a:lnTo>
                <a:lnTo>
                  <a:pt x="364" y="220"/>
                </a:lnTo>
                <a:lnTo>
                  <a:pt x="368" y="202"/>
                </a:lnTo>
                <a:lnTo>
                  <a:pt x="368" y="184"/>
                </a:lnTo>
                <a:lnTo>
                  <a:pt x="368" y="184"/>
                </a:lnTo>
                <a:lnTo>
                  <a:pt x="368" y="166"/>
                </a:lnTo>
                <a:lnTo>
                  <a:pt x="364" y="146"/>
                </a:lnTo>
                <a:lnTo>
                  <a:pt x="360" y="130"/>
                </a:lnTo>
                <a:lnTo>
                  <a:pt x="354" y="112"/>
                </a:lnTo>
                <a:lnTo>
                  <a:pt x="346" y="96"/>
                </a:lnTo>
                <a:lnTo>
                  <a:pt x="336" y="82"/>
                </a:lnTo>
                <a:lnTo>
                  <a:pt x="326" y="68"/>
                </a:lnTo>
                <a:lnTo>
                  <a:pt x="314" y="54"/>
                </a:lnTo>
                <a:lnTo>
                  <a:pt x="302" y="42"/>
                </a:lnTo>
                <a:lnTo>
                  <a:pt x="286" y="32"/>
                </a:lnTo>
                <a:lnTo>
                  <a:pt x="272" y="22"/>
                </a:lnTo>
                <a:lnTo>
                  <a:pt x="256" y="14"/>
                </a:lnTo>
                <a:lnTo>
                  <a:pt x="238" y="8"/>
                </a:lnTo>
                <a:lnTo>
                  <a:pt x="222" y="4"/>
                </a:lnTo>
                <a:lnTo>
                  <a:pt x="204" y="2"/>
                </a:lnTo>
                <a:lnTo>
                  <a:pt x="184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541" name="Freeform 268"/>
          <p:cNvSpPr>
            <a:spLocks/>
          </p:cNvSpPr>
          <p:nvPr userDrawn="1"/>
        </p:nvSpPr>
        <p:spPr bwMode="auto">
          <a:xfrm>
            <a:off x="8884390" y="6015053"/>
            <a:ext cx="337894" cy="311902"/>
          </a:xfrm>
          <a:custGeom>
            <a:avLst/>
            <a:gdLst/>
            <a:ahLst/>
            <a:cxnLst>
              <a:cxn ang="0">
                <a:pos x="136" y="0"/>
              </a:cxn>
              <a:cxn ang="0">
                <a:pos x="108" y="4"/>
              </a:cxn>
              <a:cxn ang="0">
                <a:pos x="84" y="12"/>
              </a:cxn>
              <a:cxn ang="0">
                <a:pos x="60" y="24"/>
              </a:cxn>
              <a:cxn ang="0">
                <a:pos x="40" y="40"/>
              </a:cxn>
              <a:cxn ang="0">
                <a:pos x="24" y="60"/>
              </a:cxn>
              <a:cxn ang="0">
                <a:pos x="10" y="84"/>
              </a:cxn>
              <a:cxn ang="0">
                <a:pos x="2" y="110"/>
              </a:cxn>
              <a:cxn ang="0">
                <a:pos x="0" y="136"/>
              </a:cxn>
              <a:cxn ang="0">
                <a:pos x="0" y="150"/>
              </a:cxn>
              <a:cxn ang="0">
                <a:pos x="6" y="178"/>
              </a:cxn>
              <a:cxn ang="0">
                <a:pos x="16" y="202"/>
              </a:cxn>
              <a:cxn ang="0">
                <a:pos x="32" y="224"/>
              </a:cxn>
              <a:cxn ang="0">
                <a:pos x="50" y="242"/>
              </a:cxn>
              <a:cxn ang="0">
                <a:pos x="72" y="256"/>
              </a:cxn>
              <a:cxn ang="0">
                <a:pos x="96" y="266"/>
              </a:cxn>
              <a:cxn ang="0">
                <a:pos x="122" y="272"/>
              </a:cxn>
              <a:cxn ang="0">
                <a:pos x="136" y="272"/>
              </a:cxn>
              <a:cxn ang="0">
                <a:pos x="164" y="270"/>
              </a:cxn>
              <a:cxn ang="0">
                <a:pos x="190" y="262"/>
              </a:cxn>
              <a:cxn ang="0">
                <a:pos x="212" y="250"/>
              </a:cxn>
              <a:cxn ang="0">
                <a:pos x="232" y="234"/>
              </a:cxn>
              <a:cxn ang="0">
                <a:pos x="248" y="212"/>
              </a:cxn>
              <a:cxn ang="0">
                <a:pos x="262" y="190"/>
              </a:cxn>
              <a:cxn ang="0">
                <a:pos x="270" y="164"/>
              </a:cxn>
              <a:cxn ang="0">
                <a:pos x="272" y="136"/>
              </a:cxn>
              <a:cxn ang="0">
                <a:pos x="272" y="122"/>
              </a:cxn>
              <a:cxn ang="0">
                <a:pos x="266" y="96"/>
              </a:cxn>
              <a:cxn ang="0">
                <a:pos x="256" y="72"/>
              </a:cxn>
              <a:cxn ang="0">
                <a:pos x="242" y="50"/>
              </a:cxn>
              <a:cxn ang="0">
                <a:pos x="222" y="32"/>
              </a:cxn>
              <a:cxn ang="0">
                <a:pos x="200" y="18"/>
              </a:cxn>
              <a:cxn ang="0">
                <a:pos x="176" y="8"/>
              </a:cxn>
              <a:cxn ang="0">
                <a:pos x="150" y="2"/>
              </a:cxn>
            </a:cxnLst>
            <a:rect l="0" t="0" r="r" b="b"/>
            <a:pathLst>
              <a:path w="272" h="272">
                <a:moveTo>
                  <a:pt x="136" y="0"/>
                </a:moveTo>
                <a:lnTo>
                  <a:pt x="136" y="0"/>
                </a:lnTo>
                <a:lnTo>
                  <a:pt x="122" y="2"/>
                </a:lnTo>
                <a:lnTo>
                  <a:pt x="108" y="4"/>
                </a:lnTo>
                <a:lnTo>
                  <a:pt x="96" y="8"/>
                </a:lnTo>
                <a:lnTo>
                  <a:pt x="84" y="12"/>
                </a:lnTo>
                <a:lnTo>
                  <a:pt x="72" y="18"/>
                </a:lnTo>
                <a:lnTo>
                  <a:pt x="60" y="24"/>
                </a:lnTo>
                <a:lnTo>
                  <a:pt x="50" y="32"/>
                </a:lnTo>
                <a:lnTo>
                  <a:pt x="40" y="40"/>
                </a:lnTo>
                <a:lnTo>
                  <a:pt x="32" y="50"/>
                </a:lnTo>
                <a:lnTo>
                  <a:pt x="24" y="60"/>
                </a:lnTo>
                <a:lnTo>
                  <a:pt x="16" y="72"/>
                </a:lnTo>
                <a:lnTo>
                  <a:pt x="10" y="84"/>
                </a:lnTo>
                <a:lnTo>
                  <a:pt x="6" y="96"/>
                </a:lnTo>
                <a:lnTo>
                  <a:pt x="2" y="110"/>
                </a:lnTo>
                <a:lnTo>
                  <a:pt x="0" y="122"/>
                </a:lnTo>
                <a:lnTo>
                  <a:pt x="0" y="136"/>
                </a:lnTo>
                <a:lnTo>
                  <a:pt x="0" y="136"/>
                </a:lnTo>
                <a:lnTo>
                  <a:pt x="0" y="150"/>
                </a:lnTo>
                <a:lnTo>
                  <a:pt x="2" y="164"/>
                </a:lnTo>
                <a:lnTo>
                  <a:pt x="6" y="178"/>
                </a:lnTo>
                <a:lnTo>
                  <a:pt x="10" y="190"/>
                </a:lnTo>
                <a:lnTo>
                  <a:pt x="16" y="202"/>
                </a:lnTo>
                <a:lnTo>
                  <a:pt x="24" y="212"/>
                </a:lnTo>
                <a:lnTo>
                  <a:pt x="32" y="224"/>
                </a:lnTo>
                <a:lnTo>
                  <a:pt x="40" y="234"/>
                </a:lnTo>
                <a:lnTo>
                  <a:pt x="50" y="242"/>
                </a:lnTo>
                <a:lnTo>
                  <a:pt x="60" y="250"/>
                </a:lnTo>
                <a:lnTo>
                  <a:pt x="72" y="256"/>
                </a:lnTo>
                <a:lnTo>
                  <a:pt x="84" y="262"/>
                </a:lnTo>
                <a:lnTo>
                  <a:pt x="96" y="266"/>
                </a:lnTo>
                <a:lnTo>
                  <a:pt x="108" y="270"/>
                </a:lnTo>
                <a:lnTo>
                  <a:pt x="122" y="272"/>
                </a:lnTo>
                <a:lnTo>
                  <a:pt x="136" y="272"/>
                </a:lnTo>
                <a:lnTo>
                  <a:pt x="136" y="272"/>
                </a:lnTo>
                <a:lnTo>
                  <a:pt x="150" y="272"/>
                </a:lnTo>
                <a:lnTo>
                  <a:pt x="164" y="270"/>
                </a:lnTo>
                <a:lnTo>
                  <a:pt x="176" y="266"/>
                </a:lnTo>
                <a:lnTo>
                  <a:pt x="190" y="262"/>
                </a:lnTo>
                <a:lnTo>
                  <a:pt x="200" y="256"/>
                </a:lnTo>
                <a:lnTo>
                  <a:pt x="212" y="250"/>
                </a:lnTo>
                <a:lnTo>
                  <a:pt x="222" y="242"/>
                </a:lnTo>
                <a:lnTo>
                  <a:pt x="232" y="234"/>
                </a:lnTo>
                <a:lnTo>
                  <a:pt x="242" y="224"/>
                </a:lnTo>
                <a:lnTo>
                  <a:pt x="248" y="212"/>
                </a:lnTo>
                <a:lnTo>
                  <a:pt x="256" y="202"/>
                </a:lnTo>
                <a:lnTo>
                  <a:pt x="262" y="190"/>
                </a:lnTo>
                <a:lnTo>
                  <a:pt x="266" y="178"/>
                </a:lnTo>
                <a:lnTo>
                  <a:pt x="270" y="164"/>
                </a:lnTo>
                <a:lnTo>
                  <a:pt x="272" y="150"/>
                </a:lnTo>
                <a:lnTo>
                  <a:pt x="272" y="136"/>
                </a:lnTo>
                <a:lnTo>
                  <a:pt x="272" y="136"/>
                </a:lnTo>
                <a:lnTo>
                  <a:pt x="272" y="122"/>
                </a:lnTo>
                <a:lnTo>
                  <a:pt x="270" y="110"/>
                </a:lnTo>
                <a:lnTo>
                  <a:pt x="266" y="96"/>
                </a:lnTo>
                <a:lnTo>
                  <a:pt x="262" y="84"/>
                </a:lnTo>
                <a:lnTo>
                  <a:pt x="256" y="72"/>
                </a:lnTo>
                <a:lnTo>
                  <a:pt x="248" y="60"/>
                </a:lnTo>
                <a:lnTo>
                  <a:pt x="242" y="50"/>
                </a:lnTo>
                <a:lnTo>
                  <a:pt x="232" y="40"/>
                </a:lnTo>
                <a:lnTo>
                  <a:pt x="222" y="32"/>
                </a:lnTo>
                <a:lnTo>
                  <a:pt x="212" y="24"/>
                </a:lnTo>
                <a:lnTo>
                  <a:pt x="200" y="18"/>
                </a:lnTo>
                <a:lnTo>
                  <a:pt x="190" y="12"/>
                </a:lnTo>
                <a:lnTo>
                  <a:pt x="176" y="8"/>
                </a:lnTo>
                <a:lnTo>
                  <a:pt x="164" y="4"/>
                </a:lnTo>
                <a:lnTo>
                  <a:pt x="150" y="2"/>
                </a:lnTo>
                <a:lnTo>
                  <a:pt x="136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542" name="Freeform 270"/>
          <p:cNvSpPr>
            <a:spLocks/>
          </p:cNvSpPr>
          <p:nvPr userDrawn="1"/>
        </p:nvSpPr>
        <p:spPr bwMode="auto">
          <a:xfrm>
            <a:off x="7607356" y="5994412"/>
            <a:ext cx="457150" cy="421984"/>
          </a:xfrm>
          <a:custGeom>
            <a:avLst/>
            <a:gdLst/>
            <a:ahLst/>
            <a:cxnLst>
              <a:cxn ang="0">
                <a:pos x="184" y="0"/>
              </a:cxn>
              <a:cxn ang="0">
                <a:pos x="148" y="4"/>
              </a:cxn>
              <a:cxn ang="0">
                <a:pos x="112" y="14"/>
              </a:cxn>
              <a:cxn ang="0">
                <a:pos x="82" y="32"/>
              </a:cxn>
              <a:cxn ang="0">
                <a:pos x="54" y="54"/>
              </a:cxn>
              <a:cxn ang="0">
                <a:pos x="32" y="82"/>
              </a:cxn>
              <a:cxn ang="0">
                <a:pos x="14" y="112"/>
              </a:cxn>
              <a:cxn ang="0">
                <a:pos x="4" y="146"/>
              </a:cxn>
              <a:cxn ang="0">
                <a:pos x="0" y="184"/>
              </a:cxn>
              <a:cxn ang="0">
                <a:pos x="2" y="202"/>
              </a:cxn>
              <a:cxn ang="0">
                <a:pos x="8" y="238"/>
              </a:cxn>
              <a:cxn ang="0">
                <a:pos x="22" y="272"/>
              </a:cxn>
              <a:cxn ang="0">
                <a:pos x="42" y="300"/>
              </a:cxn>
              <a:cxn ang="0">
                <a:pos x="68" y="326"/>
              </a:cxn>
              <a:cxn ang="0">
                <a:pos x="96" y="346"/>
              </a:cxn>
              <a:cxn ang="0">
                <a:pos x="130" y="360"/>
              </a:cxn>
              <a:cxn ang="0">
                <a:pos x="166" y="366"/>
              </a:cxn>
              <a:cxn ang="0">
                <a:pos x="184" y="368"/>
              </a:cxn>
              <a:cxn ang="0">
                <a:pos x="222" y="364"/>
              </a:cxn>
              <a:cxn ang="0">
                <a:pos x="256" y="352"/>
              </a:cxn>
              <a:cxn ang="0">
                <a:pos x="286" y="336"/>
              </a:cxn>
              <a:cxn ang="0">
                <a:pos x="314" y="314"/>
              </a:cxn>
              <a:cxn ang="0">
                <a:pos x="336" y="286"/>
              </a:cxn>
              <a:cxn ang="0">
                <a:pos x="354" y="256"/>
              </a:cxn>
              <a:cxn ang="0">
                <a:pos x="364" y="220"/>
              </a:cxn>
              <a:cxn ang="0">
                <a:pos x="368" y="184"/>
              </a:cxn>
              <a:cxn ang="0">
                <a:pos x="366" y="166"/>
              </a:cxn>
              <a:cxn ang="0">
                <a:pos x="360" y="130"/>
              </a:cxn>
              <a:cxn ang="0">
                <a:pos x="346" y="96"/>
              </a:cxn>
              <a:cxn ang="0">
                <a:pos x="326" y="68"/>
              </a:cxn>
              <a:cxn ang="0">
                <a:pos x="300" y="42"/>
              </a:cxn>
              <a:cxn ang="0">
                <a:pos x="272" y="22"/>
              </a:cxn>
              <a:cxn ang="0">
                <a:pos x="238" y="8"/>
              </a:cxn>
              <a:cxn ang="0">
                <a:pos x="202" y="2"/>
              </a:cxn>
            </a:cxnLst>
            <a:rect l="0" t="0" r="r" b="b"/>
            <a:pathLst>
              <a:path w="368" h="368">
                <a:moveTo>
                  <a:pt x="184" y="0"/>
                </a:moveTo>
                <a:lnTo>
                  <a:pt x="184" y="0"/>
                </a:lnTo>
                <a:lnTo>
                  <a:pt x="166" y="2"/>
                </a:lnTo>
                <a:lnTo>
                  <a:pt x="148" y="4"/>
                </a:lnTo>
                <a:lnTo>
                  <a:pt x="130" y="8"/>
                </a:lnTo>
                <a:lnTo>
                  <a:pt x="112" y="14"/>
                </a:lnTo>
                <a:lnTo>
                  <a:pt x="96" y="22"/>
                </a:lnTo>
                <a:lnTo>
                  <a:pt x="82" y="32"/>
                </a:lnTo>
                <a:lnTo>
                  <a:pt x="68" y="42"/>
                </a:lnTo>
                <a:lnTo>
                  <a:pt x="54" y="54"/>
                </a:lnTo>
                <a:lnTo>
                  <a:pt x="42" y="68"/>
                </a:lnTo>
                <a:lnTo>
                  <a:pt x="32" y="82"/>
                </a:lnTo>
                <a:lnTo>
                  <a:pt x="22" y="96"/>
                </a:lnTo>
                <a:lnTo>
                  <a:pt x="14" y="112"/>
                </a:lnTo>
                <a:lnTo>
                  <a:pt x="8" y="130"/>
                </a:lnTo>
                <a:lnTo>
                  <a:pt x="4" y="146"/>
                </a:lnTo>
                <a:lnTo>
                  <a:pt x="2" y="166"/>
                </a:lnTo>
                <a:lnTo>
                  <a:pt x="0" y="184"/>
                </a:lnTo>
                <a:lnTo>
                  <a:pt x="0" y="184"/>
                </a:lnTo>
                <a:lnTo>
                  <a:pt x="2" y="202"/>
                </a:lnTo>
                <a:lnTo>
                  <a:pt x="4" y="220"/>
                </a:lnTo>
                <a:lnTo>
                  <a:pt x="8" y="238"/>
                </a:lnTo>
                <a:lnTo>
                  <a:pt x="14" y="256"/>
                </a:lnTo>
                <a:lnTo>
                  <a:pt x="22" y="272"/>
                </a:lnTo>
                <a:lnTo>
                  <a:pt x="32" y="286"/>
                </a:lnTo>
                <a:lnTo>
                  <a:pt x="42" y="300"/>
                </a:lnTo>
                <a:lnTo>
                  <a:pt x="54" y="314"/>
                </a:lnTo>
                <a:lnTo>
                  <a:pt x="68" y="326"/>
                </a:lnTo>
                <a:lnTo>
                  <a:pt x="82" y="336"/>
                </a:lnTo>
                <a:lnTo>
                  <a:pt x="96" y="346"/>
                </a:lnTo>
                <a:lnTo>
                  <a:pt x="112" y="352"/>
                </a:lnTo>
                <a:lnTo>
                  <a:pt x="130" y="360"/>
                </a:lnTo>
                <a:lnTo>
                  <a:pt x="148" y="364"/>
                </a:lnTo>
                <a:lnTo>
                  <a:pt x="166" y="366"/>
                </a:lnTo>
                <a:lnTo>
                  <a:pt x="184" y="368"/>
                </a:lnTo>
                <a:lnTo>
                  <a:pt x="184" y="368"/>
                </a:lnTo>
                <a:lnTo>
                  <a:pt x="202" y="366"/>
                </a:lnTo>
                <a:lnTo>
                  <a:pt x="222" y="364"/>
                </a:lnTo>
                <a:lnTo>
                  <a:pt x="238" y="360"/>
                </a:lnTo>
                <a:lnTo>
                  <a:pt x="256" y="352"/>
                </a:lnTo>
                <a:lnTo>
                  <a:pt x="272" y="346"/>
                </a:lnTo>
                <a:lnTo>
                  <a:pt x="286" y="336"/>
                </a:lnTo>
                <a:lnTo>
                  <a:pt x="300" y="326"/>
                </a:lnTo>
                <a:lnTo>
                  <a:pt x="314" y="314"/>
                </a:lnTo>
                <a:lnTo>
                  <a:pt x="326" y="300"/>
                </a:lnTo>
                <a:lnTo>
                  <a:pt x="336" y="286"/>
                </a:lnTo>
                <a:lnTo>
                  <a:pt x="346" y="272"/>
                </a:lnTo>
                <a:lnTo>
                  <a:pt x="354" y="256"/>
                </a:lnTo>
                <a:lnTo>
                  <a:pt x="360" y="238"/>
                </a:lnTo>
                <a:lnTo>
                  <a:pt x="364" y="220"/>
                </a:lnTo>
                <a:lnTo>
                  <a:pt x="366" y="202"/>
                </a:lnTo>
                <a:lnTo>
                  <a:pt x="368" y="184"/>
                </a:lnTo>
                <a:lnTo>
                  <a:pt x="368" y="184"/>
                </a:lnTo>
                <a:lnTo>
                  <a:pt x="366" y="166"/>
                </a:lnTo>
                <a:lnTo>
                  <a:pt x="364" y="146"/>
                </a:lnTo>
                <a:lnTo>
                  <a:pt x="360" y="130"/>
                </a:lnTo>
                <a:lnTo>
                  <a:pt x="354" y="112"/>
                </a:lnTo>
                <a:lnTo>
                  <a:pt x="346" y="96"/>
                </a:lnTo>
                <a:lnTo>
                  <a:pt x="336" y="82"/>
                </a:lnTo>
                <a:lnTo>
                  <a:pt x="326" y="68"/>
                </a:lnTo>
                <a:lnTo>
                  <a:pt x="314" y="54"/>
                </a:lnTo>
                <a:lnTo>
                  <a:pt x="300" y="42"/>
                </a:lnTo>
                <a:lnTo>
                  <a:pt x="286" y="32"/>
                </a:lnTo>
                <a:lnTo>
                  <a:pt x="272" y="22"/>
                </a:lnTo>
                <a:lnTo>
                  <a:pt x="256" y="14"/>
                </a:lnTo>
                <a:lnTo>
                  <a:pt x="238" y="8"/>
                </a:lnTo>
                <a:lnTo>
                  <a:pt x="222" y="4"/>
                </a:lnTo>
                <a:lnTo>
                  <a:pt x="202" y="2"/>
                </a:lnTo>
                <a:lnTo>
                  <a:pt x="184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543" name="Freeform 272"/>
          <p:cNvSpPr>
            <a:spLocks/>
          </p:cNvSpPr>
          <p:nvPr userDrawn="1"/>
        </p:nvSpPr>
        <p:spPr bwMode="auto">
          <a:xfrm>
            <a:off x="8022266" y="5022013"/>
            <a:ext cx="285718" cy="263740"/>
          </a:xfrm>
          <a:custGeom>
            <a:avLst/>
            <a:gdLst/>
            <a:ahLst/>
            <a:cxnLst>
              <a:cxn ang="0">
                <a:pos x="116" y="0"/>
              </a:cxn>
              <a:cxn ang="0">
                <a:pos x="116" y="0"/>
              </a:cxn>
              <a:cxn ang="0">
                <a:pos x="92" y="2"/>
              </a:cxn>
              <a:cxn ang="0">
                <a:pos x="70" y="10"/>
              </a:cxn>
              <a:cxn ang="0">
                <a:pos x="50" y="20"/>
              </a:cxn>
              <a:cxn ang="0">
                <a:pos x="34" y="34"/>
              </a:cxn>
              <a:cxn ang="0">
                <a:pos x="20" y="50"/>
              </a:cxn>
              <a:cxn ang="0">
                <a:pos x="10" y="70"/>
              </a:cxn>
              <a:cxn ang="0">
                <a:pos x="2" y="92"/>
              </a:cxn>
              <a:cxn ang="0">
                <a:pos x="0" y="116"/>
              </a:cxn>
              <a:cxn ang="0">
                <a:pos x="0" y="116"/>
              </a:cxn>
              <a:cxn ang="0">
                <a:pos x="2" y="138"/>
              </a:cxn>
              <a:cxn ang="0">
                <a:pos x="10" y="160"/>
              </a:cxn>
              <a:cxn ang="0">
                <a:pos x="20" y="180"/>
              </a:cxn>
              <a:cxn ang="0">
                <a:pos x="34" y="196"/>
              </a:cxn>
              <a:cxn ang="0">
                <a:pos x="50" y="210"/>
              </a:cxn>
              <a:cxn ang="0">
                <a:pos x="70" y="222"/>
              </a:cxn>
              <a:cxn ang="0">
                <a:pos x="92" y="228"/>
              </a:cxn>
              <a:cxn ang="0">
                <a:pos x="116" y="230"/>
              </a:cxn>
              <a:cxn ang="0">
                <a:pos x="116" y="230"/>
              </a:cxn>
              <a:cxn ang="0">
                <a:pos x="138" y="228"/>
              </a:cxn>
              <a:cxn ang="0">
                <a:pos x="160" y="222"/>
              </a:cxn>
              <a:cxn ang="0">
                <a:pos x="180" y="210"/>
              </a:cxn>
              <a:cxn ang="0">
                <a:pos x="196" y="196"/>
              </a:cxn>
              <a:cxn ang="0">
                <a:pos x="210" y="180"/>
              </a:cxn>
              <a:cxn ang="0">
                <a:pos x="222" y="160"/>
              </a:cxn>
              <a:cxn ang="0">
                <a:pos x="228" y="138"/>
              </a:cxn>
              <a:cxn ang="0">
                <a:pos x="230" y="116"/>
              </a:cxn>
              <a:cxn ang="0">
                <a:pos x="230" y="116"/>
              </a:cxn>
              <a:cxn ang="0">
                <a:pos x="228" y="92"/>
              </a:cxn>
              <a:cxn ang="0">
                <a:pos x="222" y="70"/>
              </a:cxn>
              <a:cxn ang="0">
                <a:pos x="210" y="50"/>
              </a:cxn>
              <a:cxn ang="0">
                <a:pos x="196" y="34"/>
              </a:cxn>
              <a:cxn ang="0">
                <a:pos x="180" y="20"/>
              </a:cxn>
              <a:cxn ang="0">
                <a:pos x="160" y="10"/>
              </a:cxn>
              <a:cxn ang="0">
                <a:pos x="138" y="2"/>
              </a:cxn>
              <a:cxn ang="0">
                <a:pos x="116" y="0"/>
              </a:cxn>
            </a:cxnLst>
            <a:rect l="0" t="0" r="r" b="b"/>
            <a:pathLst>
              <a:path w="230" h="230">
                <a:moveTo>
                  <a:pt x="116" y="0"/>
                </a:moveTo>
                <a:lnTo>
                  <a:pt x="116" y="0"/>
                </a:lnTo>
                <a:lnTo>
                  <a:pt x="92" y="2"/>
                </a:lnTo>
                <a:lnTo>
                  <a:pt x="70" y="10"/>
                </a:lnTo>
                <a:lnTo>
                  <a:pt x="50" y="20"/>
                </a:lnTo>
                <a:lnTo>
                  <a:pt x="34" y="34"/>
                </a:lnTo>
                <a:lnTo>
                  <a:pt x="20" y="50"/>
                </a:lnTo>
                <a:lnTo>
                  <a:pt x="10" y="70"/>
                </a:lnTo>
                <a:lnTo>
                  <a:pt x="2" y="92"/>
                </a:lnTo>
                <a:lnTo>
                  <a:pt x="0" y="116"/>
                </a:lnTo>
                <a:lnTo>
                  <a:pt x="0" y="116"/>
                </a:lnTo>
                <a:lnTo>
                  <a:pt x="2" y="138"/>
                </a:lnTo>
                <a:lnTo>
                  <a:pt x="10" y="160"/>
                </a:lnTo>
                <a:lnTo>
                  <a:pt x="20" y="180"/>
                </a:lnTo>
                <a:lnTo>
                  <a:pt x="34" y="196"/>
                </a:lnTo>
                <a:lnTo>
                  <a:pt x="50" y="210"/>
                </a:lnTo>
                <a:lnTo>
                  <a:pt x="70" y="222"/>
                </a:lnTo>
                <a:lnTo>
                  <a:pt x="92" y="228"/>
                </a:lnTo>
                <a:lnTo>
                  <a:pt x="116" y="230"/>
                </a:lnTo>
                <a:lnTo>
                  <a:pt x="116" y="230"/>
                </a:lnTo>
                <a:lnTo>
                  <a:pt x="138" y="228"/>
                </a:lnTo>
                <a:lnTo>
                  <a:pt x="160" y="222"/>
                </a:lnTo>
                <a:lnTo>
                  <a:pt x="180" y="210"/>
                </a:lnTo>
                <a:lnTo>
                  <a:pt x="196" y="196"/>
                </a:lnTo>
                <a:lnTo>
                  <a:pt x="210" y="180"/>
                </a:lnTo>
                <a:lnTo>
                  <a:pt x="222" y="160"/>
                </a:lnTo>
                <a:lnTo>
                  <a:pt x="228" y="138"/>
                </a:lnTo>
                <a:lnTo>
                  <a:pt x="230" y="116"/>
                </a:lnTo>
                <a:lnTo>
                  <a:pt x="230" y="116"/>
                </a:lnTo>
                <a:lnTo>
                  <a:pt x="228" y="92"/>
                </a:lnTo>
                <a:lnTo>
                  <a:pt x="222" y="70"/>
                </a:lnTo>
                <a:lnTo>
                  <a:pt x="210" y="50"/>
                </a:lnTo>
                <a:lnTo>
                  <a:pt x="196" y="34"/>
                </a:lnTo>
                <a:lnTo>
                  <a:pt x="180" y="20"/>
                </a:lnTo>
                <a:lnTo>
                  <a:pt x="160" y="10"/>
                </a:lnTo>
                <a:lnTo>
                  <a:pt x="138" y="2"/>
                </a:lnTo>
                <a:lnTo>
                  <a:pt x="116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544" name="Freeform 274"/>
          <p:cNvSpPr>
            <a:spLocks/>
          </p:cNvSpPr>
          <p:nvPr userDrawn="1"/>
        </p:nvSpPr>
        <p:spPr bwMode="auto">
          <a:xfrm>
            <a:off x="9185015" y="4941744"/>
            <a:ext cx="285718" cy="263740"/>
          </a:xfrm>
          <a:custGeom>
            <a:avLst/>
            <a:gdLst/>
            <a:ahLst/>
            <a:cxnLst>
              <a:cxn ang="0">
                <a:pos x="114" y="0"/>
              </a:cxn>
              <a:cxn ang="0">
                <a:pos x="114" y="0"/>
              </a:cxn>
              <a:cxn ang="0">
                <a:pos x="92" y="2"/>
              </a:cxn>
              <a:cxn ang="0">
                <a:pos x="70" y="10"/>
              </a:cxn>
              <a:cxn ang="0">
                <a:pos x="50" y="20"/>
              </a:cxn>
              <a:cxn ang="0">
                <a:pos x="34" y="34"/>
              </a:cxn>
              <a:cxn ang="0">
                <a:pos x="20" y="50"/>
              </a:cxn>
              <a:cxn ang="0">
                <a:pos x="8" y="70"/>
              </a:cxn>
              <a:cxn ang="0">
                <a:pos x="2" y="92"/>
              </a:cxn>
              <a:cxn ang="0">
                <a:pos x="0" y="116"/>
              </a:cxn>
              <a:cxn ang="0">
                <a:pos x="0" y="116"/>
              </a:cxn>
              <a:cxn ang="0">
                <a:pos x="2" y="138"/>
              </a:cxn>
              <a:cxn ang="0">
                <a:pos x="8" y="160"/>
              </a:cxn>
              <a:cxn ang="0">
                <a:pos x="20" y="180"/>
              </a:cxn>
              <a:cxn ang="0">
                <a:pos x="34" y="196"/>
              </a:cxn>
              <a:cxn ang="0">
                <a:pos x="50" y="210"/>
              </a:cxn>
              <a:cxn ang="0">
                <a:pos x="70" y="222"/>
              </a:cxn>
              <a:cxn ang="0">
                <a:pos x="92" y="228"/>
              </a:cxn>
              <a:cxn ang="0">
                <a:pos x="114" y="230"/>
              </a:cxn>
              <a:cxn ang="0">
                <a:pos x="114" y="230"/>
              </a:cxn>
              <a:cxn ang="0">
                <a:pos x="138" y="228"/>
              </a:cxn>
              <a:cxn ang="0">
                <a:pos x="160" y="222"/>
              </a:cxn>
              <a:cxn ang="0">
                <a:pos x="180" y="210"/>
              </a:cxn>
              <a:cxn ang="0">
                <a:pos x="196" y="196"/>
              </a:cxn>
              <a:cxn ang="0">
                <a:pos x="210" y="180"/>
              </a:cxn>
              <a:cxn ang="0">
                <a:pos x="220" y="160"/>
              </a:cxn>
              <a:cxn ang="0">
                <a:pos x="228" y="138"/>
              </a:cxn>
              <a:cxn ang="0">
                <a:pos x="230" y="116"/>
              </a:cxn>
              <a:cxn ang="0">
                <a:pos x="230" y="116"/>
              </a:cxn>
              <a:cxn ang="0">
                <a:pos x="228" y="92"/>
              </a:cxn>
              <a:cxn ang="0">
                <a:pos x="220" y="70"/>
              </a:cxn>
              <a:cxn ang="0">
                <a:pos x="210" y="50"/>
              </a:cxn>
              <a:cxn ang="0">
                <a:pos x="196" y="34"/>
              </a:cxn>
              <a:cxn ang="0">
                <a:pos x="180" y="20"/>
              </a:cxn>
              <a:cxn ang="0">
                <a:pos x="160" y="10"/>
              </a:cxn>
              <a:cxn ang="0">
                <a:pos x="138" y="2"/>
              </a:cxn>
              <a:cxn ang="0">
                <a:pos x="114" y="0"/>
              </a:cxn>
            </a:cxnLst>
            <a:rect l="0" t="0" r="r" b="b"/>
            <a:pathLst>
              <a:path w="230" h="230">
                <a:moveTo>
                  <a:pt x="114" y="0"/>
                </a:moveTo>
                <a:lnTo>
                  <a:pt x="114" y="0"/>
                </a:lnTo>
                <a:lnTo>
                  <a:pt x="92" y="2"/>
                </a:lnTo>
                <a:lnTo>
                  <a:pt x="70" y="10"/>
                </a:lnTo>
                <a:lnTo>
                  <a:pt x="50" y="20"/>
                </a:lnTo>
                <a:lnTo>
                  <a:pt x="34" y="34"/>
                </a:lnTo>
                <a:lnTo>
                  <a:pt x="20" y="50"/>
                </a:lnTo>
                <a:lnTo>
                  <a:pt x="8" y="70"/>
                </a:lnTo>
                <a:lnTo>
                  <a:pt x="2" y="92"/>
                </a:lnTo>
                <a:lnTo>
                  <a:pt x="0" y="116"/>
                </a:lnTo>
                <a:lnTo>
                  <a:pt x="0" y="116"/>
                </a:lnTo>
                <a:lnTo>
                  <a:pt x="2" y="138"/>
                </a:lnTo>
                <a:lnTo>
                  <a:pt x="8" y="160"/>
                </a:lnTo>
                <a:lnTo>
                  <a:pt x="20" y="180"/>
                </a:lnTo>
                <a:lnTo>
                  <a:pt x="34" y="196"/>
                </a:lnTo>
                <a:lnTo>
                  <a:pt x="50" y="210"/>
                </a:lnTo>
                <a:lnTo>
                  <a:pt x="70" y="222"/>
                </a:lnTo>
                <a:lnTo>
                  <a:pt x="92" y="228"/>
                </a:lnTo>
                <a:lnTo>
                  <a:pt x="114" y="230"/>
                </a:lnTo>
                <a:lnTo>
                  <a:pt x="114" y="230"/>
                </a:lnTo>
                <a:lnTo>
                  <a:pt x="138" y="228"/>
                </a:lnTo>
                <a:lnTo>
                  <a:pt x="160" y="222"/>
                </a:lnTo>
                <a:lnTo>
                  <a:pt x="180" y="210"/>
                </a:lnTo>
                <a:lnTo>
                  <a:pt x="196" y="196"/>
                </a:lnTo>
                <a:lnTo>
                  <a:pt x="210" y="180"/>
                </a:lnTo>
                <a:lnTo>
                  <a:pt x="220" y="160"/>
                </a:lnTo>
                <a:lnTo>
                  <a:pt x="228" y="138"/>
                </a:lnTo>
                <a:lnTo>
                  <a:pt x="230" y="116"/>
                </a:lnTo>
                <a:lnTo>
                  <a:pt x="230" y="116"/>
                </a:lnTo>
                <a:lnTo>
                  <a:pt x="228" y="92"/>
                </a:lnTo>
                <a:lnTo>
                  <a:pt x="220" y="70"/>
                </a:lnTo>
                <a:lnTo>
                  <a:pt x="210" y="50"/>
                </a:lnTo>
                <a:lnTo>
                  <a:pt x="196" y="34"/>
                </a:lnTo>
                <a:lnTo>
                  <a:pt x="180" y="20"/>
                </a:lnTo>
                <a:lnTo>
                  <a:pt x="160" y="10"/>
                </a:lnTo>
                <a:lnTo>
                  <a:pt x="138" y="2"/>
                </a:lnTo>
                <a:lnTo>
                  <a:pt x="114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545" name="Freeform 276"/>
          <p:cNvSpPr>
            <a:spLocks/>
          </p:cNvSpPr>
          <p:nvPr userDrawn="1"/>
        </p:nvSpPr>
        <p:spPr bwMode="auto">
          <a:xfrm>
            <a:off x="8136553" y="6017359"/>
            <a:ext cx="357770" cy="330249"/>
          </a:xfrm>
          <a:custGeom>
            <a:avLst/>
            <a:gdLst/>
            <a:ahLst/>
            <a:cxnLst>
              <a:cxn ang="0">
                <a:pos x="144" y="0"/>
              </a:cxn>
              <a:cxn ang="0">
                <a:pos x="114" y="2"/>
              </a:cxn>
              <a:cxn ang="0">
                <a:pos x="88" y="12"/>
              </a:cxn>
              <a:cxn ang="0">
                <a:pos x="62" y="24"/>
              </a:cxn>
              <a:cxn ang="0">
                <a:pos x="42" y="42"/>
              </a:cxn>
              <a:cxn ang="0">
                <a:pos x="24" y="64"/>
              </a:cxn>
              <a:cxn ang="0">
                <a:pos x="10" y="88"/>
              </a:cxn>
              <a:cxn ang="0">
                <a:pos x="2" y="114"/>
              </a:cxn>
              <a:cxn ang="0">
                <a:pos x="0" y="144"/>
              </a:cxn>
              <a:cxn ang="0">
                <a:pos x="0" y="158"/>
              </a:cxn>
              <a:cxn ang="0">
                <a:pos x="6" y="186"/>
              </a:cxn>
              <a:cxn ang="0">
                <a:pos x="16" y="212"/>
              </a:cxn>
              <a:cxn ang="0">
                <a:pos x="32" y="236"/>
              </a:cxn>
              <a:cxn ang="0">
                <a:pos x="52" y="256"/>
              </a:cxn>
              <a:cxn ang="0">
                <a:pos x="74" y="270"/>
              </a:cxn>
              <a:cxn ang="0">
                <a:pos x="100" y="282"/>
              </a:cxn>
              <a:cxn ang="0">
                <a:pos x="128" y="288"/>
              </a:cxn>
              <a:cxn ang="0">
                <a:pos x="144" y="288"/>
              </a:cxn>
              <a:cxn ang="0">
                <a:pos x="172" y="286"/>
              </a:cxn>
              <a:cxn ang="0">
                <a:pos x="200" y="276"/>
              </a:cxn>
              <a:cxn ang="0">
                <a:pos x="224" y="264"/>
              </a:cxn>
              <a:cxn ang="0">
                <a:pos x="246" y="246"/>
              </a:cxn>
              <a:cxn ang="0">
                <a:pos x="262" y="224"/>
              </a:cxn>
              <a:cxn ang="0">
                <a:pos x="276" y="200"/>
              </a:cxn>
              <a:cxn ang="0">
                <a:pos x="284" y="174"/>
              </a:cxn>
              <a:cxn ang="0">
                <a:pos x="288" y="144"/>
              </a:cxn>
              <a:cxn ang="0">
                <a:pos x="286" y="130"/>
              </a:cxn>
              <a:cxn ang="0">
                <a:pos x="280" y="102"/>
              </a:cxn>
              <a:cxn ang="0">
                <a:pos x="270" y="76"/>
              </a:cxn>
              <a:cxn ang="0">
                <a:pos x="254" y="52"/>
              </a:cxn>
              <a:cxn ang="0">
                <a:pos x="234" y="32"/>
              </a:cxn>
              <a:cxn ang="0">
                <a:pos x="212" y="18"/>
              </a:cxn>
              <a:cxn ang="0">
                <a:pos x="186" y="6"/>
              </a:cxn>
              <a:cxn ang="0">
                <a:pos x="158" y="0"/>
              </a:cxn>
            </a:cxnLst>
            <a:rect l="0" t="0" r="r" b="b"/>
            <a:pathLst>
              <a:path w="288" h="288">
                <a:moveTo>
                  <a:pt x="144" y="0"/>
                </a:moveTo>
                <a:lnTo>
                  <a:pt x="144" y="0"/>
                </a:lnTo>
                <a:lnTo>
                  <a:pt x="128" y="0"/>
                </a:lnTo>
                <a:lnTo>
                  <a:pt x="114" y="2"/>
                </a:lnTo>
                <a:lnTo>
                  <a:pt x="100" y="6"/>
                </a:lnTo>
                <a:lnTo>
                  <a:pt x="88" y="12"/>
                </a:lnTo>
                <a:lnTo>
                  <a:pt x="74" y="18"/>
                </a:lnTo>
                <a:lnTo>
                  <a:pt x="62" y="24"/>
                </a:lnTo>
                <a:lnTo>
                  <a:pt x="52" y="32"/>
                </a:lnTo>
                <a:lnTo>
                  <a:pt x="42" y="42"/>
                </a:lnTo>
                <a:lnTo>
                  <a:pt x="32" y="52"/>
                </a:lnTo>
                <a:lnTo>
                  <a:pt x="24" y="64"/>
                </a:lnTo>
                <a:lnTo>
                  <a:pt x="16" y="76"/>
                </a:lnTo>
                <a:lnTo>
                  <a:pt x="10" y="88"/>
                </a:lnTo>
                <a:lnTo>
                  <a:pt x="6" y="102"/>
                </a:lnTo>
                <a:lnTo>
                  <a:pt x="2" y="114"/>
                </a:lnTo>
                <a:lnTo>
                  <a:pt x="0" y="130"/>
                </a:lnTo>
                <a:lnTo>
                  <a:pt x="0" y="144"/>
                </a:lnTo>
                <a:lnTo>
                  <a:pt x="0" y="144"/>
                </a:lnTo>
                <a:lnTo>
                  <a:pt x="0" y="158"/>
                </a:lnTo>
                <a:lnTo>
                  <a:pt x="2" y="174"/>
                </a:lnTo>
                <a:lnTo>
                  <a:pt x="6" y="186"/>
                </a:lnTo>
                <a:lnTo>
                  <a:pt x="10" y="200"/>
                </a:lnTo>
                <a:lnTo>
                  <a:pt x="16" y="212"/>
                </a:lnTo>
                <a:lnTo>
                  <a:pt x="24" y="224"/>
                </a:lnTo>
                <a:lnTo>
                  <a:pt x="32" y="236"/>
                </a:lnTo>
                <a:lnTo>
                  <a:pt x="42" y="246"/>
                </a:lnTo>
                <a:lnTo>
                  <a:pt x="52" y="256"/>
                </a:lnTo>
                <a:lnTo>
                  <a:pt x="62" y="264"/>
                </a:lnTo>
                <a:lnTo>
                  <a:pt x="74" y="270"/>
                </a:lnTo>
                <a:lnTo>
                  <a:pt x="88" y="276"/>
                </a:lnTo>
                <a:lnTo>
                  <a:pt x="100" y="282"/>
                </a:lnTo>
                <a:lnTo>
                  <a:pt x="114" y="286"/>
                </a:lnTo>
                <a:lnTo>
                  <a:pt x="128" y="288"/>
                </a:lnTo>
                <a:lnTo>
                  <a:pt x="144" y="288"/>
                </a:lnTo>
                <a:lnTo>
                  <a:pt x="144" y="288"/>
                </a:lnTo>
                <a:lnTo>
                  <a:pt x="158" y="288"/>
                </a:lnTo>
                <a:lnTo>
                  <a:pt x="172" y="286"/>
                </a:lnTo>
                <a:lnTo>
                  <a:pt x="186" y="282"/>
                </a:lnTo>
                <a:lnTo>
                  <a:pt x="200" y="276"/>
                </a:lnTo>
                <a:lnTo>
                  <a:pt x="212" y="270"/>
                </a:lnTo>
                <a:lnTo>
                  <a:pt x="224" y="264"/>
                </a:lnTo>
                <a:lnTo>
                  <a:pt x="234" y="256"/>
                </a:lnTo>
                <a:lnTo>
                  <a:pt x="246" y="246"/>
                </a:lnTo>
                <a:lnTo>
                  <a:pt x="254" y="236"/>
                </a:lnTo>
                <a:lnTo>
                  <a:pt x="262" y="224"/>
                </a:lnTo>
                <a:lnTo>
                  <a:pt x="270" y="212"/>
                </a:lnTo>
                <a:lnTo>
                  <a:pt x="276" y="200"/>
                </a:lnTo>
                <a:lnTo>
                  <a:pt x="280" y="186"/>
                </a:lnTo>
                <a:lnTo>
                  <a:pt x="284" y="174"/>
                </a:lnTo>
                <a:lnTo>
                  <a:pt x="286" y="158"/>
                </a:lnTo>
                <a:lnTo>
                  <a:pt x="288" y="144"/>
                </a:lnTo>
                <a:lnTo>
                  <a:pt x="288" y="144"/>
                </a:lnTo>
                <a:lnTo>
                  <a:pt x="286" y="130"/>
                </a:lnTo>
                <a:lnTo>
                  <a:pt x="284" y="114"/>
                </a:lnTo>
                <a:lnTo>
                  <a:pt x="280" y="102"/>
                </a:lnTo>
                <a:lnTo>
                  <a:pt x="276" y="88"/>
                </a:lnTo>
                <a:lnTo>
                  <a:pt x="270" y="76"/>
                </a:lnTo>
                <a:lnTo>
                  <a:pt x="262" y="64"/>
                </a:lnTo>
                <a:lnTo>
                  <a:pt x="254" y="52"/>
                </a:lnTo>
                <a:lnTo>
                  <a:pt x="246" y="42"/>
                </a:lnTo>
                <a:lnTo>
                  <a:pt x="234" y="32"/>
                </a:lnTo>
                <a:lnTo>
                  <a:pt x="224" y="24"/>
                </a:lnTo>
                <a:lnTo>
                  <a:pt x="212" y="18"/>
                </a:lnTo>
                <a:lnTo>
                  <a:pt x="200" y="12"/>
                </a:lnTo>
                <a:lnTo>
                  <a:pt x="186" y="6"/>
                </a:lnTo>
                <a:lnTo>
                  <a:pt x="172" y="2"/>
                </a:lnTo>
                <a:lnTo>
                  <a:pt x="158" y="0"/>
                </a:lnTo>
                <a:lnTo>
                  <a:pt x="144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546" name="Freeform 282"/>
          <p:cNvSpPr>
            <a:spLocks/>
          </p:cNvSpPr>
          <p:nvPr userDrawn="1"/>
        </p:nvSpPr>
        <p:spPr bwMode="auto">
          <a:xfrm>
            <a:off x="7460765" y="5570134"/>
            <a:ext cx="285718" cy="263740"/>
          </a:xfrm>
          <a:custGeom>
            <a:avLst/>
            <a:gdLst/>
            <a:ahLst/>
            <a:cxnLst>
              <a:cxn ang="0">
                <a:pos x="116" y="0"/>
              </a:cxn>
              <a:cxn ang="0">
                <a:pos x="116" y="0"/>
              </a:cxn>
              <a:cxn ang="0">
                <a:pos x="92" y="2"/>
              </a:cxn>
              <a:cxn ang="0">
                <a:pos x="70" y="8"/>
              </a:cxn>
              <a:cxn ang="0">
                <a:pos x="50" y="18"/>
              </a:cxn>
              <a:cxn ang="0">
                <a:pos x="34" y="34"/>
              </a:cxn>
              <a:cxn ang="0">
                <a:pos x="20" y="50"/>
              </a:cxn>
              <a:cxn ang="0">
                <a:pos x="10" y="70"/>
              </a:cxn>
              <a:cxn ang="0">
                <a:pos x="2" y="92"/>
              </a:cxn>
              <a:cxn ang="0">
                <a:pos x="0" y="114"/>
              </a:cxn>
              <a:cxn ang="0">
                <a:pos x="0" y="114"/>
              </a:cxn>
              <a:cxn ang="0">
                <a:pos x="2" y="138"/>
              </a:cxn>
              <a:cxn ang="0">
                <a:pos x="10" y="160"/>
              </a:cxn>
              <a:cxn ang="0">
                <a:pos x="20" y="178"/>
              </a:cxn>
              <a:cxn ang="0">
                <a:pos x="34" y="196"/>
              </a:cxn>
              <a:cxn ang="0">
                <a:pos x="50" y="210"/>
              </a:cxn>
              <a:cxn ang="0">
                <a:pos x="70" y="220"/>
              </a:cxn>
              <a:cxn ang="0">
                <a:pos x="92" y="228"/>
              </a:cxn>
              <a:cxn ang="0">
                <a:pos x="116" y="230"/>
              </a:cxn>
              <a:cxn ang="0">
                <a:pos x="116" y="230"/>
              </a:cxn>
              <a:cxn ang="0">
                <a:pos x="138" y="228"/>
              </a:cxn>
              <a:cxn ang="0">
                <a:pos x="160" y="220"/>
              </a:cxn>
              <a:cxn ang="0">
                <a:pos x="180" y="210"/>
              </a:cxn>
              <a:cxn ang="0">
                <a:pos x="196" y="196"/>
              </a:cxn>
              <a:cxn ang="0">
                <a:pos x="210" y="178"/>
              </a:cxn>
              <a:cxn ang="0">
                <a:pos x="222" y="160"/>
              </a:cxn>
              <a:cxn ang="0">
                <a:pos x="228" y="138"/>
              </a:cxn>
              <a:cxn ang="0">
                <a:pos x="230" y="114"/>
              </a:cxn>
              <a:cxn ang="0">
                <a:pos x="230" y="114"/>
              </a:cxn>
              <a:cxn ang="0">
                <a:pos x="228" y="92"/>
              </a:cxn>
              <a:cxn ang="0">
                <a:pos x="222" y="70"/>
              </a:cxn>
              <a:cxn ang="0">
                <a:pos x="210" y="50"/>
              </a:cxn>
              <a:cxn ang="0">
                <a:pos x="196" y="34"/>
              </a:cxn>
              <a:cxn ang="0">
                <a:pos x="180" y="18"/>
              </a:cxn>
              <a:cxn ang="0">
                <a:pos x="160" y="8"/>
              </a:cxn>
              <a:cxn ang="0">
                <a:pos x="138" y="2"/>
              </a:cxn>
              <a:cxn ang="0">
                <a:pos x="116" y="0"/>
              </a:cxn>
            </a:cxnLst>
            <a:rect l="0" t="0" r="r" b="b"/>
            <a:pathLst>
              <a:path w="230" h="230">
                <a:moveTo>
                  <a:pt x="116" y="0"/>
                </a:moveTo>
                <a:lnTo>
                  <a:pt x="116" y="0"/>
                </a:lnTo>
                <a:lnTo>
                  <a:pt x="92" y="2"/>
                </a:lnTo>
                <a:lnTo>
                  <a:pt x="70" y="8"/>
                </a:lnTo>
                <a:lnTo>
                  <a:pt x="50" y="18"/>
                </a:lnTo>
                <a:lnTo>
                  <a:pt x="34" y="34"/>
                </a:lnTo>
                <a:lnTo>
                  <a:pt x="20" y="50"/>
                </a:lnTo>
                <a:lnTo>
                  <a:pt x="10" y="70"/>
                </a:lnTo>
                <a:lnTo>
                  <a:pt x="2" y="92"/>
                </a:lnTo>
                <a:lnTo>
                  <a:pt x="0" y="114"/>
                </a:lnTo>
                <a:lnTo>
                  <a:pt x="0" y="114"/>
                </a:lnTo>
                <a:lnTo>
                  <a:pt x="2" y="138"/>
                </a:lnTo>
                <a:lnTo>
                  <a:pt x="10" y="160"/>
                </a:lnTo>
                <a:lnTo>
                  <a:pt x="20" y="178"/>
                </a:lnTo>
                <a:lnTo>
                  <a:pt x="34" y="196"/>
                </a:lnTo>
                <a:lnTo>
                  <a:pt x="50" y="210"/>
                </a:lnTo>
                <a:lnTo>
                  <a:pt x="70" y="220"/>
                </a:lnTo>
                <a:lnTo>
                  <a:pt x="92" y="228"/>
                </a:lnTo>
                <a:lnTo>
                  <a:pt x="116" y="230"/>
                </a:lnTo>
                <a:lnTo>
                  <a:pt x="116" y="230"/>
                </a:lnTo>
                <a:lnTo>
                  <a:pt x="138" y="228"/>
                </a:lnTo>
                <a:lnTo>
                  <a:pt x="160" y="220"/>
                </a:lnTo>
                <a:lnTo>
                  <a:pt x="180" y="210"/>
                </a:lnTo>
                <a:lnTo>
                  <a:pt x="196" y="196"/>
                </a:lnTo>
                <a:lnTo>
                  <a:pt x="210" y="178"/>
                </a:lnTo>
                <a:lnTo>
                  <a:pt x="222" y="160"/>
                </a:lnTo>
                <a:lnTo>
                  <a:pt x="228" y="138"/>
                </a:lnTo>
                <a:lnTo>
                  <a:pt x="230" y="114"/>
                </a:lnTo>
                <a:lnTo>
                  <a:pt x="230" y="114"/>
                </a:lnTo>
                <a:lnTo>
                  <a:pt x="228" y="92"/>
                </a:lnTo>
                <a:lnTo>
                  <a:pt x="222" y="70"/>
                </a:lnTo>
                <a:lnTo>
                  <a:pt x="210" y="50"/>
                </a:lnTo>
                <a:lnTo>
                  <a:pt x="196" y="34"/>
                </a:lnTo>
                <a:lnTo>
                  <a:pt x="180" y="18"/>
                </a:lnTo>
                <a:lnTo>
                  <a:pt x="160" y="8"/>
                </a:lnTo>
                <a:lnTo>
                  <a:pt x="138" y="2"/>
                </a:lnTo>
                <a:lnTo>
                  <a:pt x="116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  <p:sp>
        <p:nvSpPr>
          <p:cNvPr id="547" name="Freeform 284"/>
          <p:cNvSpPr>
            <a:spLocks/>
          </p:cNvSpPr>
          <p:nvPr userDrawn="1"/>
        </p:nvSpPr>
        <p:spPr bwMode="auto">
          <a:xfrm>
            <a:off x="9207376" y="5824701"/>
            <a:ext cx="429820" cy="394464"/>
          </a:xfrm>
          <a:custGeom>
            <a:avLst/>
            <a:gdLst/>
            <a:ahLst/>
            <a:cxnLst>
              <a:cxn ang="0">
                <a:pos x="174" y="0"/>
              </a:cxn>
              <a:cxn ang="0">
                <a:pos x="138" y="4"/>
              </a:cxn>
              <a:cxn ang="0">
                <a:pos x="106" y="14"/>
              </a:cxn>
              <a:cxn ang="0">
                <a:pos x="76" y="30"/>
              </a:cxn>
              <a:cxn ang="0">
                <a:pos x="52" y="50"/>
              </a:cxn>
              <a:cxn ang="0">
                <a:pos x="30" y="76"/>
              </a:cxn>
              <a:cxn ang="0">
                <a:pos x="14" y="106"/>
              </a:cxn>
              <a:cxn ang="0">
                <a:pos x="4" y="138"/>
              </a:cxn>
              <a:cxn ang="0">
                <a:pos x="0" y="172"/>
              </a:cxn>
              <a:cxn ang="0">
                <a:pos x="2" y="190"/>
              </a:cxn>
              <a:cxn ang="0">
                <a:pos x="8" y="224"/>
              </a:cxn>
              <a:cxn ang="0">
                <a:pos x="22" y="254"/>
              </a:cxn>
              <a:cxn ang="0">
                <a:pos x="40" y="282"/>
              </a:cxn>
              <a:cxn ang="0">
                <a:pos x="64" y="306"/>
              </a:cxn>
              <a:cxn ang="0">
                <a:pos x="90" y="324"/>
              </a:cxn>
              <a:cxn ang="0">
                <a:pos x="122" y="338"/>
              </a:cxn>
              <a:cxn ang="0">
                <a:pos x="156" y="344"/>
              </a:cxn>
              <a:cxn ang="0">
                <a:pos x="174" y="344"/>
              </a:cxn>
              <a:cxn ang="0">
                <a:pos x="208" y="342"/>
              </a:cxn>
              <a:cxn ang="0">
                <a:pos x="240" y="332"/>
              </a:cxn>
              <a:cxn ang="0">
                <a:pos x="270" y="316"/>
              </a:cxn>
              <a:cxn ang="0">
                <a:pos x="296" y="294"/>
              </a:cxn>
              <a:cxn ang="0">
                <a:pos x="316" y="268"/>
              </a:cxn>
              <a:cxn ang="0">
                <a:pos x="332" y="240"/>
              </a:cxn>
              <a:cxn ang="0">
                <a:pos x="342" y="208"/>
              </a:cxn>
              <a:cxn ang="0">
                <a:pos x="346" y="172"/>
              </a:cxn>
              <a:cxn ang="0">
                <a:pos x="344" y="154"/>
              </a:cxn>
              <a:cxn ang="0">
                <a:pos x="338" y="122"/>
              </a:cxn>
              <a:cxn ang="0">
                <a:pos x="324" y="90"/>
              </a:cxn>
              <a:cxn ang="0">
                <a:pos x="306" y="62"/>
              </a:cxn>
              <a:cxn ang="0">
                <a:pos x="282" y="40"/>
              </a:cxn>
              <a:cxn ang="0">
                <a:pos x="256" y="20"/>
              </a:cxn>
              <a:cxn ang="0">
                <a:pos x="224" y="8"/>
              </a:cxn>
              <a:cxn ang="0">
                <a:pos x="190" y="0"/>
              </a:cxn>
            </a:cxnLst>
            <a:rect l="0" t="0" r="r" b="b"/>
            <a:pathLst>
              <a:path w="346" h="344">
                <a:moveTo>
                  <a:pt x="174" y="0"/>
                </a:moveTo>
                <a:lnTo>
                  <a:pt x="174" y="0"/>
                </a:lnTo>
                <a:lnTo>
                  <a:pt x="156" y="0"/>
                </a:lnTo>
                <a:lnTo>
                  <a:pt x="138" y="4"/>
                </a:lnTo>
                <a:lnTo>
                  <a:pt x="122" y="8"/>
                </a:lnTo>
                <a:lnTo>
                  <a:pt x="106" y="14"/>
                </a:lnTo>
                <a:lnTo>
                  <a:pt x="90" y="20"/>
                </a:lnTo>
                <a:lnTo>
                  <a:pt x="76" y="30"/>
                </a:lnTo>
                <a:lnTo>
                  <a:pt x="64" y="40"/>
                </a:lnTo>
                <a:lnTo>
                  <a:pt x="52" y="50"/>
                </a:lnTo>
                <a:lnTo>
                  <a:pt x="40" y="62"/>
                </a:lnTo>
                <a:lnTo>
                  <a:pt x="30" y="76"/>
                </a:lnTo>
                <a:lnTo>
                  <a:pt x="22" y="90"/>
                </a:lnTo>
                <a:lnTo>
                  <a:pt x="14" y="106"/>
                </a:lnTo>
                <a:lnTo>
                  <a:pt x="8" y="122"/>
                </a:lnTo>
                <a:lnTo>
                  <a:pt x="4" y="138"/>
                </a:lnTo>
                <a:lnTo>
                  <a:pt x="2" y="154"/>
                </a:lnTo>
                <a:lnTo>
                  <a:pt x="0" y="172"/>
                </a:lnTo>
                <a:lnTo>
                  <a:pt x="0" y="172"/>
                </a:lnTo>
                <a:lnTo>
                  <a:pt x="2" y="190"/>
                </a:lnTo>
                <a:lnTo>
                  <a:pt x="4" y="208"/>
                </a:lnTo>
                <a:lnTo>
                  <a:pt x="8" y="224"/>
                </a:lnTo>
                <a:lnTo>
                  <a:pt x="14" y="240"/>
                </a:lnTo>
                <a:lnTo>
                  <a:pt x="22" y="254"/>
                </a:lnTo>
                <a:lnTo>
                  <a:pt x="30" y="268"/>
                </a:lnTo>
                <a:lnTo>
                  <a:pt x="40" y="282"/>
                </a:lnTo>
                <a:lnTo>
                  <a:pt x="52" y="294"/>
                </a:lnTo>
                <a:lnTo>
                  <a:pt x="64" y="306"/>
                </a:lnTo>
                <a:lnTo>
                  <a:pt x="76" y="316"/>
                </a:lnTo>
                <a:lnTo>
                  <a:pt x="90" y="324"/>
                </a:lnTo>
                <a:lnTo>
                  <a:pt x="106" y="332"/>
                </a:lnTo>
                <a:lnTo>
                  <a:pt x="122" y="338"/>
                </a:lnTo>
                <a:lnTo>
                  <a:pt x="138" y="342"/>
                </a:lnTo>
                <a:lnTo>
                  <a:pt x="156" y="344"/>
                </a:lnTo>
                <a:lnTo>
                  <a:pt x="174" y="344"/>
                </a:lnTo>
                <a:lnTo>
                  <a:pt x="174" y="344"/>
                </a:lnTo>
                <a:lnTo>
                  <a:pt x="190" y="344"/>
                </a:lnTo>
                <a:lnTo>
                  <a:pt x="208" y="342"/>
                </a:lnTo>
                <a:lnTo>
                  <a:pt x="224" y="338"/>
                </a:lnTo>
                <a:lnTo>
                  <a:pt x="240" y="332"/>
                </a:lnTo>
                <a:lnTo>
                  <a:pt x="256" y="324"/>
                </a:lnTo>
                <a:lnTo>
                  <a:pt x="270" y="316"/>
                </a:lnTo>
                <a:lnTo>
                  <a:pt x="282" y="306"/>
                </a:lnTo>
                <a:lnTo>
                  <a:pt x="296" y="294"/>
                </a:lnTo>
                <a:lnTo>
                  <a:pt x="306" y="282"/>
                </a:lnTo>
                <a:lnTo>
                  <a:pt x="316" y="268"/>
                </a:lnTo>
                <a:lnTo>
                  <a:pt x="324" y="254"/>
                </a:lnTo>
                <a:lnTo>
                  <a:pt x="332" y="240"/>
                </a:lnTo>
                <a:lnTo>
                  <a:pt x="338" y="224"/>
                </a:lnTo>
                <a:lnTo>
                  <a:pt x="342" y="208"/>
                </a:lnTo>
                <a:lnTo>
                  <a:pt x="344" y="190"/>
                </a:lnTo>
                <a:lnTo>
                  <a:pt x="346" y="172"/>
                </a:lnTo>
                <a:lnTo>
                  <a:pt x="346" y="172"/>
                </a:lnTo>
                <a:lnTo>
                  <a:pt x="344" y="154"/>
                </a:lnTo>
                <a:lnTo>
                  <a:pt x="342" y="138"/>
                </a:lnTo>
                <a:lnTo>
                  <a:pt x="338" y="122"/>
                </a:lnTo>
                <a:lnTo>
                  <a:pt x="332" y="106"/>
                </a:lnTo>
                <a:lnTo>
                  <a:pt x="324" y="90"/>
                </a:lnTo>
                <a:lnTo>
                  <a:pt x="316" y="76"/>
                </a:lnTo>
                <a:lnTo>
                  <a:pt x="306" y="62"/>
                </a:lnTo>
                <a:lnTo>
                  <a:pt x="296" y="50"/>
                </a:lnTo>
                <a:lnTo>
                  <a:pt x="282" y="40"/>
                </a:lnTo>
                <a:lnTo>
                  <a:pt x="270" y="30"/>
                </a:lnTo>
                <a:lnTo>
                  <a:pt x="256" y="20"/>
                </a:lnTo>
                <a:lnTo>
                  <a:pt x="240" y="14"/>
                </a:lnTo>
                <a:lnTo>
                  <a:pt x="224" y="8"/>
                </a:lnTo>
                <a:lnTo>
                  <a:pt x="208" y="4"/>
                </a:lnTo>
                <a:lnTo>
                  <a:pt x="190" y="0"/>
                </a:lnTo>
                <a:lnTo>
                  <a:pt x="174" y="0"/>
                </a:lnTo>
                <a:close/>
              </a:path>
            </a:pathLst>
          </a:custGeom>
          <a:solidFill>
            <a:srgbClr val="D1CFCF"/>
          </a:solidFill>
          <a:ln w="9525">
            <a:noFill/>
            <a:round/>
            <a:headEnd/>
            <a:tailEnd/>
          </a:ln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/>
          <a:p>
            <a:pPr defTabSz="91423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  <a:latin typeface="맑은 고딕"/>
              <a:ea typeface="나눔고딕" pitchFamily="50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9"/>
            <a:ext cx="8420100" cy="14700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1" y="3886200"/>
            <a:ext cx="6934200" cy="1752600"/>
          </a:xfrm>
          <a:prstGeom prst="rect">
            <a:avLst/>
          </a:prstGeom>
        </p:spPr>
        <p:txBody>
          <a:bodyPr lIns="95741" tIns="47872" rIns="95741" bIns="47872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  <a:lvl2pPr marL="4787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7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61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4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3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22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09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297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 smtClean="0"/>
              <a:t>마스터 부제목 스타일 편집</a:t>
            </a:r>
            <a:endParaRPr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88B592C2-5AA7-476F-9F0B-4D20DA763190}" type="datetime1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1" y="6356353"/>
            <a:ext cx="31369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2"/>
            <a:ext cx="8915400" cy="4525963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  <a:lvl2pPr>
              <a:defRPr>
                <a:latin typeface="나눔고딕" pitchFamily="50" charset="-127"/>
                <a:ea typeface="나눔고딕" pitchFamily="50" charset="-127"/>
              </a:defRPr>
            </a:lvl2pPr>
            <a:lvl3pPr>
              <a:defRPr>
                <a:latin typeface="나눔고딕" pitchFamily="50" charset="-127"/>
                <a:ea typeface="나눔고딕" pitchFamily="50" charset="-127"/>
              </a:defRPr>
            </a:lvl3pPr>
            <a:lvl4pPr>
              <a:defRPr>
                <a:latin typeface="나눔고딕" pitchFamily="50" charset="-127"/>
                <a:ea typeface="나눔고딕" pitchFamily="50" charset="-127"/>
              </a:defRPr>
            </a:lvl4pPr>
            <a:lvl5pPr>
              <a:defRPr>
                <a:latin typeface="나눔고딕" pitchFamily="50" charset="-127"/>
                <a:ea typeface="나눔고딕" pitchFamily="50" charset="-127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A57F2ACC-8A3A-42F1-8A7C-A26BD276D6DC}" type="datetime1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1" y="6356353"/>
            <a:ext cx="31369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506" y="4406903"/>
            <a:ext cx="8420100" cy="1362075"/>
          </a:xfrm>
          <a:prstGeom prst="rect">
            <a:avLst/>
          </a:prstGeom>
        </p:spPr>
        <p:txBody>
          <a:bodyPr lIns="95741" tIns="47872" rIns="95741" bIns="47872" anchor="t"/>
          <a:lstStyle>
            <a:lvl1pPr algn="l">
              <a:defRPr sz="4200" b="1" cap="all"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506" y="2906714"/>
            <a:ext cx="8420100" cy="1500187"/>
          </a:xfrm>
          <a:prstGeom prst="rect">
            <a:avLst/>
          </a:prstGeom>
        </p:spPr>
        <p:txBody>
          <a:bodyPr lIns="95741" tIns="47872" rIns="95741" bIns="47872" anchor="b"/>
          <a:lstStyle>
            <a:lvl1pPr marL="0" indent="0">
              <a:buNone/>
              <a:defRPr sz="2100"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  <a:lvl2pPr marL="47871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9574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4361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91485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39357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87228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35099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82971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57925CB2-7415-40FA-8471-6D1F730328A9}" type="datetime1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1" y="6356353"/>
            <a:ext cx="31369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8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8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6A0C6D0A-A552-4513-A918-B1B4049F160D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1105617098"/>
      </p:ext>
    </p:extLst>
  </p:cSld>
  <p:clrMapOvr>
    <a:masterClrMapping/>
  </p:clrMapOvr>
  <p:transition>
    <p:fad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75150" cy="4525963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 sz="2900">
                <a:latin typeface="나눔고딕" pitchFamily="50" charset="-127"/>
                <a:ea typeface="나눔고딕" pitchFamily="50" charset="-127"/>
              </a:defRPr>
            </a:lvl1pPr>
            <a:lvl2pPr>
              <a:defRPr sz="2500">
                <a:latin typeface="나눔고딕" pitchFamily="50" charset="-127"/>
                <a:ea typeface="나눔고딕" pitchFamily="50" charset="-127"/>
              </a:defRPr>
            </a:lvl2pPr>
            <a:lvl3pPr>
              <a:defRPr sz="2100">
                <a:latin typeface="나눔고딕" pitchFamily="50" charset="-127"/>
                <a:ea typeface="나눔고딕" pitchFamily="50" charset="-127"/>
              </a:defRPr>
            </a:lvl3pPr>
            <a:lvl4pPr>
              <a:defRPr sz="1900">
                <a:latin typeface="나눔고딕" pitchFamily="50" charset="-127"/>
                <a:ea typeface="나눔고딕" pitchFamily="50" charset="-127"/>
              </a:defRPr>
            </a:lvl4pPr>
            <a:lvl5pPr>
              <a:defRPr sz="1900">
                <a:latin typeface="나눔고딕" pitchFamily="50" charset="-127"/>
                <a:ea typeface="나눔고딕" pitchFamily="50" charset="-127"/>
              </a:defRPr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35550" y="1600202"/>
            <a:ext cx="4375150" cy="4525963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 sz="2900">
                <a:latin typeface="나눔고딕" pitchFamily="50" charset="-127"/>
                <a:ea typeface="나눔고딕" pitchFamily="50" charset="-127"/>
              </a:defRPr>
            </a:lvl1pPr>
            <a:lvl2pPr>
              <a:defRPr sz="2500">
                <a:latin typeface="나눔고딕" pitchFamily="50" charset="-127"/>
                <a:ea typeface="나눔고딕" pitchFamily="50" charset="-127"/>
              </a:defRPr>
            </a:lvl2pPr>
            <a:lvl3pPr>
              <a:defRPr sz="2100">
                <a:latin typeface="나눔고딕" pitchFamily="50" charset="-127"/>
                <a:ea typeface="나눔고딕" pitchFamily="50" charset="-127"/>
              </a:defRPr>
            </a:lvl3pPr>
            <a:lvl4pPr>
              <a:defRPr sz="1900">
                <a:latin typeface="나눔고딕" pitchFamily="50" charset="-127"/>
                <a:ea typeface="나눔고딕" pitchFamily="50" charset="-127"/>
              </a:defRPr>
            </a:lvl4pPr>
            <a:lvl5pPr>
              <a:defRPr sz="1900">
                <a:latin typeface="나눔고딕" pitchFamily="50" charset="-127"/>
                <a:ea typeface="나눔고딕" pitchFamily="50" charset="-127"/>
              </a:defRPr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93963BD1-DCD4-4B09-BC01-1DCABBA563FE}" type="datetime1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384551" y="6356353"/>
            <a:ext cx="31369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  <a:prstGeom prst="rect">
            <a:avLst/>
          </a:prstGeom>
        </p:spPr>
        <p:txBody>
          <a:bodyPr lIns="95741" tIns="47872" rIns="95741" bIns="47872" anchor="b"/>
          <a:lstStyle>
            <a:lvl1pPr marL="0" indent="0">
              <a:buNone/>
              <a:defRPr sz="2500" b="1">
                <a:latin typeface="나눔고딕" pitchFamily="50" charset="-127"/>
                <a:ea typeface="나눔고딕" pitchFamily="50" charset="-127"/>
              </a:defRPr>
            </a:lvl1pPr>
            <a:lvl2pPr marL="478715" indent="0">
              <a:buNone/>
              <a:defRPr sz="2100" b="1"/>
            </a:lvl2pPr>
            <a:lvl3pPr marL="957430" indent="0">
              <a:buNone/>
              <a:defRPr sz="1900" b="1"/>
            </a:lvl3pPr>
            <a:lvl4pPr marL="1436143" indent="0">
              <a:buNone/>
              <a:defRPr sz="1600" b="1"/>
            </a:lvl4pPr>
            <a:lvl5pPr marL="1914856" indent="0">
              <a:buNone/>
              <a:defRPr sz="1600" b="1"/>
            </a:lvl5pPr>
            <a:lvl6pPr marL="2393570" indent="0">
              <a:buNone/>
              <a:defRPr sz="1600" b="1"/>
            </a:lvl6pPr>
            <a:lvl7pPr marL="2872284" indent="0">
              <a:buNone/>
              <a:defRPr sz="1600" b="1"/>
            </a:lvl7pPr>
            <a:lvl8pPr marL="3350998" indent="0">
              <a:buNone/>
              <a:defRPr sz="1600" b="1"/>
            </a:lvl8pPr>
            <a:lvl9pPr marL="3829713" indent="0">
              <a:buNone/>
              <a:defRPr sz="1600" b="1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 sz="2500">
                <a:latin typeface="나눔고딕" pitchFamily="50" charset="-127"/>
                <a:ea typeface="나눔고딕" pitchFamily="50" charset="-127"/>
              </a:defRPr>
            </a:lvl1pPr>
            <a:lvl2pPr>
              <a:defRPr sz="2100">
                <a:latin typeface="나눔고딕" pitchFamily="50" charset="-127"/>
                <a:ea typeface="나눔고딕" pitchFamily="50" charset="-127"/>
              </a:defRPr>
            </a:lvl2pPr>
            <a:lvl3pPr>
              <a:defRPr sz="1900">
                <a:latin typeface="나눔고딕" pitchFamily="50" charset="-127"/>
                <a:ea typeface="나눔고딕" pitchFamily="50" charset="-127"/>
              </a:defRPr>
            </a:lvl3pPr>
            <a:lvl4pPr>
              <a:defRPr sz="1600">
                <a:latin typeface="나눔고딕" pitchFamily="50" charset="-127"/>
                <a:ea typeface="나눔고딕" pitchFamily="50" charset="-127"/>
              </a:defRPr>
            </a:lvl4pPr>
            <a:lvl5pPr>
              <a:defRPr sz="1600">
                <a:latin typeface="나눔고딕" pitchFamily="50" charset="-127"/>
                <a:ea typeface="나눔고딕" pitchFamily="50" charset="-127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  <a:prstGeom prst="rect">
            <a:avLst/>
          </a:prstGeom>
        </p:spPr>
        <p:txBody>
          <a:bodyPr lIns="95741" tIns="47872" rIns="95741" bIns="47872" anchor="b"/>
          <a:lstStyle>
            <a:lvl1pPr marL="0" indent="0">
              <a:buNone/>
              <a:defRPr sz="2500" b="1">
                <a:latin typeface="나눔고딕" pitchFamily="50" charset="-127"/>
                <a:ea typeface="나눔고딕" pitchFamily="50" charset="-127"/>
              </a:defRPr>
            </a:lvl1pPr>
            <a:lvl2pPr marL="478715" indent="0">
              <a:buNone/>
              <a:defRPr sz="2100" b="1"/>
            </a:lvl2pPr>
            <a:lvl3pPr marL="957430" indent="0">
              <a:buNone/>
              <a:defRPr sz="1900" b="1"/>
            </a:lvl3pPr>
            <a:lvl4pPr marL="1436143" indent="0">
              <a:buNone/>
              <a:defRPr sz="1600" b="1"/>
            </a:lvl4pPr>
            <a:lvl5pPr marL="1914856" indent="0">
              <a:buNone/>
              <a:defRPr sz="1600" b="1"/>
            </a:lvl5pPr>
            <a:lvl6pPr marL="2393570" indent="0">
              <a:buNone/>
              <a:defRPr sz="1600" b="1"/>
            </a:lvl6pPr>
            <a:lvl7pPr marL="2872284" indent="0">
              <a:buNone/>
              <a:defRPr sz="1600" b="1"/>
            </a:lvl7pPr>
            <a:lvl8pPr marL="3350998" indent="0">
              <a:buNone/>
              <a:defRPr sz="1600" b="1"/>
            </a:lvl8pPr>
            <a:lvl9pPr marL="3829713" indent="0">
              <a:buNone/>
              <a:defRPr sz="1600" b="1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 sz="2500">
                <a:latin typeface="나눔고딕" pitchFamily="50" charset="-127"/>
                <a:ea typeface="나눔고딕" pitchFamily="50" charset="-127"/>
              </a:defRPr>
            </a:lvl1pPr>
            <a:lvl2pPr>
              <a:defRPr sz="2100">
                <a:latin typeface="나눔고딕" pitchFamily="50" charset="-127"/>
                <a:ea typeface="나눔고딕" pitchFamily="50" charset="-127"/>
              </a:defRPr>
            </a:lvl2pPr>
            <a:lvl3pPr>
              <a:defRPr sz="1900">
                <a:latin typeface="나눔고딕" pitchFamily="50" charset="-127"/>
                <a:ea typeface="나눔고딕" pitchFamily="50" charset="-127"/>
              </a:defRPr>
            </a:lvl3pPr>
            <a:lvl4pPr>
              <a:defRPr sz="1600">
                <a:latin typeface="나눔고딕" pitchFamily="50" charset="-127"/>
                <a:ea typeface="나눔고딕" pitchFamily="50" charset="-127"/>
              </a:defRPr>
            </a:lvl4pPr>
            <a:lvl5pPr>
              <a:defRPr sz="1600">
                <a:latin typeface="나눔고딕" pitchFamily="50" charset="-127"/>
                <a:ea typeface="나눔고딕" pitchFamily="50" charset="-127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303C2D57-6852-42A8-841C-E999A1B0D50F}" type="datetime1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>
          <a:xfrm>
            <a:off x="3384551" y="6356353"/>
            <a:ext cx="31369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0E1816D3-0CD0-4BBC-BF6D-C32C7E2E71BC}" type="datetime1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3384551" y="6356353"/>
            <a:ext cx="31369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8373D4AB-4C1B-458F-9C66-C8074593111F}" type="datetime1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84551" y="6356353"/>
            <a:ext cx="31369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1" y="273050"/>
            <a:ext cx="3259006" cy="1162050"/>
          </a:xfrm>
          <a:prstGeom prst="rect">
            <a:avLst/>
          </a:prstGeom>
        </p:spPr>
        <p:txBody>
          <a:bodyPr lIns="95741" tIns="47872" rIns="95741" bIns="47872" anchor="b"/>
          <a:lstStyle>
            <a:lvl1pPr algn="l">
              <a:defRPr sz="2100" b="1"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2973" y="273052"/>
            <a:ext cx="5537729" cy="5853113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 sz="3400">
                <a:latin typeface="나눔고딕" pitchFamily="50" charset="-127"/>
                <a:ea typeface="나눔고딕" pitchFamily="50" charset="-127"/>
              </a:defRPr>
            </a:lvl1pPr>
            <a:lvl2pPr>
              <a:defRPr sz="2900">
                <a:latin typeface="나눔고딕" pitchFamily="50" charset="-127"/>
                <a:ea typeface="나눔고딕" pitchFamily="50" charset="-127"/>
              </a:defRPr>
            </a:lvl2pPr>
            <a:lvl3pPr>
              <a:defRPr sz="2500">
                <a:latin typeface="나눔고딕" pitchFamily="50" charset="-127"/>
                <a:ea typeface="나눔고딕" pitchFamily="50" charset="-127"/>
              </a:defRPr>
            </a:lvl3pPr>
            <a:lvl4pPr>
              <a:defRPr sz="2100">
                <a:latin typeface="나눔고딕" pitchFamily="50" charset="-127"/>
                <a:ea typeface="나눔고딕" pitchFamily="50" charset="-127"/>
              </a:defRPr>
            </a:lvl4pPr>
            <a:lvl5pPr>
              <a:defRPr sz="2100">
                <a:latin typeface="나눔고딕" pitchFamily="50" charset="-127"/>
                <a:ea typeface="나눔고딕" pitchFamily="50" charset="-127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1" y="1435101"/>
            <a:ext cx="3259006" cy="4691063"/>
          </a:xfrm>
          <a:prstGeom prst="rect">
            <a:avLst/>
          </a:prstGeom>
        </p:spPr>
        <p:txBody>
          <a:bodyPr lIns="95741" tIns="47872" rIns="95741" bIns="47872"/>
          <a:lstStyle>
            <a:lvl1pPr marL="0" indent="0">
              <a:buNone/>
              <a:defRPr sz="1500">
                <a:latin typeface="나눔고딕" pitchFamily="50" charset="-127"/>
                <a:ea typeface="나눔고딕" pitchFamily="50" charset="-127"/>
              </a:defRPr>
            </a:lvl1pPr>
            <a:lvl2pPr marL="478715" indent="0">
              <a:buNone/>
              <a:defRPr sz="1300"/>
            </a:lvl2pPr>
            <a:lvl3pPr marL="957430" indent="0">
              <a:buNone/>
              <a:defRPr sz="1000"/>
            </a:lvl3pPr>
            <a:lvl4pPr marL="1436143" indent="0">
              <a:buNone/>
              <a:defRPr sz="1000"/>
            </a:lvl4pPr>
            <a:lvl5pPr marL="1914856" indent="0">
              <a:buNone/>
              <a:defRPr sz="1000"/>
            </a:lvl5pPr>
            <a:lvl6pPr marL="2393570" indent="0">
              <a:buNone/>
              <a:defRPr sz="1000"/>
            </a:lvl6pPr>
            <a:lvl7pPr marL="2872284" indent="0">
              <a:buNone/>
              <a:defRPr sz="1000"/>
            </a:lvl7pPr>
            <a:lvl8pPr marL="3350998" indent="0">
              <a:buNone/>
              <a:defRPr sz="1000"/>
            </a:lvl8pPr>
            <a:lvl9pPr marL="3829713" indent="0">
              <a:buNone/>
              <a:defRPr sz="10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7D17A795-B6E3-4D16-B139-B3646F2E8000}" type="datetime1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384551" y="6356353"/>
            <a:ext cx="31369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  <a:prstGeom prst="rect">
            <a:avLst/>
          </a:prstGeom>
        </p:spPr>
        <p:txBody>
          <a:bodyPr lIns="95741" tIns="47872" rIns="95741" bIns="47872" anchor="b"/>
          <a:lstStyle>
            <a:lvl1pPr algn="l">
              <a:defRPr sz="2100" b="1"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  <a:prstGeom prst="rect">
            <a:avLst/>
          </a:prstGeom>
        </p:spPr>
        <p:txBody>
          <a:bodyPr lIns="95741" tIns="47872" rIns="95741" bIns="47872"/>
          <a:lstStyle>
            <a:lvl1pPr marL="0" indent="0">
              <a:buNone/>
              <a:defRPr sz="3400">
                <a:latin typeface="나눔고딕" pitchFamily="50" charset="-127"/>
                <a:ea typeface="나눔고딕" pitchFamily="50" charset="-127"/>
              </a:defRPr>
            </a:lvl1pPr>
            <a:lvl2pPr marL="478715" indent="0">
              <a:buNone/>
              <a:defRPr sz="2900"/>
            </a:lvl2pPr>
            <a:lvl3pPr marL="957430" indent="0">
              <a:buNone/>
              <a:defRPr sz="2500"/>
            </a:lvl3pPr>
            <a:lvl4pPr marL="1436143" indent="0">
              <a:buNone/>
              <a:defRPr sz="2100"/>
            </a:lvl4pPr>
            <a:lvl5pPr marL="1914856" indent="0">
              <a:buNone/>
              <a:defRPr sz="2100"/>
            </a:lvl5pPr>
            <a:lvl6pPr marL="2393570" indent="0">
              <a:buNone/>
              <a:defRPr sz="2100"/>
            </a:lvl6pPr>
            <a:lvl7pPr marL="2872284" indent="0">
              <a:buNone/>
              <a:defRPr sz="2100"/>
            </a:lvl7pPr>
            <a:lvl8pPr marL="3350998" indent="0">
              <a:buNone/>
              <a:defRPr sz="2100"/>
            </a:lvl8pPr>
            <a:lvl9pPr marL="3829713" indent="0">
              <a:buNone/>
              <a:defRPr sz="2100"/>
            </a:lvl9pPr>
          </a:lstStyle>
          <a:p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  <a:prstGeom prst="rect">
            <a:avLst/>
          </a:prstGeom>
        </p:spPr>
        <p:txBody>
          <a:bodyPr lIns="95741" tIns="47872" rIns="95741" bIns="47872"/>
          <a:lstStyle>
            <a:lvl1pPr marL="0" indent="0">
              <a:buNone/>
              <a:defRPr sz="1500">
                <a:latin typeface="나눔고딕" pitchFamily="50" charset="-127"/>
                <a:ea typeface="나눔고딕" pitchFamily="50" charset="-127"/>
              </a:defRPr>
            </a:lvl1pPr>
            <a:lvl2pPr marL="478715" indent="0">
              <a:buNone/>
              <a:defRPr sz="1300"/>
            </a:lvl2pPr>
            <a:lvl3pPr marL="957430" indent="0">
              <a:buNone/>
              <a:defRPr sz="1000"/>
            </a:lvl3pPr>
            <a:lvl4pPr marL="1436143" indent="0">
              <a:buNone/>
              <a:defRPr sz="1000"/>
            </a:lvl4pPr>
            <a:lvl5pPr marL="1914856" indent="0">
              <a:buNone/>
              <a:defRPr sz="1000"/>
            </a:lvl5pPr>
            <a:lvl6pPr marL="2393570" indent="0">
              <a:buNone/>
              <a:defRPr sz="1000"/>
            </a:lvl6pPr>
            <a:lvl7pPr marL="2872284" indent="0">
              <a:buNone/>
              <a:defRPr sz="1000"/>
            </a:lvl7pPr>
            <a:lvl8pPr marL="3350998" indent="0">
              <a:buNone/>
              <a:defRPr sz="1000"/>
            </a:lvl8pPr>
            <a:lvl9pPr marL="3829713" indent="0">
              <a:buNone/>
              <a:defRPr sz="10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C83DB778-8B2B-4DE0-9B7B-10FC9699C677}" type="datetime1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384551" y="6356353"/>
            <a:ext cx="31369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2"/>
            <a:ext cx="8915400" cy="4525963"/>
          </a:xfrm>
          <a:prstGeom prst="rect">
            <a:avLst/>
          </a:prstGeom>
        </p:spPr>
        <p:txBody>
          <a:bodyPr vert="eaVert"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  <a:lvl2pPr>
              <a:defRPr>
                <a:latin typeface="나눔고딕" pitchFamily="50" charset="-127"/>
                <a:ea typeface="나눔고딕" pitchFamily="50" charset="-127"/>
              </a:defRPr>
            </a:lvl2pPr>
            <a:lvl3pPr>
              <a:defRPr>
                <a:latin typeface="나눔고딕" pitchFamily="50" charset="-127"/>
                <a:ea typeface="나눔고딕" pitchFamily="50" charset="-127"/>
              </a:defRPr>
            </a:lvl3pPr>
            <a:lvl4pPr>
              <a:defRPr>
                <a:latin typeface="나눔고딕" pitchFamily="50" charset="-127"/>
                <a:ea typeface="나눔고딕" pitchFamily="50" charset="-127"/>
              </a:defRPr>
            </a:lvl4pPr>
            <a:lvl5pPr>
              <a:defRPr>
                <a:latin typeface="나눔고딕" pitchFamily="50" charset="-127"/>
                <a:ea typeface="나눔고딕" pitchFamily="50" charset="-127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B50CBA34-01F2-43F6-B521-AA89AB76B0D4}" type="datetime1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1" y="6356353"/>
            <a:ext cx="31369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41"/>
            <a:ext cx="2228850" cy="5851525"/>
          </a:xfrm>
          <a:prstGeom prst="rect">
            <a:avLst/>
          </a:prstGeom>
        </p:spPr>
        <p:txBody>
          <a:bodyPr vert="eaVert"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41"/>
            <a:ext cx="6521450" cy="5851525"/>
          </a:xfrm>
          <a:prstGeom prst="rect">
            <a:avLst/>
          </a:prstGeom>
        </p:spPr>
        <p:txBody>
          <a:bodyPr vert="eaVert"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  <a:lvl2pPr>
              <a:defRPr>
                <a:latin typeface="나눔고딕" pitchFamily="50" charset="-127"/>
                <a:ea typeface="나눔고딕" pitchFamily="50" charset="-127"/>
              </a:defRPr>
            </a:lvl2pPr>
            <a:lvl3pPr>
              <a:defRPr>
                <a:latin typeface="나눔고딕" pitchFamily="50" charset="-127"/>
                <a:ea typeface="나눔고딕" pitchFamily="50" charset="-127"/>
              </a:defRPr>
            </a:lvl3pPr>
            <a:lvl4pPr>
              <a:defRPr>
                <a:latin typeface="나눔고딕" pitchFamily="50" charset="-127"/>
                <a:ea typeface="나눔고딕" pitchFamily="50" charset="-127"/>
              </a:defRPr>
            </a:lvl4pPr>
            <a:lvl5pPr>
              <a:defRPr>
                <a:latin typeface="나눔고딕" pitchFamily="50" charset="-127"/>
                <a:ea typeface="나눔고딕" pitchFamily="50" charset="-127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82125C8A-E5B9-4B6C-810E-147DA74CE633}" type="datetime1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2015-03-04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1" y="6356353"/>
            <a:ext cx="31369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lIns="95741" tIns="47872" rIns="95741" bIns="47872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914195" fontAlgn="auto" latinLnBrk="1">
              <a:spcBef>
                <a:spcPts val="0"/>
              </a:spcBef>
              <a:spcAft>
                <a:spcPts val="0"/>
              </a:spcAft>
            </a:pPr>
            <a:fld id="{23FE70B6-8472-43B7-8345-8FD31221AF46}" type="slidenum">
              <a:rPr lang="ko-KR" altLang="en-US" sz="1800" b="0" u="none" smtClean="0">
                <a:solidFill>
                  <a:prstClr val="black"/>
                </a:solidFill>
              </a:rPr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 sz="1800" b="0" u="non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:p14="http://schemas.microsoft.com/office/powerpoint/2010/main" xmlns="" val="3853743894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E8ECA24C-C036-4818-A58B-C5DAF5E7FA4C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728883640"/>
      </p:ext>
    </p:extLst>
  </p:cSld>
  <p:clrMapOvr>
    <a:masterClrMapping/>
  </p:clrMapOvr>
  <p:transition>
    <p:fade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4020294979"/>
      </p:ext>
    </p:extLst>
  </p:cSld>
  <p:clrMapOvr>
    <a:masterClrMapping/>
  </p:clrMapOvr>
  <p:transition>
    <p:fade/>
  </p:transition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507998975"/>
      </p:ext>
    </p:extLst>
  </p:cSld>
  <p:clrMapOvr>
    <a:masterClrMapping/>
  </p:clrMapOvr>
  <p:transition>
    <p:fade/>
  </p:transition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6885209"/>
      </p:ext>
    </p:extLst>
  </p:cSld>
  <p:clrMapOvr>
    <a:masterClrMapping/>
  </p:clrMapOvr>
  <p:transition>
    <p:fade/>
  </p:transition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613263950"/>
      </p:ext>
    </p:extLst>
  </p:cSld>
  <p:clrMapOvr>
    <a:masterClrMapping/>
  </p:clrMapOvr>
  <p:transition>
    <p:fade/>
  </p:transition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4001477303"/>
      </p:ext>
    </p:extLst>
  </p:cSld>
  <p:clrMapOvr>
    <a:masterClrMapping/>
  </p:clrMapOvr>
  <p:transition>
    <p:fade/>
  </p:transition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066111406"/>
      </p:ext>
    </p:extLst>
  </p:cSld>
  <p:clrMapOvr>
    <a:masterClrMapping/>
  </p:clrMapOvr>
  <p:transition>
    <p:fade/>
  </p:transition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142363890"/>
      </p:ext>
    </p:extLst>
  </p:cSld>
  <p:clrMapOvr>
    <a:masterClrMapping/>
  </p:clrMapOvr>
  <p:transition>
    <p:fade/>
  </p:transition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3373983798"/>
      </p:ext>
    </p:extLst>
  </p:cSld>
  <p:clrMapOvr>
    <a:masterClrMapping/>
  </p:clrMapOvr>
  <p:transition>
    <p:fade/>
  </p:transition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3701101660"/>
      </p:ext>
    </p:extLst>
  </p:cSld>
  <p:clrMapOvr>
    <a:masterClrMapping/>
  </p:clrMapOvr>
  <p:transition>
    <p:fade/>
  </p:transition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86342190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F270E5FD-63A6-4F2B-BB44-6B24EABEF616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2567143504"/>
      </p:ext>
    </p:extLst>
  </p:cSld>
  <p:clrMapOvr>
    <a:masterClrMapping/>
  </p:clrMapOvr>
  <p:transition>
    <p:fade/>
  </p:transition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388422997"/>
      </p:ext>
    </p:extLst>
  </p:cSld>
  <p:clrMapOvr>
    <a:masterClrMapping/>
  </p:clrMapOvr>
  <p:transition>
    <p:fade/>
  </p:transition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903425009"/>
      </p:ext>
    </p:extLst>
  </p:cSld>
  <p:clrMapOvr>
    <a:masterClrMapping/>
  </p:clrMapOvr>
  <p:transition>
    <p:fade/>
  </p:transition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:p14="http://schemas.microsoft.com/office/powerpoint/2010/main" xmlns="" val="3853743894"/>
      </p:ext>
    </p:extLst>
  </p:cSld>
  <p:clrMapOvr>
    <a:masterClrMapping/>
  </p:clrMapOvr>
  <p:transition>
    <p:fade/>
  </p:transition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4020294979"/>
      </p:ext>
    </p:extLst>
  </p:cSld>
  <p:clrMapOvr>
    <a:masterClrMapping/>
  </p:clrMapOvr>
  <p:transition>
    <p:fade/>
  </p:transition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507998975"/>
      </p:ext>
    </p:extLst>
  </p:cSld>
  <p:clrMapOvr>
    <a:masterClrMapping/>
  </p:clrMapOvr>
  <p:transition>
    <p:fade/>
  </p:transition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6885209"/>
      </p:ext>
    </p:extLst>
  </p:cSld>
  <p:clrMapOvr>
    <a:masterClrMapping/>
  </p:clrMapOvr>
  <p:transition>
    <p:fade/>
  </p:transition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613263950"/>
      </p:ext>
    </p:extLst>
  </p:cSld>
  <p:clrMapOvr>
    <a:masterClrMapping/>
  </p:clrMapOvr>
  <p:transition>
    <p:fade/>
  </p:transition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4001477303"/>
      </p:ext>
    </p:extLst>
  </p:cSld>
  <p:clrMapOvr>
    <a:masterClrMapping/>
  </p:clrMapOvr>
  <p:transition>
    <p:fade/>
  </p:transition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066111406"/>
      </p:ext>
    </p:extLst>
  </p:cSld>
  <p:clrMapOvr>
    <a:masterClrMapping/>
  </p:clrMapOvr>
  <p:transition>
    <p:fade/>
  </p:transition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142363890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EA94D354-B818-4BD8-8506-0467EEEB879C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2490415343"/>
      </p:ext>
    </p:extLst>
  </p:cSld>
  <p:clrMapOvr>
    <a:masterClrMapping/>
  </p:clrMapOvr>
  <p:transition>
    <p:fade/>
  </p:transition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3373983798"/>
      </p:ext>
    </p:extLst>
  </p:cSld>
  <p:clrMapOvr>
    <a:masterClrMapping/>
  </p:clrMapOvr>
  <p:transition>
    <p:fade/>
  </p:transition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3701101660"/>
      </p:ext>
    </p:extLst>
  </p:cSld>
  <p:clrMapOvr>
    <a:masterClrMapping/>
  </p:clrMapOvr>
  <p:transition>
    <p:fade/>
  </p:transition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863421903"/>
      </p:ext>
    </p:extLst>
  </p:cSld>
  <p:clrMapOvr>
    <a:masterClrMapping/>
  </p:clrMapOvr>
  <p:transition>
    <p:fade/>
  </p:transition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388422997"/>
      </p:ext>
    </p:extLst>
  </p:cSld>
  <p:clrMapOvr>
    <a:masterClrMapping/>
  </p:clrMapOvr>
  <p:transition>
    <p:fade/>
  </p:transition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903425009"/>
      </p:ext>
    </p:extLst>
  </p:cSld>
  <p:clrMapOvr>
    <a:masterClrMapping/>
  </p:clrMapOvr>
  <p:transition>
    <p:fade/>
  </p:transition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4481513"/>
            <a:ext cx="9906000" cy="238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284540"/>
            <a:ext cx="8420100" cy="549275"/>
          </a:xfrm>
          <a:ln/>
        </p:spPr>
        <p:txBody>
          <a:bodyPr anchor="b"/>
          <a:lstStyle>
            <a:lvl1pPr>
              <a:defRPr sz="2800"/>
            </a:lvl1pPr>
          </a:lstStyle>
          <a:p>
            <a:r>
              <a:rPr lang="en-US" altLang="ko-KR"/>
              <a:t>Click to add title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9" y="4540250"/>
            <a:ext cx="8421687" cy="1447800"/>
          </a:xfrm>
          <a:ln/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altLang="ko-KR"/>
              <a:t>Click to add subtitle</a:t>
            </a:r>
          </a:p>
          <a:p>
            <a:endParaRPr lang="en-US" altLang="ko-KR"/>
          </a:p>
        </p:txBody>
      </p:sp>
    </p:spTree>
  </p:cSld>
  <p:clrMapOvr>
    <a:masterClrMapping/>
  </p:clrMapOvr>
  <p:transition>
    <p:fade/>
  </p:transition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3C4FAC-040E-4A7C-AE05-F953CB431D28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55EB97-4667-43C4-9C4B-D3D38D6552E0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2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2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BA9784-E802-4958-91AE-A202796F58D0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A8D8A8-0FAB-4C51-8AE4-D461414FE956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AF7CF75A-2AC7-4DF6-95C2-896EC1D25CC4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264033400"/>
      </p:ext>
    </p:extLst>
  </p:cSld>
  <p:clrMapOvr>
    <a:masterClrMapping/>
  </p:clrMapOvr>
  <p:transition>
    <p:fade/>
  </p:transition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AC31B5-E92B-4184-870A-10B912C3FC04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0C22B6-D75C-476B-8F1C-6252B8333CCD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093EFC-F189-4072-96F4-C897E47B150D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48BE69-3570-45D9-932A-82CE6AFE2F07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21F7B8-1574-453A-8CBA-F93C97F0F211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4" y="114302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1" y="114302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967A10-7AD4-43AA-B54C-21B32F861940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:p14="http://schemas.microsoft.com/office/powerpoint/2010/main" xmlns="" val="3853743894"/>
      </p:ext>
    </p:extLst>
  </p:cSld>
  <p:clrMapOvr>
    <a:masterClrMapping/>
  </p:clrMapOvr>
  <p:transition>
    <p:fade/>
  </p:transition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4020294979"/>
      </p:ext>
    </p:extLst>
  </p:cSld>
  <p:clrMapOvr>
    <a:masterClrMapping/>
  </p:clrMapOvr>
  <p:transition>
    <p:fade/>
  </p:transition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507998975"/>
      </p:ext>
    </p:extLst>
  </p:cSld>
  <p:clrMapOvr>
    <a:masterClrMapping/>
  </p:clrMapOvr>
  <p:transition>
    <p:fade/>
  </p:transition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6885209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EF534A50-EC8B-4CE2-A474-CC5841B75488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1652234189"/>
      </p:ext>
    </p:extLst>
  </p:cSld>
  <p:clrMapOvr>
    <a:masterClrMapping/>
  </p:clrMapOvr>
  <p:transition>
    <p:fade/>
  </p:transition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613263950"/>
      </p:ext>
    </p:extLst>
  </p:cSld>
  <p:clrMapOvr>
    <a:masterClrMapping/>
  </p:clrMapOvr>
  <p:transition>
    <p:fade/>
  </p:transition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4001477303"/>
      </p:ext>
    </p:extLst>
  </p:cSld>
  <p:clrMapOvr>
    <a:masterClrMapping/>
  </p:clrMapOvr>
  <p:transition>
    <p:fade/>
  </p:transition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066111406"/>
      </p:ext>
    </p:extLst>
  </p:cSld>
  <p:clrMapOvr>
    <a:masterClrMapping/>
  </p:clrMapOvr>
  <p:transition>
    <p:fade/>
  </p:transition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142363890"/>
      </p:ext>
    </p:extLst>
  </p:cSld>
  <p:clrMapOvr>
    <a:masterClrMapping/>
  </p:clrMapOvr>
  <p:transition>
    <p:fade/>
  </p:transition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3373983798"/>
      </p:ext>
    </p:extLst>
  </p:cSld>
  <p:clrMapOvr>
    <a:masterClrMapping/>
  </p:clrMapOvr>
  <p:transition>
    <p:fade/>
  </p:transition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3701101660"/>
      </p:ext>
    </p:extLst>
  </p:cSld>
  <p:clrMapOvr>
    <a:masterClrMapping/>
  </p:clrMapOvr>
  <p:transition>
    <p:fade/>
  </p:transition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863421903"/>
      </p:ext>
    </p:extLst>
  </p:cSld>
  <p:clrMapOvr>
    <a:masterClrMapping/>
  </p:clrMapOvr>
  <p:transition>
    <p:fade/>
  </p:transition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388422997"/>
      </p:ext>
    </p:extLst>
  </p:cSld>
  <p:clrMapOvr>
    <a:masterClrMapping/>
  </p:clrMapOvr>
  <p:transition>
    <p:fade/>
  </p:transition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903425009"/>
      </p:ext>
    </p:extLst>
  </p:cSld>
  <p:clrMapOvr>
    <a:masterClrMapping/>
  </p:clrMapOvr>
  <p:transition>
    <p:fade/>
  </p:transition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:p14="http://schemas.microsoft.com/office/powerpoint/2010/main" xmlns="" val="313340697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5" y="114303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3" y="114303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0ABAFDF9-0DBF-4E0C-B87A-23F6F8E907F4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4191456617"/>
      </p:ext>
    </p:extLst>
  </p:cSld>
  <p:clrMapOvr>
    <a:masterClrMapping/>
  </p:clrMapOvr>
  <p:transition>
    <p:fade/>
  </p:transition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2018303148"/>
      </p:ext>
    </p:extLst>
  </p:cSld>
  <p:clrMapOvr>
    <a:masterClrMapping/>
  </p:clrMapOvr>
  <p:transition>
    <p:fade/>
  </p:transition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571918439"/>
      </p:ext>
    </p:extLst>
  </p:cSld>
  <p:clrMapOvr>
    <a:masterClrMapping/>
  </p:clrMapOvr>
  <p:transition>
    <p:fade/>
  </p:transition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184488654"/>
      </p:ext>
    </p:extLst>
  </p:cSld>
  <p:clrMapOvr>
    <a:masterClrMapping/>
  </p:clrMapOvr>
  <p:transition>
    <p:fade/>
  </p:transition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448483297"/>
      </p:ext>
    </p:extLst>
  </p:cSld>
  <p:clrMapOvr>
    <a:masterClrMapping/>
  </p:clrMapOvr>
  <p:transition>
    <p:fade/>
  </p:transition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468935398"/>
      </p:ext>
    </p:extLst>
  </p:cSld>
  <p:clrMapOvr>
    <a:masterClrMapping/>
  </p:clrMapOvr>
  <p:transition>
    <p:fade/>
  </p:transition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4021780913"/>
      </p:ext>
    </p:extLst>
  </p:cSld>
  <p:clrMapOvr>
    <a:masterClrMapping/>
  </p:clrMapOvr>
  <p:transition>
    <p:fade/>
  </p:transition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778029270"/>
      </p:ext>
    </p:extLst>
  </p:cSld>
  <p:clrMapOvr>
    <a:masterClrMapping/>
  </p:clrMapOvr>
  <p:transition>
    <p:fade/>
  </p:transition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06827367"/>
      </p:ext>
    </p:extLst>
  </p:cSld>
  <p:clrMapOvr>
    <a:masterClrMapping/>
  </p:clrMapOvr>
  <p:transition>
    <p:fade/>
  </p:transition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2332078551"/>
      </p:ext>
    </p:extLst>
  </p:cSld>
  <p:clrMapOvr>
    <a:masterClrMapping/>
  </p:clrMapOvr>
  <p:transition>
    <p:fade/>
  </p:transition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109532469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제목, 텍스트 및 차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2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3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차트 개체 틀 3"/>
          <p:cNvSpPr>
            <a:spLocks noGrp="1"/>
          </p:cNvSpPr>
          <p:nvPr>
            <p:ph type="chart" sz="half" idx="2"/>
          </p:nvPr>
        </p:nvSpPr>
        <p:spPr>
          <a:xfrm>
            <a:off x="5016500" y="628653"/>
            <a:ext cx="4592638" cy="536575"/>
          </a:xfrm>
        </p:spPr>
        <p:txBody>
          <a:bodyPr/>
          <a:lstStyle/>
          <a:p>
            <a:pPr lvl="0"/>
            <a:endParaRPr lang="ko-KR" altLang="en-US" noProof="0" dirty="0" smtClean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E33A129D-65EE-4C79-9469-18298731953B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2758519158"/>
      </p:ext>
    </p:extLst>
  </p:cSld>
  <p:clrMapOvr>
    <a:masterClrMapping/>
  </p:clrMapOvr>
  <p:transition>
    <p:fade/>
  </p:transition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814283116"/>
      </p:ext>
    </p:extLst>
  </p:cSld>
  <p:clrMapOvr>
    <a:masterClrMapping/>
  </p:clrMapOvr>
  <p:transition>
    <p:fade/>
  </p:transition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917792020"/>
      </p:ext>
    </p:extLst>
  </p:cSld>
  <p:clrMapOvr>
    <a:masterClrMapping/>
  </p:clrMapOvr>
  <p:transition>
    <p:fade/>
  </p:transition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:p14="http://schemas.microsoft.com/office/powerpoint/2010/main" xmlns="" val="3853743894"/>
      </p:ext>
    </p:extLst>
  </p:cSld>
  <p:clrMapOvr>
    <a:masterClrMapping/>
  </p:clrMapOvr>
  <p:transition>
    <p:fade/>
  </p:transition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4020294979"/>
      </p:ext>
    </p:extLst>
  </p:cSld>
  <p:clrMapOvr>
    <a:masterClrMapping/>
  </p:clrMapOvr>
  <p:transition>
    <p:fade/>
  </p:transition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507998975"/>
      </p:ext>
    </p:extLst>
  </p:cSld>
  <p:clrMapOvr>
    <a:masterClrMapping/>
  </p:clrMapOvr>
  <p:transition>
    <p:fade/>
  </p:transition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6885209"/>
      </p:ext>
    </p:extLst>
  </p:cSld>
  <p:clrMapOvr>
    <a:masterClrMapping/>
  </p:clrMapOvr>
  <p:transition>
    <p:fade/>
  </p:transition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613263950"/>
      </p:ext>
    </p:extLst>
  </p:cSld>
  <p:clrMapOvr>
    <a:masterClrMapping/>
  </p:clrMapOvr>
  <p:transition>
    <p:fade/>
  </p:transition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4001477303"/>
      </p:ext>
    </p:extLst>
  </p:cSld>
  <p:clrMapOvr>
    <a:masterClrMapping/>
  </p:clrMapOvr>
  <p:transition>
    <p:fade/>
  </p:transition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066111406"/>
      </p:ext>
    </p:extLst>
  </p:cSld>
  <p:clrMapOvr>
    <a:masterClrMapping/>
  </p:clrMapOvr>
  <p:transition>
    <p:fade/>
  </p:transition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142363890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2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3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3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u="sng">
                <a:latin typeface="Calibri" pitchFamily="34" charset="0"/>
                <a:ea typeface="맑은 고딕" pitchFamily="50" charset="-127"/>
              </a:defRPr>
            </a:lvl1pPr>
          </a:lstStyle>
          <a:p>
            <a:pPr>
              <a:defRPr/>
            </a:pPr>
            <a:fld id="{9EC1A749-D8EC-481F-BE43-8D31F65AEB73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xmlns="" val="1002458351"/>
      </p:ext>
    </p:extLst>
  </p:cSld>
  <p:clrMapOvr>
    <a:masterClrMapping/>
  </p:clrMapOvr>
  <p:transition>
    <p:fade/>
  </p:transition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3373983798"/>
      </p:ext>
    </p:extLst>
  </p:cSld>
  <p:clrMapOvr>
    <a:masterClrMapping/>
  </p:clrMapOvr>
  <p:transition>
    <p:fade/>
  </p:transition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3701101660"/>
      </p:ext>
    </p:extLst>
  </p:cSld>
  <p:clrMapOvr>
    <a:masterClrMapping/>
  </p:clrMapOvr>
  <p:transition>
    <p:fade/>
  </p:transition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863421903"/>
      </p:ext>
    </p:extLst>
  </p:cSld>
  <p:clrMapOvr>
    <a:masterClrMapping/>
  </p:clrMapOvr>
  <p:transition>
    <p:fade/>
  </p:transition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388422997"/>
      </p:ext>
    </p:extLst>
  </p:cSld>
  <p:clrMapOvr>
    <a:masterClrMapping/>
  </p:clrMapOvr>
  <p:transition>
    <p:fade/>
  </p:transition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903425009"/>
      </p:ext>
    </p:extLst>
  </p:cSld>
  <p:clrMapOvr>
    <a:masterClrMapping/>
  </p:clrMapOvr>
  <p:transition>
    <p:fade/>
  </p:transition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:p14="http://schemas.microsoft.com/office/powerpoint/2010/main" xmlns="" val="2934081456"/>
      </p:ext>
    </p:extLst>
  </p:cSld>
  <p:clrMapOvr>
    <a:masterClrMapping/>
  </p:clrMapOvr>
  <p:transition>
    <p:fade/>
  </p:transition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2771520748"/>
      </p:ext>
    </p:extLst>
  </p:cSld>
  <p:clrMapOvr>
    <a:masterClrMapping/>
  </p:clrMapOvr>
  <p:transition>
    <p:fade/>
  </p:transition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3415792058"/>
      </p:ext>
    </p:extLst>
  </p:cSld>
  <p:clrMapOvr>
    <a:masterClrMapping/>
  </p:clrMapOvr>
  <p:transition>
    <p:fade/>
  </p:transition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073637202"/>
      </p:ext>
    </p:extLst>
  </p:cSld>
  <p:clrMapOvr>
    <a:masterClrMapping/>
  </p:clrMapOvr>
  <p:transition>
    <p:fade/>
  </p:transition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40377614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4267376799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8"/>
            <a:ext cx="8420100" cy="1470025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 lIns="95746" tIns="47874" rIns="95746" bIns="47874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  <a:lvl2pPr marL="4787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7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6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4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3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24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1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29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dirty="0" smtClean="0"/>
              <a:t>마스터 부제목 스타일 편집</a:t>
            </a:r>
            <a:endParaRPr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fld id="{06075473-5C34-4A1E-832C-7E7F5D68E68C}" type="datetime1">
              <a:rPr lang="ko-KR" altLang="en-US"/>
              <a:pPr>
                <a:defRPr/>
              </a:pPr>
              <a:t>2015-03-04</a:t>
            </a:fld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fld id="{07BEA510-D45B-41BC-9048-7304278E79D9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3254042038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68360561"/>
      </p:ext>
    </p:extLst>
  </p:cSld>
  <p:clrMapOvr>
    <a:masterClrMapping/>
  </p:clrMapOvr>
  <p:transition>
    <p:fade/>
  </p:transition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889343645"/>
      </p:ext>
    </p:extLst>
  </p:cSld>
  <p:clrMapOvr>
    <a:masterClrMapping/>
  </p:clrMapOvr>
  <p:transition>
    <p:fade/>
  </p:transition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575094712"/>
      </p:ext>
    </p:extLst>
  </p:cSld>
  <p:clrMapOvr>
    <a:masterClrMapping/>
  </p:clrMapOvr>
  <p:transition>
    <p:fade/>
  </p:transition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3435577328"/>
      </p:ext>
    </p:extLst>
  </p:cSld>
  <p:clrMapOvr>
    <a:masterClrMapping/>
  </p:clrMapOvr>
  <p:transition>
    <p:fade/>
  </p:transition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3762281374"/>
      </p:ext>
    </p:extLst>
  </p:cSld>
  <p:clrMapOvr>
    <a:masterClrMapping/>
  </p:clrMapOvr>
  <p:transition>
    <p:fade/>
  </p:transition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433088977"/>
      </p:ext>
    </p:extLst>
  </p:cSld>
  <p:clrMapOvr>
    <a:masterClrMapping/>
  </p:clrMapOvr>
  <p:transition>
    <p:fade/>
  </p:transition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166638701"/>
      </p:ext>
    </p:extLst>
  </p:cSld>
  <p:clrMapOvr>
    <a:masterClrMapping/>
  </p:clrMapOvr>
  <p:transition>
    <p:fade/>
  </p:transition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445885267"/>
      </p:ext>
    </p:extLst>
  </p:cSld>
  <p:clrMapOvr>
    <a:masterClrMapping/>
  </p:clrMapOvr>
  <p:transition>
    <p:fade/>
  </p:transition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:p14="http://schemas.microsoft.com/office/powerpoint/2010/main" xmlns="" val="3853743894"/>
      </p:ext>
    </p:extLst>
  </p:cSld>
  <p:clrMapOvr>
    <a:masterClrMapping/>
  </p:clrMapOvr>
  <p:transition>
    <p:fade/>
  </p:transition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4020294979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  <a:lvl2pPr>
              <a:defRPr>
                <a:latin typeface="나눔고딕" pitchFamily="50" charset="-127"/>
                <a:ea typeface="나눔고딕" pitchFamily="50" charset="-127"/>
              </a:defRPr>
            </a:lvl2pPr>
            <a:lvl3pPr>
              <a:defRPr>
                <a:latin typeface="나눔고딕" pitchFamily="50" charset="-127"/>
                <a:ea typeface="나눔고딕" pitchFamily="50" charset="-127"/>
              </a:defRPr>
            </a:lvl3pPr>
            <a:lvl4pPr>
              <a:defRPr>
                <a:latin typeface="나눔고딕" pitchFamily="50" charset="-127"/>
                <a:ea typeface="나눔고딕" pitchFamily="50" charset="-127"/>
              </a:defRPr>
            </a:lvl4pPr>
            <a:lvl5pPr>
              <a:defRPr>
                <a:latin typeface="나눔고딕" pitchFamily="50" charset="-127"/>
                <a:ea typeface="나눔고딕" pitchFamily="50" charset="-127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fld id="{57A54894-2EDF-4974-9316-88361125C103}" type="datetime1">
              <a:rPr lang="ko-KR" altLang="en-US"/>
              <a:pPr>
                <a:defRPr/>
              </a:pPr>
              <a:t>2015-03-04</a:t>
            </a:fld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fld id="{CD6D6B2F-E5EF-41F7-925F-BD77EF3D77E9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3353741719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507998975"/>
      </p:ext>
    </p:extLst>
  </p:cSld>
  <p:clrMapOvr>
    <a:masterClrMapping/>
  </p:clrMapOvr>
  <p:transition>
    <p:fade/>
  </p:transition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6885209"/>
      </p:ext>
    </p:extLst>
  </p:cSld>
  <p:clrMapOvr>
    <a:masterClrMapping/>
  </p:clrMapOvr>
  <p:transition>
    <p:fade/>
  </p:transition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613263950"/>
      </p:ext>
    </p:extLst>
  </p:cSld>
  <p:clrMapOvr>
    <a:masterClrMapping/>
  </p:clrMapOvr>
  <p:transition>
    <p:fade/>
  </p:transition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4001477303"/>
      </p:ext>
    </p:extLst>
  </p:cSld>
  <p:clrMapOvr>
    <a:masterClrMapping/>
  </p:clrMapOvr>
  <p:transition>
    <p:fade/>
  </p:transition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066111406"/>
      </p:ext>
    </p:extLst>
  </p:cSld>
  <p:clrMapOvr>
    <a:masterClrMapping/>
  </p:clrMapOvr>
  <p:transition>
    <p:fade/>
  </p:transition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142363890"/>
      </p:ext>
    </p:extLst>
  </p:cSld>
  <p:clrMapOvr>
    <a:masterClrMapping/>
  </p:clrMapOvr>
  <p:transition>
    <p:fade/>
  </p:transition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3373983798"/>
      </p:ext>
    </p:extLst>
  </p:cSld>
  <p:clrMapOvr>
    <a:masterClrMapping/>
  </p:clrMapOvr>
  <p:transition>
    <p:fade/>
  </p:transition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3701101660"/>
      </p:ext>
    </p:extLst>
  </p:cSld>
  <p:clrMapOvr>
    <a:masterClrMapping/>
  </p:clrMapOvr>
  <p:transition>
    <p:fade/>
  </p:transition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863421903"/>
      </p:ext>
    </p:extLst>
  </p:cSld>
  <p:clrMapOvr>
    <a:masterClrMapping/>
  </p:clrMapOvr>
  <p:transition>
    <p:fade/>
  </p:transition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388422997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506" y="4406903"/>
            <a:ext cx="8420100" cy="1362075"/>
          </a:xfrm>
          <a:prstGeom prst="rect">
            <a:avLst/>
          </a:prstGeom>
        </p:spPr>
        <p:txBody>
          <a:bodyPr lIns="95746" tIns="47874" rIns="95746" bIns="47874" anchor="t"/>
          <a:lstStyle>
            <a:lvl1pPr algn="l">
              <a:defRPr sz="4200" b="1" cap="all"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506" y="2906714"/>
            <a:ext cx="8420100" cy="1500187"/>
          </a:xfrm>
          <a:prstGeom prst="rect">
            <a:avLst/>
          </a:prstGeom>
        </p:spPr>
        <p:txBody>
          <a:bodyPr lIns="95746" tIns="47874" rIns="95746" bIns="47874" anchor="b"/>
          <a:lstStyle>
            <a:lvl1pPr marL="0" indent="0">
              <a:buNone/>
              <a:defRPr sz="2100"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  <a:lvl2pPr marL="47873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9574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43620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91494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39367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87241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35114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82988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fld id="{F5EEAEB6-B0CE-4A85-A217-B0B7FC22BFFF}" type="datetime1">
              <a:rPr lang="ko-KR" altLang="en-US"/>
              <a:pPr>
                <a:defRPr/>
              </a:pPr>
              <a:t>2015-03-04</a:t>
            </a:fld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fld id="{510E74DE-6CEB-4631-90E1-18ACD398A500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726618762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903425009"/>
      </p:ext>
    </p:extLst>
  </p:cSld>
  <p:clrMapOvr>
    <a:masterClrMapping/>
  </p:clrMapOvr>
  <p:transition>
    <p:fade/>
  </p:transition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="" xmlns:p14="http://schemas.microsoft.com/office/powerpoint/2010/main" val="2934081456"/>
      </p:ext>
    </p:extLst>
  </p:cSld>
  <p:clrMapOvr>
    <a:masterClrMapping/>
  </p:clrMapOvr>
  <p:transition>
    <p:fade/>
  </p:transition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="" xmlns:p14="http://schemas.microsoft.com/office/powerpoint/2010/main" val="2771520748"/>
      </p:ext>
    </p:extLst>
  </p:cSld>
  <p:clrMapOvr>
    <a:masterClrMapping/>
  </p:clrMapOvr>
  <p:transition>
    <p:fade/>
  </p:transition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="" xmlns:p14="http://schemas.microsoft.com/office/powerpoint/2010/main" val="3415792058"/>
      </p:ext>
    </p:extLst>
  </p:cSld>
  <p:clrMapOvr>
    <a:masterClrMapping/>
  </p:clrMapOvr>
  <p:transition>
    <p:fade/>
  </p:transition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3073637202"/>
      </p:ext>
    </p:extLst>
  </p:cSld>
  <p:clrMapOvr>
    <a:masterClrMapping/>
  </p:clrMapOvr>
  <p:transition>
    <p:fade/>
  </p:transition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1403776145"/>
      </p:ext>
    </p:extLst>
  </p:cSld>
  <p:clrMapOvr>
    <a:masterClrMapping/>
  </p:clrMapOvr>
  <p:transition>
    <p:fade/>
  </p:transition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168360561"/>
      </p:ext>
    </p:extLst>
  </p:cSld>
  <p:clrMapOvr>
    <a:masterClrMapping/>
  </p:clrMapOvr>
  <p:transition>
    <p:fade/>
  </p:transition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3889343645"/>
      </p:ext>
    </p:extLst>
  </p:cSld>
  <p:clrMapOvr>
    <a:masterClrMapping/>
  </p:clrMapOvr>
  <p:transition>
    <p:fade/>
  </p:transition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="" xmlns:p14="http://schemas.microsoft.com/office/powerpoint/2010/main" val="1575094712"/>
      </p:ext>
    </p:extLst>
  </p:cSld>
  <p:clrMapOvr>
    <a:masterClrMapping/>
  </p:clrMapOvr>
  <p:transition>
    <p:fade/>
  </p:transition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="" xmlns:p14="http://schemas.microsoft.com/office/powerpoint/2010/main" val="3435577328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 sz="2900">
                <a:latin typeface="나눔고딕" pitchFamily="50" charset="-127"/>
                <a:ea typeface="나눔고딕" pitchFamily="50" charset="-127"/>
              </a:defRPr>
            </a:lvl1pPr>
            <a:lvl2pPr>
              <a:defRPr sz="2500">
                <a:latin typeface="나눔고딕" pitchFamily="50" charset="-127"/>
                <a:ea typeface="나눔고딕" pitchFamily="50" charset="-127"/>
              </a:defRPr>
            </a:lvl2pPr>
            <a:lvl3pPr>
              <a:defRPr sz="2100">
                <a:latin typeface="나눔고딕" pitchFamily="50" charset="-127"/>
                <a:ea typeface="나눔고딕" pitchFamily="50" charset="-127"/>
              </a:defRPr>
            </a:lvl3pPr>
            <a:lvl4pPr>
              <a:defRPr sz="1900">
                <a:latin typeface="나눔고딕" pitchFamily="50" charset="-127"/>
                <a:ea typeface="나눔고딕" pitchFamily="50" charset="-127"/>
              </a:defRPr>
            </a:lvl4pPr>
            <a:lvl5pPr>
              <a:defRPr sz="1900">
                <a:latin typeface="나눔고딕" pitchFamily="50" charset="-127"/>
                <a:ea typeface="나눔고딕" pitchFamily="50" charset="-127"/>
              </a:defRPr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 sz="2900">
                <a:latin typeface="나눔고딕" pitchFamily="50" charset="-127"/>
                <a:ea typeface="나눔고딕" pitchFamily="50" charset="-127"/>
              </a:defRPr>
            </a:lvl1pPr>
            <a:lvl2pPr>
              <a:defRPr sz="2500">
                <a:latin typeface="나눔고딕" pitchFamily="50" charset="-127"/>
                <a:ea typeface="나눔고딕" pitchFamily="50" charset="-127"/>
              </a:defRPr>
            </a:lvl2pPr>
            <a:lvl3pPr>
              <a:defRPr sz="2100">
                <a:latin typeface="나눔고딕" pitchFamily="50" charset="-127"/>
                <a:ea typeface="나눔고딕" pitchFamily="50" charset="-127"/>
              </a:defRPr>
            </a:lvl3pPr>
            <a:lvl4pPr>
              <a:defRPr sz="1900">
                <a:latin typeface="나눔고딕" pitchFamily="50" charset="-127"/>
                <a:ea typeface="나눔고딕" pitchFamily="50" charset="-127"/>
              </a:defRPr>
            </a:lvl4pPr>
            <a:lvl5pPr>
              <a:defRPr sz="1900">
                <a:latin typeface="나눔고딕" pitchFamily="50" charset="-127"/>
                <a:ea typeface="나눔고딕" pitchFamily="50" charset="-127"/>
              </a:defRPr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fld id="{3F26EC30-25DD-4470-B84B-1EDB8C5D268A}" type="datetime1">
              <a:rPr lang="ko-KR" altLang="en-US"/>
              <a:pPr>
                <a:defRPr/>
              </a:pPr>
              <a:t>2015-03-04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fld id="{B6224464-DB6F-4CD6-AF58-CF22CC4FC033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1875087110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="" xmlns:p14="http://schemas.microsoft.com/office/powerpoint/2010/main" val="3762281374"/>
      </p:ext>
    </p:extLst>
  </p:cSld>
  <p:clrMapOvr>
    <a:masterClrMapping/>
  </p:clrMapOvr>
  <p:transition>
    <p:fade/>
  </p:transition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2433088977"/>
      </p:ext>
    </p:extLst>
  </p:cSld>
  <p:clrMapOvr>
    <a:masterClrMapping/>
  </p:clrMapOvr>
  <p:transition>
    <p:fade/>
  </p:transition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3166638701"/>
      </p:ext>
    </p:extLst>
  </p:cSld>
  <p:clrMapOvr>
    <a:masterClrMapping/>
  </p:clrMapOvr>
  <p:transition>
    <p:fade/>
  </p:transition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3445885267"/>
      </p:ext>
    </p:extLst>
  </p:cSld>
  <p:clrMapOvr>
    <a:masterClrMapping/>
  </p:clrMapOvr>
  <p:transition>
    <p:fade/>
  </p:transition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="" xmlns:p14="http://schemas.microsoft.com/office/powerpoint/2010/main" val="3853743894"/>
      </p:ext>
    </p:extLst>
  </p:cSld>
  <p:clrMapOvr>
    <a:masterClrMapping/>
  </p:clrMapOvr>
  <p:transition>
    <p:fade/>
  </p:transition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="" xmlns:p14="http://schemas.microsoft.com/office/powerpoint/2010/main" val="4020294979"/>
      </p:ext>
    </p:extLst>
  </p:cSld>
  <p:clrMapOvr>
    <a:masterClrMapping/>
  </p:clrMapOvr>
  <p:transition>
    <p:fade/>
  </p:transition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="" xmlns:p14="http://schemas.microsoft.com/office/powerpoint/2010/main" val="507998975"/>
      </p:ext>
    </p:extLst>
  </p:cSld>
  <p:clrMapOvr>
    <a:masterClrMapping/>
  </p:clrMapOvr>
  <p:transition>
    <p:fade/>
  </p:transition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16885209"/>
      </p:ext>
    </p:extLst>
  </p:cSld>
  <p:clrMapOvr>
    <a:masterClrMapping/>
  </p:clrMapOvr>
  <p:transition>
    <p:fade/>
  </p:transition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613263950"/>
      </p:ext>
    </p:extLst>
  </p:cSld>
  <p:clrMapOvr>
    <a:masterClrMapping/>
  </p:clrMapOvr>
  <p:transition>
    <p:fade/>
  </p:transition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4001477303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  <a:prstGeom prst="rect">
            <a:avLst/>
          </a:prstGeom>
        </p:spPr>
        <p:txBody>
          <a:bodyPr lIns="95746" tIns="47874" rIns="95746" bIns="47874" anchor="b"/>
          <a:lstStyle>
            <a:lvl1pPr marL="0" indent="0">
              <a:buNone/>
              <a:defRPr sz="2500" b="1">
                <a:latin typeface="나눔고딕" pitchFamily="50" charset="-127"/>
                <a:ea typeface="나눔고딕" pitchFamily="50" charset="-127"/>
              </a:defRPr>
            </a:lvl1pPr>
            <a:lvl2pPr marL="478736" indent="0">
              <a:buNone/>
              <a:defRPr sz="2100" b="1"/>
            </a:lvl2pPr>
            <a:lvl3pPr marL="957472" indent="0">
              <a:buNone/>
              <a:defRPr sz="1900" b="1"/>
            </a:lvl3pPr>
            <a:lvl4pPr marL="1436206" indent="0">
              <a:buNone/>
              <a:defRPr sz="1600" b="1"/>
            </a:lvl4pPr>
            <a:lvl5pPr marL="1914941" indent="0">
              <a:buNone/>
              <a:defRPr sz="1600" b="1"/>
            </a:lvl5pPr>
            <a:lvl6pPr marL="2393675" indent="0">
              <a:buNone/>
              <a:defRPr sz="1600" b="1"/>
            </a:lvl6pPr>
            <a:lvl7pPr marL="2872411" indent="0">
              <a:buNone/>
              <a:defRPr sz="1600" b="1"/>
            </a:lvl7pPr>
            <a:lvl8pPr marL="3351146" indent="0">
              <a:buNone/>
              <a:defRPr sz="1600" b="1"/>
            </a:lvl8pPr>
            <a:lvl9pPr marL="3829881" indent="0">
              <a:buNone/>
              <a:defRPr sz="1600" b="1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 sz="2500">
                <a:latin typeface="나눔고딕" pitchFamily="50" charset="-127"/>
                <a:ea typeface="나눔고딕" pitchFamily="50" charset="-127"/>
              </a:defRPr>
            </a:lvl1pPr>
            <a:lvl2pPr>
              <a:defRPr sz="2100">
                <a:latin typeface="나눔고딕" pitchFamily="50" charset="-127"/>
                <a:ea typeface="나눔고딕" pitchFamily="50" charset="-127"/>
              </a:defRPr>
            </a:lvl2pPr>
            <a:lvl3pPr>
              <a:defRPr sz="1900">
                <a:latin typeface="나눔고딕" pitchFamily="50" charset="-127"/>
                <a:ea typeface="나눔고딕" pitchFamily="50" charset="-127"/>
              </a:defRPr>
            </a:lvl3pPr>
            <a:lvl4pPr>
              <a:defRPr sz="1600">
                <a:latin typeface="나눔고딕" pitchFamily="50" charset="-127"/>
                <a:ea typeface="나눔고딕" pitchFamily="50" charset="-127"/>
              </a:defRPr>
            </a:lvl4pPr>
            <a:lvl5pPr>
              <a:defRPr sz="1600">
                <a:latin typeface="나눔고딕" pitchFamily="50" charset="-127"/>
                <a:ea typeface="나눔고딕" pitchFamily="50" charset="-127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  <a:prstGeom prst="rect">
            <a:avLst/>
          </a:prstGeom>
        </p:spPr>
        <p:txBody>
          <a:bodyPr lIns="95746" tIns="47874" rIns="95746" bIns="47874" anchor="b"/>
          <a:lstStyle>
            <a:lvl1pPr marL="0" indent="0">
              <a:buNone/>
              <a:defRPr sz="2500" b="1">
                <a:latin typeface="나눔고딕" pitchFamily="50" charset="-127"/>
                <a:ea typeface="나눔고딕" pitchFamily="50" charset="-127"/>
              </a:defRPr>
            </a:lvl1pPr>
            <a:lvl2pPr marL="478736" indent="0">
              <a:buNone/>
              <a:defRPr sz="2100" b="1"/>
            </a:lvl2pPr>
            <a:lvl3pPr marL="957472" indent="0">
              <a:buNone/>
              <a:defRPr sz="1900" b="1"/>
            </a:lvl3pPr>
            <a:lvl4pPr marL="1436206" indent="0">
              <a:buNone/>
              <a:defRPr sz="1600" b="1"/>
            </a:lvl4pPr>
            <a:lvl5pPr marL="1914941" indent="0">
              <a:buNone/>
              <a:defRPr sz="1600" b="1"/>
            </a:lvl5pPr>
            <a:lvl6pPr marL="2393675" indent="0">
              <a:buNone/>
              <a:defRPr sz="1600" b="1"/>
            </a:lvl6pPr>
            <a:lvl7pPr marL="2872411" indent="0">
              <a:buNone/>
              <a:defRPr sz="1600" b="1"/>
            </a:lvl7pPr>
            <a:lvl8pPr marL="3351146" indent="0">
              <a:buNone/>
              <a:defRPr sz="1600" b="1"/>
            </a:lvl8pPr>
            <a:lvl9pPr marL="3829881" indent="0">
              <a:buNone/>
              <a:defRPr sz="1600" b="1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 sz="2500">
                <a:latin typeface="나눔고딕" pitchFamily="50" charset="-127"/>
                <a:ea typeface="나눔고딕" pitchFamily="50" charset="-127"/>
              </a:defRPr>
            </a:lvl1pPr>
            <a:lvl2pPr>
              <a:defRPr sz="2100">
                <a:latin typeface="나눔고딕" pitchFamily="50" charset="-127"/>
                <a:ea typeface="나눔고딕" pitchFamily="50" charset="-127"/>
              </a:defRPr>
            </a:lvl2pPr>
            <a:lvl3pPr>
              <a:defRPr sz="1900">
                <a:latin typeface="나눔고딕" pitchFamily="50" charset="-127"/>
                <a:ea typeface="나눔고딕" pitchFamily="50" charset="-127"/>
              </a:defRPr>
            </a:lvl3pPr>
            <a:lvl4pPr>
              <a:defRPr sz="1600">
                <a:latin typeface="나눔고딕" pitchFamily="50" charset="-127"/>
                <a:ea typeface="나눔고딕" pitchFamily="50" charset="-127"/>
              </a:defRPr>
            </a:lvl4pPr>
            <a:lvl5pPr>
              <a:defRPr sz="1600">
                <a:latin typeface="나눔고딕" pitchFamily="50" charset="-127"/>
                <a:ea typeface="나눔고딕" pitchFamily="50" charset="-127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fld id="{00320CC3-330B-4395-989B-D158B96E4556}" type="datetime1">
              <a:rPr lang="ko-KR" altLang="en-US"/>
              <a:pPr>
                <a:defRPr/>
              </a:pPr>
              <a:t>2015-03-04</a:t>
            </a:fld>
            <a:endParaRPr lang="ko-KR" altLang="en-US" dirty="0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fld id="{20174597-53E9-48FA-8BF2-4B05AC78574C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572718140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3066111406"/>
      </p:ext>
    </p:extLst>
  </p:cSld>
  <p:clrMapOvr>
    <a:masterClrMapping/>
  </p:clrMapOvr>
  <p:transition>
    <p:fade/>
  </p:transition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="" xmlns:p14="http://schemas.microsoft.com/office/powerpoint/2010/main" val="1142363890"/>
      </p:ext>
    </p:extLst>
  </p:cSld>
  <p:clrMapOvr>
    <a:masterClrMapping/>
  </p:clrMapOvr>
  <p:transition>
    <p:fade/>
  </p:transition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="" xmlns:p14="http://schemas.microsoft.com/office/powerpoint/2010/main" val="3373983798"/>
      </p:ext>
    </p:extLst>
  </p:cSld>
  <p:clrMapOvr>
    <a:masterClrMapping/>
  </p:clrMapOvr>
  <p:transition>
    <p:fade/>
  </p:transition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="" xmlns:p14="http://schemas.microsoft.com/office/powerpoint/2010/main" val="3701101660"/>
      </p:ext>
    </p:extLst>
  </p:cSld>
  <p:clrMapOvr>
    <a:masterClrMapping/>
  </p:clrMapOvr>
  <p:transition>
    <p:fade/>
  </p:transition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3863421903"/>
      </p:ext>
    </p:extLst>
  </p:cSld>
  <p:clrMapOvr>
    <a:masterClrMapping/>
  </p:clrMapOvr>
  <p:transition>
    <p:fade/>
  </p:transition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2388422997"/>
      </p:ext>
    </p:extLst>
  </p:cSld>
  <p:clrMapOvr>
    <a:masterClrMapping/>
  </p:clrMapOvr>
  <p:transition>
    <p:fade/>
  </p:transition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903425009"/>
      </p:ext>
    </p:extLst>
  </p:cSld>
  <p:clrMapOvr>
    <a:masterClrMapping/>
  </p:clrMapOvr>
  <p:transition>
    <p:fade/>
  </p:transition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:p14="http://schemas.microsoft.com/office/powerpoint/2010/main" xmlns="" val="3853743894"/>
      </p:ext>
    </p:extLst>
  </p:cSld>
  <p:clrMapOvr>
    <a:masterClrMapping/>
  </p:clrMapOvr>
  <p:transition>
    <p:fade/>
  </p:transition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4020294979"/>
      </p:ext>
    </p:extLst>
  </p:cSld>
  <p:clrMapOvr>
    <a:masterClrMapping/>
  </p:clrMapOvr>
  <p:transition>
    <p:fade/>
  </p:transition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507998975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fld id="{CCB7143C-F054-4493-A06E-4550D07D03A7}" type="datetime1">
              <a:rPr lang="ko-KR" altLang="en-US"/>
              <a:pPr>
                <a:defRPr/>
              </a:pPr>
              <a:t>2015-03-04</a:t>
            </a:fld>
            <a:endParaRPr lang="ko-KR" altLang="en-US" dirty="0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fld id="{9B711836-4461-404F-AEF8-39048A7BA665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1078279653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6885209"/>
      </p:ext>
    </p:extLst>
  </p:cSld>
  <p:clrMapOvr>
    <a:masterClrMapping/>
  </p:clrMapOvr>
  <p:transition>
    <p:fade/>
  </p:transition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613263950"/>
      </p:ext>
    </p:extLst>
  </p:cSld>
  <p:clrMapOvr>
    <a:masterClrMapping/>
  </p:clrMapOvr>
  <p:transition>
    <p:fade/>
  </p:transition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4001477303"/>
      </p:ext>
    </p:extLst>
  </p:cSld>
  <p:clrMapOvr>
    <a:masterClrMapping/>
  </p:clrMapOvr>
  <p:transition>
    <p:fade/>
  </p:transition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066111406"/>
      </p:ext>
    </p:extLst>
  </p:cSld>
  <p:clrMapOvr>
    <a:masterClrMapping/>
  </p:clrMapOvr>
  <p:transition>
    <p:fade/>
  </p:transition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142363890"/>
      </p:ext>
    </p:extLst>
  </p:cSld>
  <p:clrMapOvr>
    <a:masterClrMapping/>
  </p:clrMapOvr>
  <p:transition>
    <p:fade/>
  </p:transition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3373983798"/>
      </p:ext>
    </p:extLst>
  </p:cSld>
  <p:clrMapOvr>
    <a:masterClrMapping/>
  </p:clrMapOvr>
  <p:transition>
    <p:fade/>
  </p:transition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3701101660"/>
      </p:ext>
    </p:extLst>
  </p:cSld>
  <p:clrMapOvr>
    <a:masterClrMapping/>
  </p:clrMapOvr>
  <p:transition>
    <p:fade/>
  </p:transition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863421903"/>
      </p:ext>
    </p:extLst>
  </p:cSld>
  <p:clrMapOvr>
    <a:masterClrMapping/>
  </p:clrMapOvr>
  <p:transition>
    <p:fade/>
  </p:transition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388422997"/>
      </p:ext>
    </p:extLst>
  </p:cSld>
  <p:clrMapOvr>
    <a:masterClrMapping/>
  </p:clrMapOvr>
  <p:transition>
    <p:fade/>
  </p:transition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903425009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fld id="{5F8D6D9B-2DAF-43E4-9717-02ED54AF0C14}" type="datetime1">
              <a:rPr lang="ko-KR" altLang="en-US"/>
              <a:pPr>
                <a:defRPr/>
              </a:pPr>
              <a:t>2015-03-04</a:t>
            </a:fld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fld id="{4E793241-1978-46E1-B30D-F73C58D83633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283059185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:p14="http://schemas.microsoft.com/office/powerpoint/2010/main" xmlns="" val="3853743894"/>
      </p:ext>
    </p:extLst>
  </p:cSld>
  <p:clrMapOvr>
    <a:masterClrMapping/>
  </p:clrMapOvr>
  <p:transition>
    <p:fade/>
  </p:transition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4020294979"/>
      </p:ext>
    </p:extLst>
  </p:cSld>
  <p:clrMapOvr>
    <a:masterClrMapping/>
  </p:clrMapOvr>
  <p:transition>
    <p:fade/>
  </p:transition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507998975"/>
      </p:ext>
    </p:extLst>
  </p:cSld>
  <p:clrMapOvr>
    <a:masterClrMapping/>
  </p:clrMapOvr>
  <p:transition>
    <p:fade/>
  </p:transition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6885209"/>
      </p:ext>
    </p:extLst>
  </p:cSld>
  <p:clrMapOvr>
    <a:masterClrMapping/>
  </p:clrMapOvr>
  <p:transition>
    <p:fade/>
  </p:transition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613263950"/>
      </p:ext>
    </p:extLst>
  </p:cSld>
  <p:clrMapOvr>
    <a:masterClrMapping/>
  </p:clrMapOvr>
  <p:transition>
    <p:fade/>
  </p:transition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4001477303"/>
      </p:ext>
    </p:extLst>
  </p:cSld>
  <p:clrMapOvr>
    <a:masterClrMapping/>
  </p:clrMapOvr>
  <p:transition>
    <p:fade/>
  </p:transition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066111406"/>
      </p:ext>
    </p:extLst>
  </p:cSld>
  <p:clrMapOvr>
    <a:masterClrMapping/>
  </p:clrMapOvr>
  <p:transition>
    <p:fade/>
  </p:transition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142363890"/>
      </p:ext>
    </p:extLst>
  </p:cSld>
  <p:clrMapOvr>
    <a:masterClrMapping/>
  </p:clrMapOvr>
  <p:transition>
    <p:fade/>
  </p:transition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3373983798"/>
      </p:ext>
    </p:extLst>
  </p:cSld>
  <p:clrMapOvr>
    <a:masterClrMapping/>
  </p:clrMapOvr>
  <p:transition>
    <p:fade/>
  </p:transition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3701101660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1" y="273050"/>
            <a:ext cx="3259006" cy="1162050"/>
          </a:xfrm>
          <a:prstGeom prst="rect">
            <a:avLst/>
          </a:prstGeom>
        </p:spPr>
        <p:txBody>
          <a:bodyPr lIns="95746" tIns="47874" rIns="95746" bIns="47874" anchor="b"/>
          <a:lstStyle>
            <a:lvl1pPr algn="l">
              <a:defRPr sz="2100" b="1"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2972" y="273051"/>
            <a:ext cx="5537729" cy="5853113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 sz="3400">
                <a:latin typeface="나눔고딕" pitchFamily="50" charset="-127"/>
                <a:ea typeface="나눔고딕" pitchFamily="50" charset="-127"/>
              </a:defRPr>
            </a:lvl1pPr>
            <a:lvl2pPr>
              <a:defRPr sz="2900">
                <a:latin typeface="나눔고딕" pitchFamily="50" charset="-127"/>
                <a:ea typeface="나눔고딕" pitchFamily="50" charset="-127"/>
              </a:defRPr>
            </a:lvl2pPr>
            <a:lvl3pPr>
              <a:defRPr sz="2500">
                <a:latin typeface="나눔고딕" pitchFamily="50" charset="-127"/>
                <a:ea typeface="나눔고딕" pitchFamily="50" charset="-127"/>
              </a:defRPr>
            </a:lvl3pPr>
            <a:lvl4pPr>
              <a:defRPr sz="2100">
                <a:latin typeface="나눔고딕" pitchFamily="50" charset="-127"/>
                <a:ea typeface="나눔고딕" pitchFamily="50" charset="-127"/>
              </a:defRPr>
            </a:lvl4pPr>
            <a:lvl5pPr>
              <a:defRPr sz="2100">
                <a:latin typeface="나눔고딕" pitchFamily="50" charset="-127"/>
                <a:ea typeface="나눔고딕" pitchFamily="50" charset="-127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1" y="1435101"/>
            <a:ext cx="3259006" cy="4691063"/>
          </a:xfrm>
          <a:prstGeom prst="rect">
            <a:avLst/>
          </a:prstGeom>
        </p:spPr>
        <p:txBody>
          <a:bodyPr lIns="95746" tIns="47874" rIns="95746" bIns="47874"/>
          <a:lstStyle>
            <a:lvl1pPr marL="0" indent="0">
              <a:buNone/>
              <a:defRPr sz="1500">
                <a:latin typeface="나눔고딕" pitchFamily="50" charset="-127"/>
                <a:ea typeface="나눔고딕" pitchFamily="50" charset="-127"/>
              </a:defRPr>
            </a:lvl1pPr>
            <a:lvl2pPr marL="478736" indent="0">
              <a:buNone/>
              <a:defRPr sz="1300"/>
            </a:lvl2pPr>
            <a:lvl3pPr marL="957472" indent="0">
              <a:buNone/>
              <a:defRPr sz="1000"/>
            </a:lvl3pPr>
            <a:lvl4pPr marL="1436206" indent="0">
              <a:buNone/>
              <a:defRPr sz="1000"/>
            </a:lvl4pPr>
            <a:lvl5pPr marL="1914941" indent="0">
              <a:buNone/>
              <a:defRPr sz="1000"/>
            </a:lvl5pPr>
            <a:lvl6pPr marL="2393675" indent="0">
              <a:buNone/>
              <a:defRPr sz="1000"/>
            </a:lvl6pPr>
            <a:lvl7pPr marL="2872411" indent="0">
              <a:buNone/>
              <a:defRPr sz="1000"/>
            </a:lvl7pPr>
            <a:lvl8pPr marL="3351146" indent="0">
              <a:buNone/>
              <a:defRPr sz="1000"/>
            </a:lvl8pPr>
            <a:lvl9pPr marL="3829881" indent="0">
              <a:buNone/>
              <a:defRPr sz="10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fld id="{29FB1732-50EA-4183-AF0A-7D1D2D88D556}" type="datetime1">
              <a:rPr lang="ko-KR" altLang="en-US"/>
              <a:pPr>
                <a:defRPr/>
              </a:pPr>
              <a:t>2015-03-04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fld id="{50C79DD0-0F3F-41C5-86E0-CE4370A10258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2600985405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863421903"/>
      </p:ext>
    </p:extLst>
  </p:cSld>
  <p:clrMapOvr>
    <a:masterClrMapping/>
  </p:clrMapOvr>
  <p:transition>
    <p:fade/>
  </p:transition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388422997"/>
      </p:ext>
    </p:extLst>
  </p:cSld>
  <p:clrMapOvr>
    <a:masterClrMapping/>
  </p:clrMapOvr>
  <p:transition>
    <p:fade/>
  </p:transition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903425009"/>
      </p:ext>
    </p:extLst>
  </p:cSld>
  <p:clrMapOvr>
    <a:masterClrMapping/>
  </p:clrMapOvr>
  <p:transition>
    <p:fade/>
  </p:transition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="" xmlns:p14="http://schemas.microsoft.com/office/powerpoint/2010/main" val="3853743894"/>
      </p:ext>
    </p:extLst>
  </p:cSld>
  <p:clrMapOvr>
    <a:masterClrMapping/>
  </p:clrMapOvr>
  <p:transition>
    <p:fade/>
  </p:transition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="" xmlns:p14="http://schemas.microsoft.com/office/powerpoint/2010/main" val="4020294979"/>
      </p:ext>
    </p:extLst>
  </p:cSld>
  <p:clrMapOvr>
    <a:masterClrMapping/>
  </p:clrMapOvr>
  <p:transition>
    <p:fade/>
  </p:transition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="" xmlns:p14="http://schemas.microsoft.com/office/powerpoint/2010/main" val="507998975"/>
      </p:ext>
    </p:extLst>
  </p:cSld>
  <p:clrMapOvr>
    <a:masterClrMapping/>
  </p:clrMapOvr>
  <p:transition>
    <p:fade/>
  </p:transition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16885209"/>
      </p:ext>
    </p:extLst>
  </p:cSld>
  <p:clrMapOvr>
    <a:masterClrMapping/>
  </p:clrMapOvr>
  <p:transition>
    <p:fade/>
  </p:transition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613263950"/>
      </p:ext>
    </p:extLst>
  </p:cSld>
  <p:clrMapOvr>
    <a:masterClrMapping/>
  </p:clrMapOvr>
  <p:transition>
    <p:fade/>
  </p:transition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4001477303"/>
      </p:ext>
    </p:extLst>
  </p:cSld>
  <p:clrMapOvr>
    <a:masterClrMapping/>
  </p:clrMapOvr>
  <p:transition>
    <p:fade/>
  </p:transition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3066111406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  <a:prstGeom prst="rect">
            <a:avLst/>
          </a:prstGeom>
        </p:spPr>
        <p:txBody>
          <a:bodyPr lIns="95746" tIns="47874" rIns="95746" bIns="47874" anchor="b"/>
          <a:lstStyle>
            <a:lvl1pPr algn="l">
              <a:defRPr sz="2100" b="1"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  <a:prstGeom prst="rect">
            <a:avLst/>
          </a:prstGeom>
        </p:spPr>
        <p:txBody>
          <a:bodyPr lIns="95746" tIns="47874" rIns="95746" bIns="47874"/>
          <a:lstStyle>
            <a:lvl1pPr marL="0" indent="0">
              <a:buNone/>
              <a:defRPr sz="3400">
                <a:latin typeface="나눔고딕" pitchFamily="50" charset="-127"/>
                <a:ea typeface="나눔고딕" pitchFamily="50" charset="-127"/>
              </a:defRPr>
            </a:lvl1pPr>
            <a:lvl2pPr marL="478736" indent="0">
              <a:buNone/>
              <a:defRPr sz="2900"/>
            </a:lvl2pPr>
            <a:lvl3pPr marL="957472" indent="0">
              <a:buNone/>
              <a:defRPr sz="2500"/>
            </a:lvl3pPr>
            <a:lvl4pPr marL="1436206" indent="0">
              <a:buNone/>
              <a:defRPr sz="2100"/>
            </a:lvl4pPr>
            <a:lvl5pPr marL="1914941" indent="0">
              <a:buNone/>
              <a:defRPr sz="2100"/>
            </a:lvl5pPr>
            <a:lvl6pPr marL="2393675" indent="0">
              <a:buNone/>
              <a:defRPr sz="2100"/>
            </a:lvl6pPr>
            <a:lvl7pPr marL="2872411" indent="0">
              <a:buNone/>
              <a:defRPr sz="2100"/>
            </a:lvl7pPr>
            <a:lvl8pPr marL="3351146" indent="0">
              <a:buNone/>
              <a:defRPr sz="2100"/>
            </a:lvl8pPr>
            <a:lvl9pPr marL="3829881" indent="0">
              <a:buNone/>
              <a:defRPr sz="2100"/>
            </a:lvl9pPr>
          </a:lstStyle>
          <a:p>
            <a:pPr lvl="0"/>
            <a:endParaRPr lang="ko-KR" altLang="en-US" noProof="0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  <a:prstGeom prst="rect">
            <a:avLst/>
          </a:prstGeom>
        </p:spPr>
        <p:txBody>
          <a:bodyPr lIns="95746" tIns="47874" rIns="95746" bIns="47874"/>
          <a:lstStyle>
            <a:lvl1pPr marL="0" indent="0">
              <a:buNone/>
              <a:defRPr sz="1500">
                <a:latin typeface="나눔고딕" pitchFamily="50" charset="-127"/>
                <a:ea typeface="나눔고딕" pitchFamily="50" charset="-127"/>
              </a:defRPr>
            </a:lvl1pPr>
            <a:lvl2pPr marL="478736" indent="0">
              <a:buNone/>
              <a:defRPr sz="1300"/>
            </a:lvl2pPr>
            <a:lvl3pPr marL="957472" indent="0">
              <a:buNone/>
              <a:defRPr sz="1000"/>
            </a:lvl3pPr>
            <a:lvl4pPr marL="1436206" indent="0">
              <a:buNone/>
              <a:defRPr sz="1000"/>
            </a:lvl4pPr>
            <a:lvl5pPr marL="1914941" indent="0">
              <a:buNone/>
              <a:defRPr sz="1000"/>
            </a:lvl5pPr>
            <a:lvl6pPr marL="2393675" indent="0">
              <a:buNone/>
              <a:defRPr sz="1000"/>
            </a:lvl6pPr>
            <a:lvl7pPr marL="2872411" indent="0">
              <a:buNone/>
              <a:defRPr sz="1000"/>
            </a:lvl7pPr>
            <a:lvl8pPr marL="3351146" indent="0">
              <a:buNone/>
              <a:defRPr sz="1000"/>
            </a:lvl8pPr>
            <a:lvl9pPr marL="3829881" indent="0">
              <a:buNone/>
              <a:defRPr sz="1000"/>
            </a:lvl9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fld id="{0CC77F0B-AE7D-4A14-AB7C-EEE644CC5DCA}" type="datetime1">
              <a:rPr lang="ko-KR" altLang="en-US"/>
              <a:pPr>
                <a:defRPr/>
              </a:pPr>
              <a:t>2015-03-04</a:t>
            </a:fld>
            <a:endParaRPr lang="ko-KR" altLang="en-US" dirty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fld id="{75629B03-FDBE-45FD-888E-83105356021D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637846672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="" xmlns:p14="http://schemas.microsoft.com/office/powerpoint/2010/main" val="1142363890"/>
      </p:ext>
    </p:extLst>
  </p:cSld>
  <p:clrMapOvr>
    <a:masterClrMapping/>
  </p:clrMapOvr>
  <p:transition>
    <p:fade/>
  </p:transition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="" xmlns:p14="http://schemas.microsoft.com/office/powerpoint/2010/main" val="3373983798"/>
      </p:ext>
    </p:extLst>
  </p:cSld>
  <p:clrMapOvr>
    <a:masterClrMapping/>
  </p:clrMapOvr>
  <p:transition>
    <p:fade/>
  </p:transition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="" xmlns:p14="http://schemas.microsoft.com/office/powerpoint/2010/main" val="3701101660"/>
      </p:ext>
    </p:extLst>
  </p:cSld>
  <p:clrMapOvr>
    <a:masterClrMapping/>
  </p:clrMapOvr>
  <p:transition>
    <p:fade/>
  </p:transition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3863421903"/>
      </p:ext>
    </p:extLst>
  </p:cSld>
  <p:clrMapOvr>
    <a:masterClrMapping/>
  </p:clrMapOvr>
  <p:transition>
    <p:fade/>
  </p:transition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2388422997"/>
      </p:ext>
    </p:extLst>
  </p:cSld>
  <p:clrMapOvr>
    <a:masterClrMapping/>
  </p:clrMapOvr>
  <p:transition>
    <p:fade/>
  </p:transition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903425009"/>
      </p:ext>
    </p:extLst>
  </p:cSld>
  <p:clrMapOvr>
    <a:masterClrMapping/>
  </p:clrMapOvr>
  <p:transition>
    <p:fade/>
  </p:transition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="" xmlns:p14="http://schemas.microsoft.com/office/powerpoint/2010/main" val="3853743894"/>
      </p:ext>
    </p:extLst>
  </p:cSld>
  <p:clrMapOvr>
    <a:masterClrMapping/>
  </p:clrMapOvr>
  <p:transition>
    <p:fade/>
  </p:transition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="" xmlns:p14="http://schemas.microsoft.com/office/powerpoint/2010/main" val="4020294979"/>
      </p:ext>
    </p:extLst>
  </p:cSld>
  <p:clrMapOvr>
    <a:masterClrMapping/>
  </p:clrMapOvr>
  <p:transition>
    <p:fade/>
  </p:transition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="" xmlns:p14="http://schemas.microsoft.com/office/powerpoint/2010/main" val="507998975"/>
      </p:ext>
    </p:extLst>
  </p:cSld>
  <p:clrMapOvr>
    <a:masterClrMapping/>
  </p:clrMapOvr>
  <p:transition>
    <p:fade/>
  </p:transition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16885209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eaVert"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  <a:lvl2pPr>
              <a:defRPr>
                <a:latin typeface="나눔고딕" pitchFamily="50" charset="-127"/>
                <a:ea typeface="나눔고딕" pitchFamily="50" charset="-127"/>
              </a:defRPr>
            </a:lvl2pPr>
            <a:lvl3pPr>
              <a:defRPr>
                <a:latin typeface="나눔고딕" pitchFamily="50" charset="-127"/>
                <a:ea typeface="나눔고딕" pitchFamily="50" charset="-127"/>
              </a:defRPr>
            </a:lvl3pPr>
            <a:lvl4pPr>
              <a:defRPr>
                <a:latin typeface="나눔고딕" pitchFamily="50" charset="-127"/>
                <a:ea typeface="나눔고딕" pitchFamily="50" charset="-127"/>
              </a:defRPr>
            </a:lvl4pPr>
            <a:lvl5pPr>
              <a:defRPr>
                <a:latin typeface="나눔고딕" pitchFamily="50" charset="-127"/>
                <a:ea typeface="나눔고딕" pitchFamily="50" charset="-127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fld id="{FF223172-3A13-417F-9B46-DF68C5ADD678}" type="datetime1">
              <a:rPr lang="ko-KR" altLang="en-US"/>
              <a:pPr>
                <a:defRPr/>
              </a:pPr>
              <a:t>2015-03-04</a:t>
            </a:fld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fld id="{10B40F1C-2516-45E7-9FEA-3B93319CCF95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4116871859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613263950"/>
      </p:ext>
    </p:extLst>
  </p:cSld>
  <p:clrMapOvr>
    <a:masterClrMapping/>
  </p:clrMapOvr>
  <p:transition>
    <p:fade/>
  </p:transition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4001477303"/>
      </p:ext>
    </p:extLst>
  </p:cSld>
  <p:clrMapOvr>
    <a:masterClrMapping/>
  </p:clrMapOvr>
  <p:transition>
    <p:fade/>
  </p:transition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3066111406"/>
      </p:ext>
    </p:extLst>
  </p:cSld>
  <p:clrMapOvr>
    <a:masterClrMapping/>
  </p:clrMapOvr>
  <p:transition>
    <p:fade/>
  </p:transition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="" xmlns:p14="http://schemas.microsoft.com/office/powerpoint/2010/main" val="1142363890"/>
      </p:ext>
    </p:extLst>
  </p:cSld>
  <p:clrMapOvr>
    <a:masterClrMapping/>
  </p:clrMapOvr>
  <p:transition>
    <p:fade/>
  </p:transition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="" xmlns:p14="http://schemas.microsoft.com/office/powerpoint/2010/main" val="3373983798"/>
      </p:ext>
    </p:extLst>
  </p:cSld>
  <p:clrMapOvr>
    <a:masterClrMapping/>
  </p:clrMapOvr>
  <p:transition>
    <p:fade/>
  </p:transition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="" xmlns:p14="http://schemas.microsoft.com/office/powerpoint/2010/main" val="3701101660"/>
      </p:ext>
    </p:extLst>
  </p:cSld>
  <p:clrMapOvr>
    <a:masterClrMapping/>
  </p:clrMapOvr>
  <p:transition>
    <p:fade/>
  </p:transition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3863421903"/>
      </p:ext>
    </p:extLst>
  </p:cSld>
  <p:clrMapOvr>
    <a:masterClrMapping/>
  </p:clrMapOvr>
  <p:transition>
    <p:fade/>
  </p:transition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2388422997"/>
      </p:ext>
    </p:extLst>
  </p:cSld>
  <p:clrMapOvr>
    <a:masterClrMapping/>
  </p:clrMapOvr>
  <p:transition>
    <p:fade/>
  </p:transition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903425009"/>
      </p:ext>
    </p:extLst>
  </p:cSld>
  <p:clrMapOvr>
    <a:masterClrMapping/>
  </p:clrMapOvr>
  <p:transition>
    <p:fade/>
  </p:transition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:p14="http://schemas.microsoft.com/office/powerpoint/2010/main" xmlns="" val="293408145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89108489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41"/>
            <a:ext cx="2228850" cy="5851525"/>
          </a:xfrm>
          <a:prstGeom prst="rect">
            <a:avLst/>
          </a:prstGeom>
        </p:spPr>
        <p:txBody>
          <a:bodyPr vert="eaVert"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41"/>
            <a:ext cx="6521450" cy="5851525"/>
          </a:xfrm>
          <a:prstGeom prst="rect">
            <a:avLst/>
          </a:prstGeom>
        </p:spPr>
        <p:txBody>
          <a:bodyPr vert="eaVert"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  <a:lvl2pPr>
              <a:defRPr>
                <a:latin typeface="나눔고딕" pitchFamily="50" charset="-127"/>
                <a:ea typeface="나눔고딕" pitchFamily="50" charset="-127"/>
              </a:defRPr>
            </a:lvl2pPr>
            <a:lvl3pPr>
              <a:defRPr>
                <a:latin typeface="나눔고딕" pitchFamily="50" charset="-127"/>
                <a:ea typeface="나눔고딕" pitchFamily="50" charset="-127"/>
              </a:defRPr>
            </a:lvl3pPr>
            <a:lvl4pPr>
              <a:defRPr>
                <a:latin typeface="나눔고딕" pitchFamily="50" charset="-127"/>
                <a:ea typeface="나눔고딕" pitchFamily="50" charset="-127"/>
              </a:defRPr>
            </a:lvl4pPr>
            <a:lvl5pPr>
              <a:defRPr>
                <a:latin typeface="나눔고딕" pitchFamily="50" charset="-127"/>
                <a:ea typeface="나눔고딕" pitchFamily="50" charset="-127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fld id="{BCF9B6C2-A5E3-4D96-A402-30399FA7B393}" type="datetime1">
              <a:rPr lang="ko-KR" altLang="en-US"/>
              <a:pPr>
                <a:defRPr/>
              </a:pPr>
              <a:t>2015-03-04</a:t>
            </a:fld>
            <a:endParaRPr lang="ko-KR" altLang="en-US" dirty="0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wrap="square" lIns="95746" tIns="47874" rIns="95746" bIns="47874" numCol="1" anchor="t" anchorCtr="0" compatLnSpc="1">
            <a:prstTxWarp prst="textNoShape">
              <a:avLst/>
            </a:prstTxWarp>
          </a:bodyPr>
          <a:lstStyle>
            <a:lvl1pPr latinLnBrk="1">
              <a:defRPr sz="1800" b="0" u="none">
                <a:solidFill>
                  <a:srgbClr val="000000"/>
                </a:solidFill>
                <a:latin typeface="나눔고딕"/>
                <a:ea typeface="나눔고딕"/>
                <a:cs typeface="나눔고딕"/>
              </a:defRPr>
            </a:lvl1pPr>
          </a:lstStyle>
          <a:p>
            <a:pPr>
              <a:defRPr/>
            </a:pPr>
            <a:fld id="{983170E0-9BB4-4856-8E9F-52BCCF22F50A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3106475767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2771520748"/>
      </p:ext>
    </p:extLst>
  </p:cSld>
  <p:clrMapOvr>
    <a:masterClrMapping/>
  </p:clrMapOvr>
  <p:transition>
    <p:fade/>
  </p:transition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3415792058"/>
      </p:ext>
    </p:extLst>
  </p:cSld>
  <p:clrMapOvr>
    <a:masterClrMapping/>
  </p:clrMapOvr>
  <p:transition>
    <p:fade/>
  </p:transition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073637202"/>
      </p:ext>
    </p:extLst>
  </p:cSld>
  <p:clrMapOvr>
    <a:masterClrMapping/>
  </p:clrMapOvr>
  <p:transition>
    <p:fade/>
  </p:transition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403776145"/>
      </p:ext>
    </p:extLst>
  </p:cSld>
  <p:clrMapOvr>
    <a:masterClrMapping/>
  </p:clrMapOvr>
  <p:transition>
    <p:fade/>
  </p:transition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68360561"/>
      </p:ext>
    </p:extLst>
  </p:cSld>
  <p:clrMapOvr>
    <a:masterClrMapping/>
  </p:clrMapOvr>
  <p:transition>
    <p:fade/>
  </p:transition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889343645"/>
      </p:ext>
    </p:extLst>
  </p:cSld>
  <p:clrMapOvr>
    <a:masterClrMapping/>
  </p:clrMapOvr>
  <p:transition>
    <p:fade/>
  </p:transition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575094712"/>
      </p:ext>
    </p:extLst>
  </p:cSld>
  <p:clrMapOvr>
    <a:masterClrMapping/>
  </p:clrMapOvr>
  <p:transition>
    <p:fade/>
  </p:transition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3435577328"/>
      </p:ext>
    </p:extLst>
  </p:cSld>
  <p:clrMapOvr>
    <a:masterClrMapping/>
  </p:clrMapOvr>
  <p:transition>
    <p:fade/>
  </p:transition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3762281374"/>
      </p:ext>
    </p:extLst>
  </p:cSld>
  <p:clrMapOvr>
    <a:masterClrMapping/>
  </p:clrMapOvr>
  <p:transition>
    <p:fade/>
  </p:transition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433088977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432910219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166638701"/>
      </p:ext>
    </p:extLst>
  </p:cSld>
  <p:clrMapOvr>
    <a:masterClrMapping/>
  </p:clrMapOvr>
  <p:transition>
    <p:fade/>
  </p:transition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445885267"/>
      </p:ext>
    </p:extLst>
  </p:cSld>
  <p:clrMapOvr>
    <a:masterClrMapping/>
  </p:clrMapOvr>
  <p:transition>
    <p:fade/>
  </p:transition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:p14="http://schemas.microsoft.com/office/powerpoint/2010/main" xmlns="" val="2934081456"/>
      </p:ext>
    </p:extLst>
  </p:cSld>
  <p:clrMapOvr>
    <a:masterClrMapping/>
  </p:clrMapOvr>
  <p:transition>
    <p:fade/>
  </p:transition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2771520748"/>
      </p:ext>
    </p:extLst>
  </p:cSld>
  <p:clrMapOvr>
    <a:masterClrMapping/>
  </p:clrMapOvr>
  <p:transition>
    <p:fade/>
  </p:transition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3415792058"/>
      </p:ext>
    </p:extLst>
  </p:cSld>
  <p:clrMapOvr>
    <a:masterClrMapping/>
  </p:clrMapOvr>
  <p:transition>
    <p:fade/>
  </p:transition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073637202"/>
      </p:ext>
    </p:extLst>
  </p:cSld>
  <p:clrMapOvr>
    <a:masterClrMapping/>
  </p:clrMapOvr>
  <p:transition>
    <p:fade/>
  </p:transition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403776145"/>
      </p:ext>
    </p:extLst>
  </p:cSld>
  <p:clrMapOvr>
    <a:masterClrMapping/>
  </p:clrMapOvr>
  <p:transition>
    <p:fade/>
  </p:transition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68360561"/>
      </p:ext>
    </p:extLst>
  </p:cSld>
  <p:clrMapOvr>
    <a:masterClrMapping/>
  </p:clrMapOvr>
  <p:transition>
    <p:fade/>
  </p:transition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889343645"/>
      </p:ext>
    </p:extLst>
  </p:cSld>
  <p:clrMapOvr>
    <a:masterClrMapping/>
  </p:clrMapOvr>
  <p:transition>
    <p:fade/>
  </p:transition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575094712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bg_2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5310188"/>
            <a:ext cx="9906000" cy="154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3"/>
          <p:cNvSpPr>
            <a:spLocks noChangeArrowheads="1"/>
          </p:cNvSpPr>
          <p:nvPr userDrawn="1"/>
        </p:nvSpPr>
        <p:spPr bwMode="auto">
          <a:xfrm>
            <a:off x="0" y="0"/>
            <a:ext cx="9906000" cy="523875"/>
          </a:xfrm>
          <a:prstGeom prst="rect">
            <a:avLst/>
          </a:prstGeom>
          <a:gradFill rotWithShape="1">
            <a:gsLst>
              <a:gs pos="0">
                <a:srgbClr val="AB0846"/>
              </a:gs>
              <a:gs pos="100000">
                <a:srgbClr val="C70952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>
              <a:spcBef>
                <a:spcPct val="30000"/>
              </a:spcBef>
            </a:pPr>
            <a:endParaRPr kumimoji="1" lang="ko-KR" altLang="en-US" sz="1300" u="none">
              <a:solidFill>
                <a:srgbClr val="B60638"/>
              </a:solidFill>
              <a:latin typeface="돋움" pitchFamily="50" charset="-127"/>
              <a:ea typeface="돋움" pitchFamily="50" charset="-127"/>
            </a:endParaRPr>
          </a:p>
        </p:txBody>
      </p:sp>
      <p:pic>
        <p:nvPicPr>
          <p:cNvPr id="4" name="Picture 48" descr="bg_29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12813" y="1588"/>
            <a:ext cx="3032125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9" descr="bg_06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37350" y="0"/>
            <a:ext cx="1995488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2" descr="LGCNS_02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705850" y="6483350"/>
            <a:ext cx="1000125" cy="233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D:\WORK\작업판\비주얼 관련 자료\U+LTE_로고_기본형(최종)투명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613" y="6354763"/>
            <a:ext cx="774700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171373902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3435577328"/>
      </p:ext>
    </p:extLst>
  </p:cSld>
  <p:clrMapOvr>
    <a:masterClrMapping/>
  </p:clrMapOvr>
  <p:transition>
    <p:fade/>
  </p:transition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3762281374"/>
      </p:ext>
    </p:extLst>
  </p:cSld>
  <p:clrMapOvr>
    <a:masterClrMapping/>
  </p:clrMapOvr>
  <p:transition>
    <p:fade/>
  </p:transition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433088977"/>
      </p:ext>
    </p:extLst>
  </p:cSld>
  <p:clrMapOvr>
    <a:masterClrMapping/>
  </p:clrMapOvr>
  <p:transition>
    <p:fade/>
  </p:transition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166638701"/>
      </p:ext>
    </p:extLst>
  </p:cSld>
  <p:clrMapOvr>
    <a:masterClrMapping/>
  </p:clrMapOvr>
  <p:transition>
    <p:fade/>
  </p:transition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445885267"/>
      </p:ext>
    </p:extLst>
  </p:cSld>
  <p:clrMapOvr>
    <a:masterClrMapping/>
  </p:clrMapOvr>
  <p:transition>
    <p:fade/>
  </p:transition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="" xmlns:p14="http://schemas.microsoft.com/office/powerpoint/2010/main" val="3853743894"/>
      </p:ext>
    </p:extLst>
  </p:cSld>
  <p:clrMapOvr>
    <a:masterClrMapping/>
  </p:clrMapOvr>
  <p:transition>
    <p:fade/>
  </p:transition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="" xmlns:p14="http://schemas.microsoft.com/office/powerpoint/2010/main" val="4020294979"/>
      </p:ext>
    </p:extLst>
  </p:cSld>
  <p:clrMapOvr>
    <a:masterClrMapping/>
  </p:clrMapOvr>
  <p:transition>
    <p:fade/>
  </p:transition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="" xmlns:p14="http://schemas.microsoft.com/office/powerpoint/2010/main" val="507998975"/>
      </p:ext>
    </p:extLst>
  </p:cSld>
  <p:clrMapOvr>
    <a:masterClrMapping/>
  </p:clrMapOvr>
  <p:transition>
    <p:fade/>
  </p:transition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16885209"/>
      </p:ext>
    </p:extLst>
  </p:cSld>
  <p:clrMapOvr>
    <a:masterClrMapping/>
  </p:clrMapOvr>
  <p:transition>
    <p:fade/>
  </p:transition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613263950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:p14="http://schemas.microsoft.com/office/powerpoint/2010/main" xmlns="" val="2247221864"/>
      </p:ext>
    </p:extLst>
  </p:cSld>
  <p:clrMapOvr>
    <a:masterClrMapping/>
  </p:clrMapOvr>
  <p:transition>
    <p:fade/>
  </p:transition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4001477303"/>
      </p:ext>
    </p:extLst>
  </p:cSld>
  <p:clrMapOvr>
    <a:masterClrMapping/>
  </p:clrMapOvr>
  <p:transition>
    <p:fade/>
  </p:transition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3066111406"/>
      </p:ext>
    </p:extLst>
  </p:cSld>
  <p:clrMapOvr>
    <a:masterClrMapping/>
  </p:clrMapOvr>
  <p:transition>
    <p:fade/>
  </p:transition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="" xmlns:p14="http://schemas.microsoft.com/office/powerpoint/2010/main" val="1142363890"/>
      </p:ext>
    </p:extLst>
  </p:cSld>
  <p:clrMapOvr>
    <a:masterClrMapping/>
  </p:clrMapOvr>
  <p:transition>
    <p:fade/>
  </p:transition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="" xmlns:p14="http://schemas.microsoft.com/office/powerpoint/2010/main" val="3373983798"/>
      </p:ext>
    </p:extLst>
  </p:cSld>
  <p:clrMapOvr>
    <a:masterClrMapping/>
  </p:clrMapOvr>
  <p:transition>
    <p:fade/>
  </p:transition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="" xmlns:p14="http://schemas.microsoft.com/office/powerpoint/2010/main" val="3701101660"/>
      </p:ext>
    </p:extLst>
  </p:cSld>
  <p:clrMapOvr>
    <a:masterClrMapping/>
  </p:clrMapOvr>
  <p:transition>
    <p:fade/>
  </p:transition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3863421903"/>
      </p:ext>
    </p:extLst>
  </p:cSld>
  <p:clrMapOvr>
    <a:masterClrMapping/>
  </p:clrMapOvr>
  <p:transition>
    <p:fade/>
  </p:transition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2388422997"/>
      </p:ext>
    </p:extLst>
  </p:cSld>
  <p:clrMapOvr>
    <a:masterClrMapping/>
  </p:clrMapOvr>
  <p:transition>
    <p:fade/>
  </p:transition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903425009"/>
      </p:ext>
    </p:extLst>
  </p:cSld>
  <p:clrMapOvr>
    <a:masterClrMapping/>
  </p:clrMapOvr>
  <p:transition>
    <p:fade/>
  </p:transition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="" xmlns:p14="http://schemas.microsoft.com/office/powerpoint/2010/main" val="3133406978"/>
      </p:ext>
    </p:extLst>
  </p:cSld>
  <p:clrMapOvr>
    <a:masterClrMapping/>
  </p:clrMapOvr>
  <p:transition>
    <p:fade/>
  </p:transition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="" xmlns:p14="http://schemas.microsoft.com/office/powerpoint/2010/main" val="2018303148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1011624483"/>
      </p:ext>
    </p:extLst>
  </p:cSld>
  <p:clrMapOvr>
    <a:masterClrMapping/>
  </p:clrMapOvr>
  <p:transition>
    <p:fade/>
  </p:transition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="" xmlns:p14="http://schemas.microsoft.com/office/powerpoint/2010/main" val="1571918439"/>
      </p:ext>
    </p:extLst>
  </p:cSld>
  <p:clrMapOvr>
    <a:masterClrMapping/>
  </p:clrMapOvr>
  <p:transition>
    <p:fade/>
  </p:transition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1184488654"/>
      </p:ext>
    </p:extLst>
  </p:cSld>
  <p:clrMapOvr>
    <a:masterClrMapping/>
  </p:clrMapOvr>
  <p:transition>
    <p:fade/>
  </p:transition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1448483297"/>
      </p:ext>
    </p:extLst>
  </p:cSld>
  <p:clrMapOvr>
    <a:masterClrMapping/>
  </p:clrMapOvr>
  <p:transition>
    <p:fade/>
  </p:transition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1468935398"/>
      </p:ext>
    </p:extLst>
  </p:cSld>
  <p:clrMapOvr>
    <a:masterClrMapping/>
  </p:clrMapOvr>
  <p:transition>
    <p:fade/>
  </p:transition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4021780913"/>
      </p:ext>
    </p:extLst>
  </p:cSld>
  <p:clrMapOvr>
    <a:masterClrMapping/>
  </p:clrMapOvr>
  <p:transition>
    <p:fade/>
  </p:transition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="" xmlns:p14="http://schemas.microsoft.com/office/powerpoint/2010/main" val="1778029270"/>
      </p:ext>
    </p:extLst>
  </p:cSld>
  <p:clrMapOvr>
    <a:masterClrMapping/>
  </p:clrMapOvr>
  <p:transition>
    <p:fade/>
  </p:transition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="" xmlns:p14="http://schemas.microsoft.com/office/powerpoint/2010/main" val="106827367"/>
      </p:ext>
    </p:extLst>
  </p:cSld>
  <p:clrMapOvr>
    <a:masterClrMapping/>
  </p:clrMapOvr>
  <p:transition>
    <p:fade/>
  </p:transition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="" xmlns:p14="http://schemas.microsoft.com/office/powerpoint/2010/main" val="2332078551"/>
      </p:ext>
    </p:extLst>
  </p:cSld>
  <p:clrMapOvr>
    <a:masterClrMapping/>
  </p:clrMapOvr>
  <p:transition>
    <p:fade/>
  </p:transition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3109532469"/>
      </p:ext>
    </p:extLst>
  </p:cSld>
  <p:clrMapOvr>
    <a:masterClrMapping/>
  </p:clrMapOvr>
  <p:transition>
    <p:fade/>
  </p:transition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3814283116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937230716"/>
      </p:ext>
    </p:extLst>
  </p:cSld>
  <p:clrMapOvr>
    <a:masterClrMapping/>
  </p:clrMapOvr>
  <p:transition>
    <p:fade/>
  </p:transition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1917792020"/>
      </p:ext>
    </p:extLst>
  </p:cSld>
  <p:clrMapOvr>
    <a:masterClrMapping/>
  </p:clrMapOvr>
  <p:transition>
    <p:fade/>
  </p:transition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="" xmlns:p14="http://schemas.microsoft.com/office/powerpoint/2010/main" val="3853743894"/>
      </p:ext>
    </p:extLst>
  </p:cSld>
  <p:clrMapOvr>
    <a:masterClrMapping/>
  </p:clrMapOvr>
  <p:transition>
    <p:fade/>
  </p:transition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="" xmlns:p14="http://schemas.microsoft.com/office/powerpoint/2010/main" val="4020294979"/>
      </p:ext>
    </p:extLst>
  </p:cSld>
  <p:clrMapOvr>
    <a:masterClrMapping/>
  </p:clrMapOvr>
  <p:transition>
    <p:fade/>
  </p:transition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="" xmlns:p14="http://schemas.microsoft.com/office/powerpoint/2010/main" val="507998975"/>
      </p:ext>
    </p:extLst>
  </p:cSld>
  <p:clrMapOvr>
    <a:masterClrMapping/>
  </p:clrMapOvr>
  <p:transition>
    <p:fade/>
  </p:transition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16885209"/>
      </p:ext>
    </p:extLst>
  </p:cSld>
  <p:clrMapOvr>
    <a:masterClrMapping/>
  </p:clrMapOvr>
  <p:transition>
    <p:fade/>
  </p:transition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613263950"/>
      </p:ext>
    </p:extLst>
  </p:cSld>
  <p:clrMapOvr>
    <a:masterClrMapping/>
  </p:clrMapOvr>
  <p:transition>
    <p:fade/>
  </p:transition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4001477303"/>
      </p:ext>
    </p:extLst>
  </p:cSld>
  <p:clrMapOvr>
    <a:masterClrMapping/>
  </p:clrMapOvr>
  <p:transition>
    <p:fade/>
  </p:transition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3066111406"/>
      </p:ext>
    </p:extLst>
  </p:cSld>
  <p:clrMapOvr>
    <a:masterClrMapping/>
  </p:clrMapOvr>
  <p:transition>
    <p:fade/>
  </p:transition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="" xmlns:p14="http://schemas.microsoft.com/office/powerpoint/2010/main" val="1142363890"/>
      </p:ext>
    </p:extLst>
  </p:cSld>
  <p:clrMapOvr>
    <a:masterClrMapping/>
  </p:clrMapOvr>
  <p:transition>
    <p:fade/>
  </p:transition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="" xmlns:p14="http://schemas.microsoft.com/office/powerpoint/2010/main" val="3373983798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002405217"/>
      </p:ext>
    </p:extLst>
  </p:cSld>
  <p:clrMapOvr>
    <a:masterClrMapping/>
  </p:clrMapOvr>
  <p:transition>
    <p:fade/>
  </p:transition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="" xmlns:p14="http://schemas.microsoft.com/office/powerpoint/2010/main" val="3701101660"/>
      </p:ext>
    </p:extLst>
  </p:cSld>
  <p:clrMapOvr>
    <a:masterClrMapping/>
  </p:clrMapOvr>
  <p:transition>
    <p:fade/>
  </p:transition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3863421903"/>
      </p:ext>
    </p:extLst>
  </p:cSld>
  <p:clrMapOvr>
    <a:masterClrMapping/>
  </p:clrMapOvr>
  <p:transition>
    <p:fade/>
  </p:transition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2388422997"/>
      </p:ext>
    </p:extLst>
  </p:cSld>
  <p:clrMapOvr>
    <a:masterClrMapping/>
  </p:clrMapOvr>
  <p:transition>
    <p:fade/>
  </p:transition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903425009"/>
      </p:ext>
    </p:extLst>
  </p:cSld>
  <p:clrMapOvr>
    <a:masterClrMapping/>
  </p:clrMapOvr>
  <p:transition>
    <p:fade/>
  </p:transition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="" xmlns:p14="http://schemas.microsoft.com/office/powerpoint/2010/main" val="3853743894"/>
      </p:ext>
    </p:extLst>
  </p:cSld>
  <p:clrMapOvr>
    <a:masterClrMapping/>
  </p:clrMapOvr>
  <p:transition>
    <p:fade/>
  </p:transition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="" xmlns:p14="http://schemas.microsoft.com/office/powerpoint/2010/main" val="4020294979"/>
      </p:ext>
    </p:extLst>
  </p:cSld>
  <p:clrMapOvr>
    <a:masterClrMapping/>
  </p:clrMapOvr>
  <p:transition>
    <p:fade/>
  </p:transition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="" xmlns:p14="http://schemas.microsoft.com/office/powerpoint/2010/main" val="507998975"/>
      </p:ext>
    </p:extLst>
  </p:cSld>
  <p:clrMapOvr>
    <a:masterClrMapping/>
  </p:clrMapOvr>
  <p:transition>
    <p:fade/>
  </p:transition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16885209"/>
      </p:ext>
    </p:extLst>
  </p:cSld>
  <p:clrMapOvr>
    <a:masterClrMapping/>
  </p:clrMapOvr>
  <p:transition>
    <p:fade/>
  </p:transition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613263950"/>
      </p:ext>
    </p:extLst>
  </p:cSld>
  <p:clrMapOvr>
    <a:masterClrMapping/>
  </p:clrMapOvr>
  <p:transition>
    <p:fade/>
  </p:transition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4001477303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4176859602"/>
      </p:ext>
    </p:extLst>
  </p:cSld>
  <p:clrMapOvr>
    <a:masterClrMapping/>
  </p:clrMapOvr>
  <p:transition>
    <p:fade/>
  </p:transition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3066111406"/>
      </p:ext>
    </p:extLst>
  </p:cSld>
  <p:clrMapOvr>
    <a:masterClrMapping/>
  </p:clrMapOvr>
  <p:transition>
    <p:fade/>
  </p:transition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="" xmlns:p14="http://schemas.microsoft.com/office/powerpoint/2010/main" val="1142363890"/>
      </p:ext>
    </p:extLst>
  </p:cSld>
  <p:clrMapOvr>
    <a:masterClrMapping/>
  </p:clrMapOvr>
  <p:transition>
    <p:fade/>
  </p:transition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="" xmlns:p14="http://schemas.microsoft.com/office/powerpoint/2010/main" val="3373983798"/>
      </p:ext>
    </p:extLst>
  </p:cSld>
  <p:clrMapOvr>
    <a:masterClrMapping/>
  </p:clrMapOvr>
  <p:transition>
    <p:fade/>
  </p:transition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="" xmlns:p14="http://schemas.microsoft.com/office/powerpoint/2010/main" val="3701101660"/>
      </p:ext>
    </p:extLst>
  </p:cSld>
  <p:clrMapOvr>
    <a:masterClrMapping/>
  </p:clrMapOvr>
  <p:transition>
    <p:fade/>
  </p:transition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3863421903"/>
      </p:ext>
    </p:extLst>
  </p:cSld>
  <p:clrMapOvr>
    <a:masterClrMapping/>
  </p:clrMapOvr>
  <p:transition>
    <p:fade/>
  </p:transition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2388422997"/>
      </p:ext>
    </p:extLst>
  </p:cSld>
  <p:clrMapOvr>
    <a:masterClrMapping/>
  </p:clrMapOvr>
  <p:transition>
    <p:fade/>
  </p:transition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903425009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821144757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77463447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87864324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3816293447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351094890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2708644877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4067376433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850765366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4118717421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:p14="http://schemas.microsoft.com/office/powerpoint/2010/main" xmlns="" val="2934081456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2771520748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3415792058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07363720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4223092689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403776145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68360561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889343645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575094712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3435577328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3762281374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433088977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166638701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445885267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:p14="http://schemas.microsoft.com/office/powerpoint/2010/main" xmlns="" val="27398902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786542399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3693918267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527033864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383078903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399031272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683025982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507032416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3002759037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69360788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1323082503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275513" y="114300"/>
            <a:ext cx="2333625" cy="10509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273050" y="114300"/>
            <a:ext cx="6850063" cy="10509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64058290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194136314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273050" y="114300"/>
            <a:ext cx="9336088" cy="105092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454017676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제목, 텍스트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120280702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ABInBev_A5_RGB_L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6103938" y="63500"/>
            <a:ext cx="3706812" cy="184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6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1038" y="3599805"/>
            <a:ext cx="8420100" cy="549275"/>
          </a:xfrm>
          <a:extLst/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title</a:t>
            </a:r>
          </a:p>
        </p:txBody>
      </p:sp>
      <p:sp>
        <p:nvSpPr>
          <p:cNvPr id="2366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1038" y="4540250"/>
            <a:ext cx="8421687" cy="1447800"/>
          </a:xfrm>
          <a:extLst/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ko-KR" noProof="0" smtClean="0"/>
              <a:t>Click to add subtitle</a:t>
            </a:r>
          </a:p>
          <a:p>
            <a:pPr lvl="0"/>
            <a:endParaRPr lang="en-US" altLang="ko-KR" noProof="0" smtClean="0"/>
          </a:p>
        </p:txBody>
      </p:sp>
    </p:spTree>
    <p:extLst>
      <p:ext uri="{BB962C8B-B14F-4D97-AF65-F5344CB8AC3E}">
        <p14:creationId xmlns:p14="http://schemas.microsoft.com/office/powerpoint/2010/main" xmlns="" val="1324489079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1816028896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1813760597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273050" y="628650"/>
            <a:ext cx="4591050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16500" y="628650"/>
            <a:ext cx="4592638" cy="53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489123270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481365089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827294893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033237744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xmlns="" val="62686650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13" Type="http://schemas.openxmlformats.org/officeDocument/2006/relationships/slideLayout" Target="../slideLayouts/slideLayout130.xml"/><Relationship Id="rId3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24.xml"/><Relationship Id="rId12" Type="http://schemas.openxmlformats.org/officeDocument/2006/relationships/slideLayout" Target="../slideLayouts/slideLayout129.xml"/><Relationship Id="rId2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122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Relationship Id="rId1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.xml"/><Relationship Id="rId13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133.xml"/><Relationship Id="rId7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42.xml"/><Relationship Id="rId2" Type="http://schemas.openxmlformats.org/officeDocument/2006/relationships/slideLayout" Target="../slideLayouts/slideLayout13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6.xml"/><Relationship Id="rId11" Type="http://schemas.openxmlformats.org/officeDocument/2006/relationships/slideLayout" Target="../slideLayouts/slideLayout141.xml"/><Relationship Id="rId5" Type="http://schemas.openxmlformats.org/officeDocument/2006/relationships/slideLayout" Target="../slideLayouts/slideLayout13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40.xml"/><Relationship Id="rId4" Type="http://schemas.openxmlformats.org/officeDocument/2006/relationships/slideLayout" Target="../slideLayouts/slideLayout134.xml"/><Relationship Id="rId9" Type="http://schemas.openxmlformats.org/officeDocument/2006/relationships/slideLayout" Target="../slideLayouts/slideLayout139.xml"/><Relationship Id="rId1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.xml"/><Relationship Id="rId13" Type="http://schemas.openxmlformats.org/officeDocument/2006/relationships/slideLayout" Target="../slideLayouts/slideLayout156.xml"/><Relationship Id="rId3" Type="http://schemas.openxmlformats.org/officeDocument/2006/relationships/slideLayout" Target="../slideLayouts/slideLayout146.xml"/><Relationship Id="rId7" Type="http://schemas.openxmlformats.org/officeDocument/2006/relationships/slideLayout" Target="../slideLayouts/slideLayout150.xml"/><Relationship Id="rId12" Type="http://schemas.openxmlformats.org/officeDocument/2006/relationships/slideLayout" Target="../slideLayouts/slideLayout155.xml"/><Relationship Id="rId2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slideLayout" Target="../slideLayouts/slideLayout154.xml"/><Relationship Id="rId5" Type="http://schemas.openxmlformats.org/officeDocument/2006/relationships/slideLayout" Target="../slideLayouts/slideLayout148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53.xml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Relationship Id="rId1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4.xml"/><Relationship Id="rId13" Type="http://schemas.openxmlformats.org/officeDocument/2006/relationships/slideLayout" Target="../slideLayouts/slideLayout169.xml"/><Relationship Id="rId3" Type="http://schemas.openxmlformats.org/officeDocument/2006/relationships/slideLayout" Target="../slideLayouts/slideLayout159.xml"/><Relationship Id="rId7" Type="http://schemas.openxmlformats.org/officeDocument/2006/relationships/slideLayout" Target="../slideLayouts/slideLayout163.xml"/><Relationship Id="rId12" Type="http://schemas.openxmlformats.org/officeDocument/2006/relationships/slideLayout" Target="../slideLayouts/slideLayout168.xml"/><Relationship Id="rId2" Type="http://schemas.openxmlformats.org/officeDocument/2006/relationships/slideLayout" Target="../slideLayouts/slideLayout158.xml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slideLayout" Target="../slideLayouts/slideLayout167.xml"/><Relationship Id="rId5" Type="http://schemas.openxmlformats.org/officeDocument/2006/relationships/slideLayout" Target="../slideLayouts/slideLayout161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166.xml"/><Relationship Id="rId4" Type="http://schemas.openxmlformats.org/officeDocument/2006/relationships/slideLayout" Target="../slideLayouts/slideLayout160.xml"/><Relationship Id="rId9" Type="http://schemas.openxmlformats.org/officeDocument/2006/relationships/slideLayout" Target="../slideLayouts/slideLayout165.xml"/><Relationship Id="rId14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2.xml"/><Relationship Id="rId2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70.xml"/><Relationship Id="rId5" Type="http://schemas.openxmlformats.org/officeDocument/2006/relationships/tags" Target="../tags/tag1.xml"/><Relationship Id="rId4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5.xml"/><Relationship Id="rId2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173.xml"/><Relationship Id="rId5" Type="http://schemas.openxmlformats.org/officeDocument/2006/relationships/tags" Target="../tags/tag3.xml"/><Relationship Id="rId4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3.xml"/><Relationship Id="rId13" Type="http://schemas.openxmlformats.org/officeDocument/2006/relationships/slideLayout" Target="../slideLayouts/slideLayout188.xml"/><Relationship Id="rId3" Type="http://schemas.openxmlformats.org/officeDocument/2006/relationships/slideLayout" Target="../slideLayouts/slideLayout178.xml"/><Relationship Id="rId7" Type="http://schemas.openxmlformats.org/officeDocument/2006/relationships/slideLayout" Target="../slideLayouts/slideLayout182.xml"/><Relationship Id="rId12" Type="http://schemas.openxmlformats.org/officeDocument/2006/relationships/slideLayout" Target="../slideLayouts/slideLayout187.xml"/><Relationship Id="rId2" Type="http://schemas.openxmlformats.org/officeDocument/2006/relationships/slideLayout" Target="../slideLayouts/slideLayout177.xml"/><Relationship Id="rId1" Type="http://schemas.openxmlformats.org/officeDocument/2006/relationships/slideLayout" Target="../slideLayouts/slideLayout176.xml"/><Relationship Id="rId6" Type="http://schemas.openxmlformats.org/officeDocument/2006/relationships/slideLayout" Target="../slideLayouts/slideLayout181.xml"/><Relationship Id="rId11" Type="http://schemas.openxmlformats.org/officeDocument/2006/relationships/slideLayout" Target="../slideLayouts/slideLayout186.xml"/><Relationship Id="rId5" Type="http://schemas.openxmlformats.org/officeDocument/2006/relationships/slideLayout" Target="../slideLayouts/slideLayout180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185.xml"/><Relationship Id="rId4" Type="http://schemas.openxmlformats.org/officeDocument/2006/relationships/slideLayout" Target="../slideLayouts/slideLayout179.xml"/><Relationship Id="rId9" Type="http://schemas.openxmlformats.org/officeDocument/2006/relationships/slideLayout" Target="../slideLayouts/slideLayout184.xml"/><Relationship Id="rId14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6.xml"/><Relationship Id="rId13" Type="http://schemas.openxmlformats.org/officeDocument/2006/relationships/slideLayout" Target="../slideLayouts/slideLayout201.xml"/><Relationship Id="rId3" Type="http://schemas.openxmlformats.org/officeDocument/2006/relationships/slideLayout" Target="../slideLayouts/slideLayout191.xml"/><Relationship Id="rId7" Type="http://schemas.openxmlformats.org/officeDocument/2006/relationships/slideLayout" Target="../slideLayouts/slideLayout195.xml"/><Relationship Id="rId12" Type="http://schemas.openxmlformats.org/officeDocument/2006/relationships/slideLayout" Target="../slideLayouts/slideLayout200.xml"/><Relationship Id="rId2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89.xml"/><Relationship Id="rId6" Type="http://schemas.openxmlformats.org/officeDocument/2006/relationships/slideLayout" Target="../slideLayouts/slideLayout194.xml"/><Relationship Id="rId11" Type="http://schemas.openxmlformats.org/officeDocument/2006/relationships/slideLayout" Target="../slideLayouts/slideLayout199.xml"/><Relationship Id="rId5" Type="http://schemas.openxmlformats.org/officeDocument/2006/relationships/slideLayout" Target="../slideLayouts/slideLayout193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98.xml"/><Relationship Id="rId4" Type="http://schemas.openxmlformats.org/officeDocument/2006/relationships/slideLayout" Target="../slideLayouts/slideLayout192.xml"/><Relationship Id="rId9" Type="http://schemas.openxmlformats.org/officeDocument/2006/relationships/slideLayout" Target="../slideLayouts/slideLayout197.xml"/><Relationship Id="rId14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9.xml"/><Relationship Id="rId13" Type="http://schemas.openxmlformats.org/officeDocument/2006/relationships/slideLayout" Target="../slideLayouts/slideLayout214.xml"/><Relationship Id="rId3" Type="http://schemas.openxmlformats.org/officeDocument/2006/relationships/slideLayout" Target="../slideLayouts/slideLayout204.xml"/><Relationship Id="rId7" Type="http://schemas.openxmlformats.org/officeDocument/2006/relationships/slideLayout" Target="../slideLayouts/slideLayout208.xml"/><Relationship Id="rId12" Type="http://schemas.openxmlformats.org/officeDocument/2006/relationships/slideLayout" Target="../slideLayouts/slideLayout213.xml"/><Relationship Id="rId2" Type="http://schemas.openxmlformats.org/officeDocument/2006/relationships/slideLayout" Target="../slideLayouts/slideLayout203.xml"/><Relationship Id="rId1" Type="http://schemas.openxmlformats.org/officeDocument/2006/relationships/slideLayout" Target="../slideLayouts/slideLayout202.xml"/><Relationship Id="rId6" Type="http://schemas.openxmlformats.org/officeDocument/2006/relationships/slideLayout" Target="../slideLayouts/slideLayout207.xml"/><Relationship Id="rId11" Type="http://schemas.openxmlformats.org/officeDocument/2006/relationships/slideLayout" Target="../slideLayouts/slideLayout212.xml"/><Relationship Id="rId5" Type="http://schemas.openxmlformats.org/officeDocument/2006/relationships/slideLayout" Target="../slideLayouts/slideLayout206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11.xml"/><Relationship Id="rId4" Type="http://schemas.openxmlformats.org/officeDocument/2006/relationships/slideLayout" Target="../slideLayouts/slideLayout205.xml"/><Relationship Id="rId9" Type="http://schemas.openxmlformats.org/officeDocument/2006/relationships/slideLayout" Target="../slideLayouts/slideLayout210.xml"/><Relationship Id="rId14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2.xml"/><Relationship Id="rId13" Type="http://schemas.openxmlformats.org/officeDocument/2006/relationships/slideLayout" Target="../slideLayouts/slideLayout227.xml"/><Relationship Id="rId3" Type="http://schemas.openxmlformats.org/officeDocument/2006/relationships/slideLayout" Target="../slideLayouts/slideLayout217.xml"/><Relationship Id="rId7" Type="http://schemas.openxmlformats.org/officeDocument/2006/relationships/slideLayout" Target="../slideLayouts/slideLayout221.xml"/><Relationship Id="rId12" Type="http://schemas.openxmlformats.org/officeDocument/2006/relationships/slideLayout" Target="../slideLayouts/slideLayout226.xml"/><Relationship Id="rId2" Type="http://schemas.openxmlformats.org/officeDocument/2006/relationships/slideLayout" Target="../slideLayouts/slideLayout216.xml"/><Relationship Id="rId1" Type="http://schemas.openxmlformats.org/officeDocument/2006/relationships/slideLayout" Target="../slideLayouts/slideLayout215.xml"/><Relationship Id="rId6" Type="http://schemas.openxmlformats.org/officeDocument/2006/relationships/slideLayout" Target="../slideLayouts/slideLayout220.xml"/><Relationship Id="rId11" Type="http://schemas.openxmlformats.org/officeDocument/2006/relationships/slideLayout" Target="../slideLayouts/slideLayout225.xml"/><Relationship Id="rId5" Type="http://schemas.openxmlformats.org/officeDocument/2006/relationships/slideLayout" Target="../slideLayouts/slideLayout219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24.xml"/><Relationship Id="rId4" Type="http://schemas.openxmlformats.org/officeDocument/2006/relationships/slideLayout" Target="../slideLayouts/slideLayout218.xml"/><Relationship Id="rId9" Type="http://schemas.openxmlformats.org/officeDocument/2006/relationships/slideLayout" Target="../slideLayouts/slideLayout223.xml"/><Relationship Id="rId14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5.xml"/><Relationship Id="rId13" Type="http://schemas.openxmlformats.org/officeDocument/2006/relationships/slideLayout" Target="../slideLayouts/slideLayout240.xml"/><Relationship Id="rId3" Type="http://schemas.openxmlformats.org/officeDocument/2006/relationships/slideLayout" Target="../slideLayouts/slideLayout230.xml"/><Relationship Id="rId7" Type="http://schemas.openxmlformats.org/officeDocument/2006/relationships/slideLayout" Target="../slideLayouts/slideLayout234.xml"/><Relationship Id="rId12" Type="http://schemas.openxmlformats.org/officeDocument/2006/relationships/slideLayout" Target="../slideLayouts/slideLayout239.xml"/><Relationship Id="rId2" Type="http://schemas.openxmlformats.org/officeDocument/2006/relationships/slideLayout" Target="../slideLayouts/slideLayout229.xml"/><Relationship Id="rId1" Type="http://schemas.openxmlformats.org/officeDocument/2006/relationships/slideLayout" Target="../slideLayouts/slideLayout228.xml"/><Relationship Id="rId6" Type="http://schemas.openxmlformats.org/officeDocument/2006/relationships/slideLayout" Target="../slideLayouts/slideLayout233.xml"/><Relationship Id="rId11" Type="http://schemas.openxmlformats.org/officeDocument/2006/relationships/slideLayout" Target="../slideLayouts/slideLayout238.xml"/><Relationship Id="rId5" Type="http://schemas.openxmlformats.org/officeDocument/2006/relationships/slideLayout" Target="../slideLayouts/slideLayout232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37.xml"/><Relationship Id="rId4" Type="http://schemas.openxmlformats.org/officeDocument/2006/relationships/slideLayout" Target="../slideLayouts/slideLayout231.xml"/><Relationship Id="rId9" Type="http://schemas.openxmlformats.org/officeDocument/2006/relationships/slideLayout" Target="../slideLayouts/slideLayout236.xml"/><Relationship Id="rId14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8.xml"/><Relationship Id="rId13" Type="http://schemas.openxmlformats.org/officeDocument/2006/relationships/slideLayout" Target="../slideLayouts/slideLayout253.xml"/><Relationship Id="rId3" Type="http://schemas.openxmlformats.org/officeDocument/2006/relationships/slideLayout" Target="../slideLayouts/slideLayout243.xml"/><Relationship Id="rId7" Type="http://schemas.openxmlformats.org/officeDocument/2006/relationships/slideLayout" Target="../slideLayouts/slideLayout247.xml"/><Relationship Id="rId12" Type="http://schemas.openxmlformats.org/officeDocument/2006/relationships/slideLayout" Target="../slideLayouts/slideLayout252.xml"/><Relationship Id="rId2" Type="http://schemas.openxmlformats.org/officeDocument/2006/relationships/slideLayout" Target="../slideLayouts/slideLayout242.xml"/><Relationship Id="rId1" Type="http://schemas.openxmlformats.org/officeDocument/2006/relationships/slideLayout" Target="../slideLayouts/slideLayout241.xml"/><Relationship Id="rId6" Type="http://schemas.openxmlformats.org/officeDocument/2006/relationships/slideLayout" Target="../slideLayouts/slideLayout246.xml"/><Relationship Id="rId11" Type="http://schemas.openxmlformats.org/officeDocument/2006/relationships/slideLayout" Target="../slideLayouts/slideLayout251.xml"/><Relationship Id="rId5" Type="http://schemas.openxmlformats.org/officeDocument/2006/relationships/slideLayout" Target="../slideLayouts/slideLayout24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50.xml"/><Relationship Id="rId4" Type="http://schemas.openxmlformats.org/officeDocument/2006/relationships/slideLayout" Target="../slideLayouts/slideLayout244.xml"/><Relationship Id="rId9" Type="http://schemas.openxmlformats.org/officeDocument/2006/relationships/slideLayout" Target="../slideLayouts/slideLayout249.xml"/><Relationship Id="rId14" Type="http://schemas.openxmlformats.org/officeDocument/2006/relationships/theme" Target="../theme/theme21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6.xml"/><Relationship Id="rId2" Type="http://schemas.openxmlformats.org/officeDocument/2006/relationships/slideLayout" Target="../slideLayouts/slideLayout255.xml"/><Relationship Id="rId1" Type="http://schemas.openxmlformats.org/officeDocument/2006/relationships/slideLayout" Target="../slideLayouts/slideLayout254.xml"/><Relationship Id="rId5" Type="http://schemas.openxmlformats.org/officeDocument/2006/relationships/tags" Target="../tags/tag5.xml"/><Relationship Id="rId4" Type="http://schemas.openxmlformats.org/officeDocument/2006/relationships/theme" Target="../theme/theme22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4.xml"/><Relationship Id="rId13" Type="http://schemas.openxmlformats.org/officeDocument/2006/relationships/slideLayout" Target="../slideLayouts/slideLayout269.xml"/><Relationship Id="rId3" Type="http://schemas.openxmlformats.org/officeDocument/2006/relationships/slideLayout" Target="../slideLayouts/slideLayout259.xml"/><Relationship Id="rId7" Type="http://schemas.openxmlformats.org/officeDocument/2006/relationships/slideLayout" Target="../slideLayouts/slideLayout263.xml"/><Relationship Id="rId12" Type="http://schemas.openxmlformats.org/officeDocument/2006/relationships/slideLayout" Target="../slideLayouts/slideLayout268.xml"/><Relationship Id="rId2" Type="http://schemas.openxmlformats.org/officeDocument/2006/relationships/slideLayout" Target="../slideLayouts/slideLayout258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257.xml"/><Relationship Id="rId6" Type="http://schemas.openxmlformats.org/officeDocument/2006/relationships/slideLayout" Target="../slideLayouts/slideLayout262.xml"/><Relationship Id="rId11" Type="http://schemas.openxmlformats.org/officeDocument/2006/relationships/slideLayout" Target="../slideLayouts/slideLayout267.xml"/><Relationship Id="rId5" Type="http://schemas.openxmlformats.org/officeDocument/2006/relationships/slideLayout" Target="../slideLayouts/slideLayout261.xml"/><Relationship Id="rId15" Type="http://schemas.openxmlformats.org/officeDocument/2006/relationships/image" Target="../media/image7.png"/><Relationship Id="rId10" Type="http://schemas.openxmlformats.org/officeDocument/2006/relationships/slideLayout" Target="../slideLayouts/slideLayout266.xml"/><Relationship Id="rId4" Type="http://schemas.openxmlformats.org/officeDocument/2006/relationships/slideLayout" Target="../slideLayouts/slideLayout260.xml"/><Relationship Id="rId9" Type="http://schemas.openxmlformats.org/officeDocument/2006/relationships/slideLayout" Target="../slideLayouts/slideLayout265.xml"/><Relationship Id="rId14" Type="http://schemas.openxmlformats.org/officeDocument/2006/relationships/theme" Target="../theme/theme23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7.xml"/><Relationship Id="rId13" Type="http://schemas.openxmlformats.org/officeDocument/2006/relationships/theme" Target="../theme/theme24.xml"/><Relationship Id="rId3" Type="http://schemas.openxmlformats.org/officeDocument/2006/relationships/slideLayout" Target="../slideLayouts/slideLayout272.xml"/><Relationship Id="rId7" Type="http://schemas.openxmlformats.org/officeDocument/2006/relationships/slideLayout" Target="../slideLayouts/slideLayout276.xml"/><Relationship Id="rId12" Type="http://schemas.openxmlformats.org/officeDocument/2006/relationships/slideLayout" Target="../slideLayouts/slideLayout281.xml"/><Relationship Id="rId2" Type="http://schemas.openxmlformats.org/officeDocument/2006/relationships/slideLayout" Target="../slideLayouts/slideLayout271.xml"/><Relationship Id="rId1" Type="http://schemas.openxmlformats.org/officeDocument/2006/relationships/slideLayout" Target="../slideLayouts/slideLayout270.xml"/><Relationship Id="rId6" Type="http://schemas.openxmlformats.org/officeDocument/2006/relationships/slideLayout" Target="../slideLayouts/slideLayout275.xml"/><Relationship Id="rId11" Type="http://schemas.openxmlformats.org/officeDocument/2006/relationships/slideLayout" Target="../slideLayouts/slideLayout280.xml"/><Relationship Id="rId5" Type="http://schemas.openxmlformats.org/officeDocument/2006/relationships/slideLayout" Target="../slideLayouts/slideLayout274.xml"/><Relationship Id="rId10" Type="http://schemas.openxmlformats.org/officeDocument/2006/relationships/slideLayout" Target="../slideLayouts/slideLayout279.xml"/><Relationship Id="rId4" Type="http://schemas.openxmlformats.org/officeDocument/2006/relationships/slideLayout" Target="../slideLayouts/slideLayout273.xml"/><Relationship Id="rId9" Type="http://schemas.openxmlformats.org/officeDocument/2006/relationships/slideLayout" Target="../slideLayouts/slideLayout278.xml"/><Relationship Id="rId14" Type="http://schemas.openxmlformats.org/officeDocument/2006/relationships/image" Target="../media/image7.png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9.xml"/><Relationship Id="rId13" Type="http://schemas.openxmlformats.org/officeDocument/2006/relationships/slideLayout" Target="../slideLayouts/slideLayout294.xml"/><Relationship Id="rId3" Type="http://schemas.openxmlformats.org/officeDocument/2006/relationships/slideLayout" Target="../slideLayouts/slideLayout284.xml"/><Relationship Id="rId7" Type="http://schemas.openxmlformats.org/officeDocument/2006/relationships/slideLayout" Target="../slideLayouts/slideLayout288.xml"/><Relationship Id="rId12" Type="http://schemas.openxmlformats.org/officeDocument/2006/relationships/slideLayout" Target="../slideLayouts/slideLayout293.xml"/><Relationship Id="rId2" Type="http://schemas.openxmlformats.org/officeDocument/2006/relationships/slideLayout" Target="../slideLayouts/slideLayout283.xml"/><Relationship Id="rId1" Type="http://schemas.openxmlformats.org/officeDocument/2006/relationships/slideLayout" Target="../slideLayouts/slideLayout282.xml"/><Relationship Id="rId6" Type="http://schemas.openxmlformats.org/officeDocument/2006/relationships/slideLayout" Target="../slideLayouts/slideLayout287.xml"/><Relationship Id="rId11" Type="http://schemas.openxmlformats.org/officeDocument/2006/relationships/slideLayout" Target="../slideLayouts/slideLayout292.xml"/><Relationship Id="rId5" Type="http://schemas.openxmlformats.org/officeDocument/2006/relationships/slideLayout" Target="../slideLayouts/slideLayout286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91.xml"/><Relationship Id="rId4" Type="http://schemas.openxmlformats.org/officeDocument/2006/relationships/slideLayout" Target="../slideLayouts/slideLayout285.xml"/><Relationship Id="rId9" Type="http://schemas.openxmlformats.org/officeDocument/2006/relationships/slideLayout" Target="../slideLayouts/slideLayout290.xml"/><Relationship Id="rId14" Type="http://schemas.openxmlformats.org/officeDocument/2006/relationships/theme" Target="../theme/theme25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2.xml"/><Relationship Id="rId13" Type="http://schemas.openxmlformats.org/officeDocument/2006/relationships/theme" Target="../theme/theme26.xml"/><Relationship Id="rId3" Type="http://schemas.openxmlformats.org/officeDocument/2006/relationships/slideLayout" Target="../slideLayouts/slideLayout297.xml"/><Relationship Id="rId7" Type="http://schemas.openxmlformats.org/officeDocument/2006/relationships/slideLayout" Target="../slideLayouts/slideLayout301.xml"/><Relationship Id="rId12" Type="http://schemas.openxmlformats.org/officeDocument/2006/relationships/slideLayout" Target="../slideLayouts/slideLayout306.xml"/><Relationship Id="rId2" Type="http://schemas.openxmlformats.org/officeDocument/2006/relationships/slideLayout" Target="../slideLayouts/slideLayout296.xml"/><Relationship Id="rId1" Type="http://schemas.openxmlformats.org/officeDocument/2006/relationships/slideLayout" Target="../slideLayouts/slideLayout295.xml"/><Relationship Id="rId6" Type="http://schemas.openxmlformats.org/officeDocument/2006/relationships/slideLayout" Target="../slideLayouts/slideLayout300.xml"/><Relationship Id="rId11" Type="http://schemas.openxmlformats.org/officeDocument/2006/relationships/slideLayout" Target="../slideLayouts/slideLayout305.xml"/><Relationship Id="rId5" Type="http://schemas.openxmlformats.org/officeDocument/2006/relationships/slideLayout" Target="../slideLayouts/slideLayout299.xml"/><Relationship Id="rId10" Type="http://schemas.openxmlformats.org/officeDocument/2006/relationships/slideLayout" Target="../slideLayouts/slideLayout304.xml"/><Relationship Id="rId4" Type="http://schemas.openxmlformats.org/officeDocument/2006/relationships/slideLayout" Target="../slideLayouts/slideLayout298.xml"/><Relationship Id="rId9" Type="http://schemas.openxmlformats.org/officeDocument/2006/relationships/slideLayout" Target="../slideLayouts/slideLayout303.xml"/><Relationship Id="rId14" Type="http://schemas.openxmlformats.org/officeDocument/2006/relationships/image" Target="../media/image7.png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4.xml"/><Relationship Id="rId13" Type="http://schemas.openxmlformats.org/officeDocument/2006/relationships/theme" Target="../theme/theme27.xml"/><Relationship Id="rId3" Type="http://schemas.openxmlformats.org/officeDocument/2006/relationships/slideLayout" Target="../slideLayouts/slideLayout309.xml"/><Relationship Id="rId7" Type="http://schemas.openxmlformats.org/officeDocument/2006/relationships/slideLayout" Target="../slideLayouts/slideLayout313.xml"/><Relationship Id="rId12" Type="http://schemas.openxmlformats.org/officeDocument/2006/relationships/slideLayout" Target="../slideLayouts/slideLayout318.xml"/><Relationship Id="rId2" Type="http://schemas.openxmlformats.org/officeDocument/2006/relationships/slideLayout" Target="../slideLayouts/slideLayout308.xml"/><Relationship Id="rId1" Type="http://schemas.openxmlformats.org/officeDocument/2006/relationships/slideLayout" Target="../slideLayouts/slideLayout307.xml"/><Relationship Id="rId6" Type="http://schemas.openxmlformats.org/officeDocument/2006/relationships/slideLayout" Target="../slideLayouts/slideLayout312.xml"/><Relationship Id="rId11" Type="http://schemas.openxmlformats.org/officeDocument/2006/relationships/slideLayout" Target="../slideLayouts/slideLayout317.xml"/><Relationship Id="rId5" Type="http://schemas.openxmlformats.org/officeDocument/2006/relationships/slideLayout" Target="../slideLayouts/slideLayout311.xml"/><Relationship Id="rId10" Type="http://schemas.openxmlformats.org/officeDocument/2006/relationships/slideLayout" Target="../slideLayouts/slideLayout316.xml"/><Relationship Id="rId4" Type="http://schemas.openxmlformats.org/officeDocument/2006/relationships/slideLayout" Target="../slideLayouts/slideLayout310.xml"/><Relationship Id="rId9" Type="http://schemas.openxmlformats.org/officeDocument/2006/relationships/slideLayout" Target="../slideLayouts/slideLayout315.xml"/><Relationship Id="rId14" Type="http://schemas.openxmlformats.org/officeDocument/2006/relationships/image" Target="../media/image7.png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6.xml"/><Relationship Id="rId13" Type="http://schemas.openxmlformats.org/officeDocument/2006/relationships/slideLayout" Target="../slideLayouts/slideLayout331.xml"/><Relationship Id="rId3" Type="http://schemas.openxmlformats.org/officeDocument/2006/relationships/slideLayout" Target="../slideLayouts/slideLayout321.xml"/><Relationship Id="rId7" Type="http://schemas.openxmlformats.org/officeDocument/2006/relationships/slideLayout" Target="../slideLayouts/slideLayout325.xml"/><Relationship Id="rId12" Type="http://schemas.openxmlformats.org/officeDocument/2006/relationships/slideLayout" Target="../slideLayouts/slideLayout330.xml"/><Relationship Id="rId2" Type="http://schemas.openxmlformats.org/officeDocument/2006/relationships/slideLayout" Target="../slideLayouts/slideLayout320.xml"/><Relationship Id="rId1" Type="http://schemas.openxmlformats.org/officeDocument/2006/relationships/slideLayout" Target="../slideLayouts/slideLayout319.xml"/><Relationship Id="rId6" Type="http://schemas.openxmlformats.org/officeDocument/2006/relationships/slideLayout" Target="../slideLayouts/slideLayout324.xml"/><Relationship Id="rId11" Type="http://schemas.openxmlformats.org/officeDocument/2006/relationships/slideLayout" Target="../slideLayouts/slideLayout329.xml"/><Relationship Id="rId5" Type="http://schemas.openxmlformats.org/officeDocument/2006/relationships/slideLayout" Target="../slideLayouts/slideLayout323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328.xml"/><Relationship Id="rId4" Type="http://schemas.openxmlformats.org/officeDocument/2006/relationships/slideLayout" Target="../slideLayouts/slideLayout322.xml"/><Relationship Id="rId9" Type="http://schemas.openxmlformats.org/officeDocument/2006/relationships/slideLayout" Target="../slideLayouts/slideLayout327.xml"/><Relationship Id="rId14" Type="http://schemas.openxmlformats.org/officeDocument/2006/relationships/theme" Target="../theme/theme28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9.xml"/><Relationship Id="rId13" Type="http://schemas.openxmlformats.org/officeDocument/2006/relationships/slideLayout" Target="../slideLayouts/slideLayout344.xml"/><Relationship Id="rId3" Type="http://schemas.openxmlformats.org/officeDocument/2006/relationships/slideLayout" Target="../slideLayouts/slideLayout334.xml"/><Relationship Id="rId7" Type="http://schemas.openxmlformats.org/officeDocument/2006/relationships/slideLayout" Target="../slideLayouts/slideLayout338.xml"/><Relationship Id="rId12" Type="http://schemas.openxmlformats.org/officeDocument/2006/relationships/slideLayout" Target="../slideLayouts/slideLayout343.xml"/><Relationship Id="rId2" Type="http://schemas.openxmlformats.org/officeDocument/2006/relationships/slideLayout" Target="../slideLayouts/slideLayout333.xml"/><Relationship Id="rId1" Type="http://schemas.openxmlformats.org/officeDocument/2006/relationships/slideLayout" Target="../slideLayouts/slideLayout332.xml"/><Relationship Id="rId6" Type="http://schemas.openxmlformats.org/officeDocument/2006/relationships/slideLayout" Target="../slideLayouts/slideLayout337.xml"/><Relationship Id="rId11" Type="http://schemas.openxmlformats.org/officeDocument/2006/relationships/slideLayout" Target="../slideLayouts/slideLayout342.xml"/><Relationship Id="rId5" Type="http://schemas.openxmlformats.org/officeDocument/2006/relationships/slideLayout" Target="../slideLayouts/slideLayout336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341.xml"/><Relationship Id="rId4" Type="http://schemas.openxmlformats.org/officeDocument/2006/relationships/slideLayout" Target="../slideLayouts/slideLayout335.xml"/><Relationship Id="rId9" Type="http://schemas.openxmlformats.org/officeDocument/2006/relationships/slideLayout" Target="../slideLayouts/slideLayout340.xml"/><Relationship Id="rId14" Type="http://schemas.openxmlformats.org/officeDocument/2006/relationships/theme" Target="../theme/theme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heme" Target="../theme/theme3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2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347.xml"/><Relationship Id="rId7" Type="http://schemas.openxmlformats.org/officeDocument/2006/relationships/slideLayout" Target="../slideLayouts/slideLayout351.xml"/><Relationship Id="rId12" Type="http://schemas.openxmlformats.org/officeDocument/2006/relationships/theme" Target="../theme/theme30.xml"/><Relationship Id="rId2" Type="http://schemas.openxmlformats.org/officeDocument/2006/relationships/slideLayout" Target="../slideLayouts/slideLayout346.xml"/><Relationship Id="rId1" Type="http://schemas.openxmlformats.org/officeDocument/2006/relationships/slideLayout" Target="../slideLayouts/slideLayout345.xml"/><Relationship Id="rId6" Type="http://schemas.openxmlformats.org/officeDocument/2006/relationships/slideLayout" Target="../slideLayouts/slideLayout350.xml"/><Relationship Id="rId11" Type="http://schemas.openxmlformats.org/officeDocument/2006/relationships/slideLayout" Target="../slideLayouts/slideLayout355.xml"/><Relationship Id="rId5" Type="http://schemas.openxmlformats.org/officeDocument/2006/relationships/slideLayout" Target="../slideLayouts/slideLayout349.xml"/><Relationship Id="rId10" Type="http://schemas.openxmlformats.org/officeDocument/2006/relationships/slideLayout" Target="../slideLayouts/slideLayout354.xml"/><Relationship Id="rId4" Type="http://schemas.openxmlformats.org/officeDocument/2006/relationships/slideLayout" Target="../slideLayouts/slideLayout348.xml"/><Relationship Id="rId9" Type="http://schemas.openxmlformats.org/officeDocument/2006/relationships/slideLayout" Target="../slideLayouts/slideLayout353.xml"/><Relationship Id="rId14" Type="http://schemas.openxmlformats.org/officeDocument/2006/relationships/image" Target="../media/image12.png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3.xml"/><Relationship Id="rId13" Type="http://schemas.openxmlformats.org/officeDocument/2006/relationships/slideLayout" Target="../slideLayouts/slideLayout368.xml"/><Relationship Id="rId3" Type="http://schemas.openxmlformats.org/officeDocument/2006/relationships/slideLayout" Target="../slideLayouts/slideLayout358.xml"/><Relationship Id="rId7" Type="http://schemas.openxmlformats.org/officeDocument/2006/relationships/slideLayout" Target="../slideLayouts/slideLayout362.xml"/><Relationship Id="rId12" Type="http://schemas.openxmlformats.org/officeDocument/2006/relationships/slideLayout" Target="../slideLayouts/slideLayout367.xml"/><Relationship Id="rId2" Type="http://schemas.openxmlformats.org/officeDocument/2006/relationships/slideLayout" Target="../slideLayouts/slideLayout357.xml"/><Relationship Id="rId1" Type="http://schemas.openxmlformats.org/officeDocument/2006/relationships/slideLayout" Target="../slideLayouts/slideLayout356.xml"/><Relationship Id="rId6" Type="http://schemas.openxmlformats.org/officeDocument/2006/relationships/slideLayout" Target="../slideLayouts/slideLayout361.xml"/><Relationship Id="rId11" Type="http://schemas.openxmlformats.org/officeDocument/2006/relationships/slideLayout" Target="../slideLayouts/slideLayout366.xml"/><Relationship Id="rId5" Type="http://schemas.openxmlformats.org/officeDocument/2006/relationships/slideLayout" Target="../slideLayouts/slideLayout360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365.xml"/><Relationship Id="rId4" Type="http://schemas.openxmlformats.org/officeDocument/2006/relationships/slideLayout" Target="../slideLayouts/slideLayout359.xml"/><Relationship Id="rId9" Type="http://schemas.openxmlformats.org/officeDocument/2006/relationships/slideLayout" Target="../slideLayouts/slideLayout364.xml"/><Relationship Id="rId14" Type="http://schemas.openxmlformats.org/officeDocument/2006/relationships/theme" Target="../theme/theme31.x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6.xml"/><Relationship Id="rId13" Type="http://schemas.openxmlformats.org/officeDocument/2006/relationships/slideLayout" Target="../slideLayouts/slideLayout381.xml"/><Relationship Id="rId3" Type="http://schemas.openxmlformats.org/officeDocument/2006/relationships/slideLayout" Target="../slideLayouts/slideLayout371.xml"/><Relationship Id="rId7" Type="http://schemas.openxmlformats.org/officeDocument/2006/relationships/slideLayout" Target="../slideLayouts/slideLayout375.xml"/><Relationship Id="rId12" Type="http://schemas.openxmlformats.org/officeDocument/2006/relationships/slideLayout" Target="../slideLayouts/slideLayout380.xml"/><Relationship Id="rId2" Type="http://schemas.openxmlformats.org/officeDocument/2006/relationships/slideLayout" Target="../slideLayouts/slideLayout370.xml"/><Relationship Id="rId1" Type="http://schemas.openxmlformats.org/officeDocument/2006/relationships/slideLayout" Target="../slideLayouts/slideLayout369.xml"/><Relationship Id="rId6" Type="http://schemas.openxmlformats.org/officeDocument/2006/relationships/slideLayout" Target="../slideLayouts/slideLayout374.xml"/><Relationship Id="rId11" Type="http://schemas.openxmlformats.org/officeDocument/2006/relationships/slideLayout" Target="../slideLayouts/slideLayout379.xml"/><Relationship Id="rId5" Type="http://schemas.openxmlformats.org/officeDocument/2006/relationships/slideLayout" Target="../slideLayouts/slideLayout373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378.xml"/><Relationship Id="rId4" Type="http://schemas.openxmlformats.org/officeDocument/2006/relationships/slideLayout" Target="../slideLayouts/slideLayout372.xml"/><Relationship Id="rId9" Type="http://schemas.openxmlformats.org/officeDocument/2006/relationships/slideLayout" Target="../slideLayouts/slideLayout377.xml"/><Relationship Id="rId14" Type="http://schemas.openxmlformats.org/officeDocument/2006/relationships/theme" Target="../theme/theme32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9.xml"/><Relationship Id="rId13" Type="http://schemas.openxmlformats.org/officeDocument/2006/relationships/slideLayout" Target="../slideLayouts/slideLayout394.xml"/><Relationship Id="rId3" Type="http://schemas.openxmlformats.org/officeDocument/2006/relationships/slideLayout" Target="../slideLayouts/slideLayout384.xml"/><Relationship Id="rId7" Type="http://schemas.openxmlformats.org/officeDocument/2006/relationships/slideLayout" Target="../slideLayouts/slideLayout388.xml"/><Relationship Id="rId12" Type="http://schemas.openxmlformats.org/officeDocument/2006/relationships/slideLayout" Target="../slideLayouts/slideLayout393.xml"/><Relationship Id="rId2" Type="http://schemas.openxmlformats.org/officeDocument/2006/relationships/slideLayout" Target="../slideLayouts/slideLayout383.xml"/><Relationship Id="rId1" Type="http://schemas.openxmlformats.org/officeDocument/2006/relationships/slideLayout" Target="../slideLayouts/slideLayout382.xml"/><Relationship Id="rId6" Type="http://schemas.openxmlformats.org/officeDocument/2006/relationships/slideLayout" Target="../slideLayouts/slideLayout387.xml"/><Relationship Id="rId11" Type="http://schemas.openxmlformats.org/officeDocument/2006/relationships/slideLayout" Target="../slideLayouts/slideLayout392.xml"/><Relationship Id="rId5" Type="http://schemas.openxmlformats.org/officeDocument/2006/relationships/slideLayout" Target="../slideLayouts/slideLayout386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391.xml"/><Relationship Id="rId4" Type="http://schemas.openxmlformats.org/officeDocument/2006/relationships/slideLayout" Target="../slideLayouts/slideLayout385.xml"/><Relationship Id="rId9" Type="http://schemas.openxmlformats.org/officeDocument/2006/relationships/slideLayout" Target="../slideLayouts/slideLayout390.xml"/><Relationship Id="rId14" Type="http://schemas.openxmlformats.org/officeDocument/2006/relationships/theme" Target="../theme/theme33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2.xml"/><Relationship Id="rId13" Type="http://schemas.openxmlformats.org/officeDocument/2006/relationships/slideLayout" Target="../slideLayouts/slideLayout407.xml"/><Relationship Id="rId3" Type="http://schemas.openxmlformats.org/officeDocument/2006/relationships/slideLayout" Target="../slideLayouts/slideLayout397.xml"/><Relationship Id="rId7" Type="http://schemas.openxmlformats.org/officeDocument/2006/relationships/slideLayout" Target="../slideLayouts/slideLayout401.xml"/><Relationship Id="rId12" Type="http://schemas.openxmlformats.org/officeDocument/2006/relationships/slideLayout" Target="../slideLayouts/slideLayout406.xml"/><Relationship Id="rId2" Type="http://schemas.openxmlformats.org/officeDocument/2006/relationships/slideLayout" Target="../slideLayouts/slideLayout396.xml"/><Relationship Id="rId1" Type="http://schemas.openxmlformats.org/officeDocument/2006/relationships/slideLayout" Target="../slideLayouts/slideLayout395.xml"/><Relationship Id="rId6" Type="http://schemas.openxmlformats.org/officeDocument/2006/relationships/slideLayout" Target="../slideLayouts/slideLayout400.xml"/><Relationship Id="rId11" Type="http://schemas.openxmlformats.org/officeDocument/2006/relationships/slideLayout" Target="../slideLayouts/slideLayout405.xml"/><Relationship Id="rId5" Type="http://schemas.openxmlformats.org/officeDocument/2006/relationships/slideLayout" Target="../slideLayouts/slideLayout399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404.xml"/><Relationship Id="rId4" Type="http://schemas.openxmlformats.org/officeDocument/2006/relationships/slideLayout" Target="../slideLayouts/slideLayout398.xml"/><Relationship Id="rId9" Type="http://schemas.openxmlformats.org/officeDocument/2006/relationships/slideLayout" Target="../slideLayouts/slideLayout403.xml"/><Relationship Id="rId14" Type="http://schemas.openxmlformats.org/officeDocument/2006/relationships/theme" Target="../theme/theme34.xml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5.xml"/><Relationship Id="rId13" Type="http://schemas.openxmlformats.org/officeDocument/2006/relationships/slideLayout" Target="../slideLayouts/slideLayout420.xml"/><Relationship Id="rId3" Type="http://schemas.openxmlformats.org/officeDocument/2006/relationships/slideLayout" Target="../slideLayouts/slideLayout410.xml"/><Relationship Id="rId7" Type="http://schemas.openxmlformats.org/officeDocument/2006/relationships/slideLayout" Target="../slideLayouts/slideLayout414.xml"/><Relationship Id="rId12" Type="http://schemas.openxmlformats.org/officeDocument/2006/relationships/slideLayout" Target="../slideLayouts/slideLayout419.xml"/><Relationship Id="rId2" Type="http://schemas.openxmlformats.org/officeDocument/2006/relationships/slideLayout" Target="../slideLayouts/slideLayout409.xml"/><Relationship Id="rId1" Type="http://schemas.openxmlformats.org/officeDocument/2006/relationships/slideLayout" Target="../slideLayouts/slideLayout408.xml"/><Relationship Id="rId6" Type="http://schemas.openxmlformats.org/officeDocument/2006/relationships/slideLayout" Target="../slideLayouts/slideLayout413.xml"/><Relationship Id="rId11" Type="http://schemas.openxmlformats.org/officeDocument/2006/relationships/slideLayout" Target="../slideLayouts/slideLayout418.xml"/><Relationship Id="rId5" Type="http://schemas.openxmlformats.org/officeDocument/2006/relationships/slideLayout" Target="../slideLayouts/slideLayout412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417.xml"/><Relationship Id="rId4" Type="http://schemas.openxmlformats.org/officeDocument/2006/relationships/slideLayout" Target="../slideLayouts/slideLayout411.xml"/><Relationship Id="rId9" Type="http://schemas.openxmlformats.org/officeDocument/2006/relationships/slideLayout" Target="../slideLayouts/slideLayout416.xml"/><Relationship Id="rId14" Type="http://schemas.openxmlformats.org/officeDocument/2006/relationships/theme" Target="../theme/theme35.xml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8.xml"/><Relationship Id="rId13" Type="http://schemas.openxmlformats.org/officeDocument/2006/relationships/slideLayout" Target="../slideLayouts/slideLayout433.xml"/><Relationship Id="rId3" Type="http://schemas.openxmlformats.org/officeDocument/2006/relationships/slideLayout" Target="../slideLayouts/slideLayout423.xml"/><Relationship Id="rId7" Type="http://schemas.openxmlformats.org/officeDocument/2006/relationships/slideLayout" Target="../slideLayouts/slideLayout427.xml"/><Relationship Id="rId12" Type="http://schemas.openxmlformats.org/officeDocument/2006/relationships/slideLayout" Target="../slideLayouts/slideLayout432.xml"/><Relationship Id="rId2" Type="http://schemas.openxmlformats.org/officeDocument/2006/relationships/slideLayout" Target="../slideLayouts/slideLayout422.xml"/><Relationship Id="rId1" Type="http://schemas.openxmlformats.org/officeDocument/2006/relationships/slideLayout" Target="../slideLayouts/slideLayout421.xml"/><Relationship Id="rId6" Type="http://schemas.openxmlformats.org/officeDocument/2006/relationships/slideLayout" Target="../slideLayouts/slideLayout426.xml"/><Relationship Id="rId11" Type="http://schemas.openxmlformats.org/officeDocument/2006/relationships/slideLayout" Target="../slideLayouts/slideLayout431.xml"/><Relationship Id="rId5" Type="http://schemas.openxmlformats.org/officeDocument/2006/relationships/slideLayout" Target="../slideLayouts/slideLayout42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430.xml"/><Relationship Id="rId4" Type="http://schemas.openxmlformats.org/officeDocument/2006/relationships/slideLayout" Target="../slideLayouts/slideLayout424.xml"/><Relationship Id="rId9" Type="http://schemas.openxmlformats.org/officeDocument/2006/relationships/slideLayout" Target="../slideLayouts/slideLayout429.xml"/><Relationship Id="rId14" Type="http://schemas.openxmlformats.org/officeDocument/2006/relationships/theme" Target="../theme/theme36.xml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1.xml"/><Relationship Id="rId13" Type="http://schemas.openxmlformats.org/officeDocument/2006/relationships/slideLayout" Target="../slideLayouts/slideLayout446.xml"/><Relationship Id="rId3" Type="http://schemas.openxmlformats.org/officeDocument/2006/relationships/slideLayout" Target="../slideLayouts/slideLayout436.xml"/><Relationship Id="rId7" Type="http://schemas.openxmlformats.org/officeDocument/2006/relationships/slideLayout" Target="../slideLayouts/slideLayout440.xml"/><Relationship Id="rId12" Type="http://schemas.openxmlformats.org/officeDocument/2006/relationships/slideLayout" Target="../slideLayouts/slideLayout445.xml"/><Relationship Id="rId2" Type="http://schemas.openxmlformats.org/officeDocument/2006/relationships/slideLayout" Target="../slideLayouts/slideLayout435.xml"/><Relationship Id="rId1" Type="http://schemas.openxmlformats.org/officeDocument/2006/relationships/slideLayout" Target="../slideLayouts/slideLayout434.xml"/><Relationship Id="rId6" Type="http://schemas.openxmlformats.org/officeDocument/2006/relationships/slideLayout" Target="../slideLayouts/slideLayout439.xml"/><Relationship Id="rId11" Type="http://schemas.openxmlformats.org/officeDocument/2006/relationships/slideLayout" Target="../slideLayouts/slideLayout444.xml"/><Relationship Id="rId5" Type="http://schemas.openxmlformats.org/officeDocument/2006/relationships/slideLayout" Target="../slideLayouts/slideLayout438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443.xml"/><Relationship Id="rId4" Type="http://schemas.openxmlformats.org/officeDocument/2006/relationships/slideLayout" Target="../slideLayouts/slideLayout437.xml"/><Relationship Id="rId9" Type="http://schemas.openxmlformats.org/officeDocument/2006/relationships/slideLayout" Target="../slideLayouts/slideLayout442.xml"/><Relationship Id="rId14" Type="http://schemas.openxmlformats.org/officeDocument/2006/relationships/theme" Target="../theme/theme37.xml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4.xml"/><Relationship Id="rId13" Type="http://schemas.openxmlformats.org/officeDocument/2006/relationships/slideLayout" Target="../slideLayouts/slideLayout459.xml"/><Relationship Id="rId3" Type="http://schemas.openxmlformats.org/officeDocument/2006/relationships/slideLayout" Target="../slideLayouts/slideLayout449.xml"/><Relationship Id="rId7" Type="http://schemas.openxmlformats.org/officeDocument/2006/relationships/slideLayout" Target="../slideLayouts/slideLayout453.xml"/><Relationship Id="rId12" Type="http://schemas.openxmlformats.org/officeDocument/2006/relationships/slideLayout" Target="../slideLayouts/slideLayout458.xml"/><Relationship Id="rId2" Type="http://schemas.openxmlformats.org/officeDocument/2006/relationships/slideLayout" Target="../slideLayouts/slideLayout448.xml"/><Relationship Id="rId1" Type="http://schemas.openxmlformats.org/officeDocument/2006/relationships/slideLayout" Target="../slideLayouts/slideLayout447.xml"/><Relationship Id="rId6" Type="http://schemas.openxmlformats.org/officeDocument/2006/relationships/slideLayout" Target="../slideLayouts/slideLayout452.xml"/><Relationship Id="rId11" Type="http://schemas.openxmlformats.org/officeDocument/2006/relationships/slideLayout" Target="../slideLayouts/slideLayout457.xml"/><Relationship Id="rId5" Type="http://schemas.openxmlformats.org/officeDocument/2006/relationships/slideLayout" Target="../slideLayouts/slideLayout451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456.xml"/><Relationship Id="rId4" Type="http://schemas.openxmlformats.org/officeDocument/2006/relationships/slideLayout" Target="../slideLayouts/slideLayout450.xml"/><Relationship Id="rId9" Type="http://schemas.openxmlformats.org/officeDocument/2006/relationships/slideLayout" Target="../slideLayouts/slideLayout455.xml"/><Relationship Id="rId14" Type="http://schemas.openxmlformats.org/officeDocument/2006/relationships/theme" Target="../theme/theme38.xml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7.xml"/><Relationship Id="rId13" Type="http://schemas.openxmlformats.org/officeDocument/2006/relationships/slideLayout" Target="../slideLayouts/slideLayout472.xml"/><Relationship Id="rId3" Type="http://schemas.openxmlformats.org/officeDocument/2006/relationships/slideLayout" Target="../slideLayouts/slideLayout462.xml"/><Relationship Id="rId7" Type="http://schemas.openxmlformats.org/officeDocument/2006/relationships/slideLayout" Target="../slideLayouts/slideLayout466.xml"/><Relationship Id="rId12" Type="http://schemas.openxmlformats.org/officeDocument/2006/relationships/slideLayout" Target="../slideLayouts/slideLayout471.xml"/><Relationship Id="rId2" Type="http://schemas.openxmlformats.org/officeDocument/2006/relationships/slideLayout" Target="../slideLayouts/slideLayout461.xml"/><Relationship Id="rId1" Type="http://schemas.openxmlformats.org/officeDocument/2006/relationships/slideLayout" Target="../slideLayouts/slideLayout460.xml"/><Relationship Id="rId6" Type="http://schemas.openxmlformats.org/officeDocument/2006/relationships/slideLayout" Target="../slideLayouts/slideLayout465.xml"/><Relationship Id="rId11" Type="http://schemas.openxmlformats.org/officeDocument/2006/relationships/slideLayout" Target="../slideLayouts/slideLayout470.xml"/><Relationship Id="rId5" Type="http://schemas.openxmlformats.org/officeDocument/2006/relationships/slideLayout" Target="../slideLayouts/slideLayout464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469.xml"/><Relationship Id="rId4" Type="http://schemas.openxmlformats.org/officeDocument/2006/relationships/slideLayout" Target="../slideLayouts/slideLayout463.xml"/><Relationship Id="rId9" Type="http://schemas.openxmlformats.org/officeDocument/2006/relationships/slideLayout" Target="../slideLayouts/slideLayout468.xml"/><Relationship Id="rId14" Type="http://schemas.openxmlformats.org/officeDocument/2006/relationships/theme" Target="../theme/theme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1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image" Target="../media/image7.png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theme" Target="../theme/theme4.xml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0.xml"/><Relationship Id="rId13" Type="http://schemas.openxmlformats.org/officeDocument/2006/relationships/slideLayout" Target="../slideLayouts/slideLayout485.xml"/><Relationship Id="rId3" Type="http://schemas.openxmlformats.org/officeDocument/2006/relationships/slideLayout" Target="../slideLayouts/slideLayout475.xml"/><Relationship Id="rId7" Type="http://schemas.openxmlformats.org/officeDocument/2006/relationships/slideLayout" Target="../slideLayouts/slideLayout479.xml"/><Relationship Id="rId12" Type="http://schemas.openxmlformats.org/officeDocument/2006/relationships/slideLayout" Target="../slideLayouts/slideLayout484.xml"/><Relationship Id="rId2" Type="http://schemas.openxmlformats.org/officeDocument/2006/relationships/slideLayout" Target="../slideLayouts/slideLayout474.xml"/><Relationship Id="rId1" Type="http://schemas.openxmlformats.org/officeDocument/2006/relationships/slideLayout" Target="../slideLayouts/slideLayout473.xml"/><Relationship Id="rId6" Type="http://schemas.openxmlformats.org/officeDocument/2006/relationships/slideLayout" Target="../slideLayouts/slideLayout478.xml"/><Relationship Id="rId11" Type="http://schemas.openxmlformats.org/officeDocument/2006/relationships/slideLayout" Target="../slideLayouts/slideLayout483.xml"/><Relationship Id="rId5" Type="http://schemas.openxmlformats.org/officeDocument/2006/relationships/slideLayout" Target="../slideLayouts/slideLayout47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482.xml"/><Relationship Id="rId4" Type="http://schemas.openxmlformats.org/officeDocument/2006/relationships/slideLayout" Target="../slideLayouts/slideLayout476.xml"/><Relationship Id="rId9" Type="http://schemas.openxmlformats.org/officeDocument/2006/relationships/slideLayout" Target="../slideLayouts/slideLayout481.xml"/><Relationship Id="rId14" Type="http://schemas.openxmlformats.org/officeDocument/2006/relationships/theme" Target="../theme/theme40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3.xml"/><Relationship Id="rId13" Type="http://schemas.openxmlformats.org/officeDocument/2006/relationships/slideLayout" Target="../slideLayouts/slideLayout498.xml"/><Relationship Id="rId3" Type="http://schemas.openxmlformats.org/officeDocument/2006/relationships/slideLayout" Target="../slideLayouts/slideLayout488.xml"/><Relationship Id="rId7" Type="http://schemas.openxmlformats.org/officeDocument/2006/relationships/slideLayout" Target="../slideLayouts/slideLayout492.xml"/><Relationship Id="rId12" Type="http://schemas.openxmlformats.org/officeDocument/2006/relationships/slideLayout" Target="../slideLayouts/slideLayout497.xml"/><Relationship Id="rId2" Type="http://schemas.openxmlformats.org/officeDocument/2006/relationships/slideLayout" Target="../slideLayouts/slideLayout487.xml"/><Relationship Id="rId1" Type="http://schemas.openxmlformats.org/officeDocument/2006/relationships/slideLayout" Target="../slideLayouts/slideLayout486.xml"/><Relationship Id="rId6" Type="http://schemas.openxmlformats.org/officeDocument/2006/relationships/slideLayout" Target="../slideLayouts/slideLayout491.xml"/><Relationship Id="rId11" Type="http://schemas.openxmlformats.org/officeDocument/2006/relationships/slideLayout" Target="../slideLayouts/slideLayout496.xml"/><Relationship Id="rId5" Type="http://schemas.openxmlformats.org/officeDocument/2006/relationships/slideLayout" Target="../slideLayouts/slideLayout490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495.xml"/><Relationship Id="rId4" Type="http://schemas.openxmlformats.org/officeDocument/2006/relationships/slideLayout" Target="../slideLayouts/slideLayout489.xml"/><Relationship Id="rId9" Type="http://schemas.openxmlformats.org/officeDocument/2006/relationships/slideLayout" Target="../slideLayouts/slideLayout494.xml"/><Relationship Id="rId14" Type="http://schemas.openxmlformats.org/officeDocument/2006/relationships/theme" Target="../theme/theme41.xml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6.xml"/><Relationship Id="rId13" Type="http://schemas.openxmlformats.org/officeDocument/2006/relationships/slideLayout" Target="../slideLayouts/slideLayout511.xml"/><Relationship Id="rId3" Type="http://schemas.openxmlformats.org/officeDocument/2006/relationships/slideLayout" Target="../slideLayouts/slideLayout501.xml"/><Relationship Id="rId7" Type="http://schemas.openxmlformats.org/officeDocument/2006/relationships/slideLayout" Target="../slideLayouts/slideLayout505.xml"/><Relationship Id="rId12" Type="http://schemas.openxmlformats.org/officeDocument/2006/relationships/slideLayout" Target="../slideLayouts/slideLayout510.xml"/><Relationship Id="rId2" Type="http://schemas.openxmlformats.org/officeDocument/2006/relationships/slideLayout" Target="../slideLayouts/slideLayout500.xml"/><Relationship Id="rId1" Type="http://schemas.openxmlformats.org/officeDocument/2006/relationships/slideLayout" Target="../slideLayouts/slideLayout499.xml"/><Relationship Id="rId6" Type="http://schemas.openxmlformats.org/officeDocument/2006/relationships/slideLayout" Target="../slideLayouts/slideLayout504.xml"/><Relationship Id="rId11" Type="http://schemas.openxmlformats.org/officeDocument/2006/relationships/slideLayout" Target="../slideLayouts/slideLayout509.xml"/><Relationship Id="rId5" Type="http://schemas.openxmlformats.org/officeDocument/2006/relationships/slideLayout" Target="../slideLayouts/slideLayout503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508.xml"/><Relationship Id="rId4" Type="http://schemas.openxmlformats.org/officeDocument/2006/relationships/slideLayout" Target="../slideLayouts/slideLayout502.xml"/><Relationship Id="rId9" Type="http://schemas.openxmlformats.org/officeDocument/2006/relationships/slideLayout" Target="../slideLayouts/slideLayout507.xml"/><Relationship Id="rId14" Type="http://schemas.openxmlformats.org/officeDocument/2006/relationships/theme" Target="../theme/theme42.xml"/></Relationships>
</file>

<file path=ppt/slideMasters/_rels/slideMaster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9.xml"/><Relationship Id="rId13" Type="http://schemas.openxmlformats.org/officeDocument/2006/relationships/slideLayout" Target="../slideLayouts/slideLayout524.xml"/><Relationship Id="rId3" Type="http://schemas.openxmlformats.org/officeDocument/2006/relationships/slideLayout" Target="../slideLayouts/slideLayout514.xml"/><Relationship Id="rId7" Type="http://schemas.openxmlformats.org/officeDocument/2006/relationships/slideLayout" Target="../slideLayouts/slideLayout518.xml"/><Relationship Id="rId12" Type="http://schemas.openxmlformats.org/officeDocument/2006/relationships/slideLayout" Target="../slideLayouts/slideLayout523.xml"/><Relationship Id="rId2" Type="http://schemas.openxmlformats.org/officeDocument/2006/relationships/slideLayout" Target="../slideLayouts/slideLayout513.xml"/><Relationship Id="rId1" Type="http://schemas.openxmlformats.org/officeDocument/2006/relationships/slideLayout" Target="../slideLayouts/slideLayout512.xml"/><Relationship Id="rId6" Type="http://schemas.openxmlformats.org/officeDocument/2006/relationships/slideLayout" Target="../slideLayouts/slideLayout517.xml"/><Relationship Id="rId11" Type="http://schemas.openxmlformats.org/officeDocument/2006/relationships/slideLayout" Target="../slideLayouts/slideLayout522.xml"/><Relationship Id="rId5" Type="http://schemas.openxmlformats.org/officeDocument/2006/relationships/slideLayout" Target="../slideLayouts/slideLayout516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521.xml"/><Relationship Id="rId4" Type="http://schemas.openxmlformats.org/officeDocument/2006/relationships/slideLayout" Target="../slideLayouts/slideLayout515.xml"/><Relationship Id="rId9" Type="http://schemas.openxmlformats.org/officeDocument/2006/relationships/slideLayout" Target="../slideLayouts/slideLayout520.xml"/><Relationship Id="rId14" Type="http://schemas.openxmlformats.org/officeDocument/2006/relationships/theme" Target="../theme/theme43.xml"/></Relationships>
</file>

<file path=ppt/slideMasters/_rels/slideMaster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2.xml"/><Relationship Id="rId13" Type="http://schemas.openxmlformats.org/officeDocument/2006/relationships/slideLayout" Target="../slideLayouts/slideLayout537.xml"/><Relationship Id="rId3" Type="http://schemas.openxmlformats.org/officeDocument/2006/relationships/slideLayout" Target="../slideLayouts/slideLayout527.xml"/><Relationship Id="rId7" Type="http://schemas.openxmlformats.org/officeDocument/2006/relationships/slideLayout" Target="../slideLayouts/slideLayout531.xml"/><Relationship Id="rId12" Type="http://schemas.openxmlformats.org/officeDocument/2006/relationships/slideLayout" Target="../slideLayouts/slideLayout536.xml"/><Relationship Id="rId2" Type="http://schemas.openxmlformats.org/officeDocument/2006/relationships/slideLayout" Target="../slideLayouts/slideLayout526.xml"/><Relationship Id="rId1" Type="http://schemas.openxmlformats.org/officeDocument/2006/relationships/slideLayout" Target="../slideLayouts/slideLayout525.xml"/><Relationship Id="rId6" Type="http://schemas.openxmlformats.org/officeDocument/2006/relationships/slideLayout" Target="../slideLayouts/slideLayout530.xml"/><Relationship Id="rId11" Type="http://schemas.openxmlformats.org/officeDocument/2006/relationships/slideLayout" Target="../slideLayouts/slideLayout535.xml"/><Relationship Id="rId5" Type="http://schemas.openxmlformats.org/officeDocument/2006/relationships/slideLayout" Target="../slideLayouts/slideLayout529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534.xml"/><Relationship Id="rId4" Type="http://schemas.openxmlformats.org/officeDocument/2006/relationships/slideLayout" Target="../slideLayouts/slideLayout528.xml"/><Relationship Id="rId9" Type="http://schemas.openxmlformats.org/officeDocument/2006/relationships/slideLayout" Target="../slideLayouts/slideLayout533.xml"/><Relationship Id="rId14" Type="http://schemas.openxmlformats.org/officeDocument/2006/relationships/theme" Target="../theme/theme44.xml"/></Relationships>
</file>

<file path=ppt/slideMasters/_rels/slideMaster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5.xml"/><Relationship Id="rId13" Type="http://schemas.openxmlformats.org/officeDocument/2006/relationships/slideLayout" Target="../slideLayouts/slideLayout550.xml"/><Relationship Id="rId3" Type="http://schemas.openxmlformats.org/officeDocument/2006/relationships/slideLayout" Target="../slideLayouts/slideLayout540.xml"/><Relationship Id="rId7" Type="http://schemas.openxmlformats.org/officeDocument/2006/relationships/slideLayout" Target="../slideLayouts/slideLayout544.xml"/><Relationship Id="rId12" Type="http://schemas.openxmlformats.org/officeDocument/2006/relationships/slideLayout" Target="../slideLayouts/slideLayout549.xml"/><Relationship Id="rId2" Type="http://schemas.openxmlformats.org/officeDocument/2006/relationships/slideLayout" Target="../slideLayouts/slideLayout539.xml"/><Relationship Id="rId1" Type="http://schemas.openxmlformats.org/officeDocument/2006/relationships/slideLayout" Target="../slideLayouts/slideLayout538.xml"/><Relationship Id="rId6" Type="http://schemas.openxmlformats.org/officeDocument/2006/relationships/slideLayout" Target="../slideLayouts/slideLayout543.xml"/><Relationship Id="rId11" Type="http://schemas.openxmlformats.org/officeDocument/2006/relationships/slideLayout" Target="../slideLayouts/slideLayout548.xml"/><Relationship Id="rId5" Type="http://schemas.openxmlformats.org/officeDocument/2006/relationships/slideLayout" Target="../slideLayouts/slideLayout542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547.xml"/><Relationship Id="rId4" Type="http://schemas.openxmlformats.org/officeDocument/2006/relationships/slideLayout" Target="../slideLayouts/slideLayout541.xml"/><Relationship Id="rId9" Type="http://schemas.openxmlformats.org/officeDocument/2006/relationships/slideLayout" Target="../slideLayouts/slideLayout546.xml"/><Relationship Id="rId14" Type="http://schemas.openxmlformats.org/officeDocument/2006/relationships/theme" Target="../theme/theme45.xml"/></Relationships>
</file>

<file path=ppt/slideMasters/_rels/slideMaster4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8.xml"/><Relationship Id="rId13" Type="http://schemas.openxmlformats.org/officeDocument/2006/relationships/slideLayout" Target="../slideLayouts/slideLayout563.xml"/><Relationship Id="rId3" Type="http://schemas.openxmlformats.org/officeDocument/2006/relationships/slideLayout" Target="../slideLayouts/slideLayout553.xml"/><Relationship Id="rId7" Type="http://schemas.openxmlformats.org/officeDocument/2006/relationships/slideLayout" Target="../slideLayouts/slideLayout557.xml"/><Relationship Id="rId12" Type="http://schemas.openxmlformats.org/officeDocument/2006/relationships/slideLayout" Target="../slideLayouts/slideLayout562.xml"/><Relationship Id="rId2" Type="http://schemas.openxmlformats.org/officeDocument/2006/relationships/slideLayout" Target="../slideLayouts/slideLayout552.xml"/><Relationship Id="rId1" Type="http://schemas.openxmlformats.org/officeDocument/2006/relationships/slideLayout" Target="../slideLayouts/slideLayout551.xml"/><Relationship Id="rId6" Type="http://schemas.openxmlformats.org/officeDocument/2006/relationships/slideLayout" Target="../slideLayouts/slideLayout556.xml"/><Relationship Id="rId11" Type="http://schemas.openxmlformats.org/officeDocument/2006/relationships/slideLayout" Target="../slideLayouts/slideLayout561.xml"/><Relationship Id="rId5" Type="http://schemas.openxmlformats.org/officeDocument/2006/relationships/slideLayout" Target="../slideLayouts/slideLayout55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560.xml"/><Relationship Id="rId4" Type="http://schemas.openxmlformats.org/officeDocument/2006/relationships/slideLayout" Target="../slideLayouts/slideLayout554.xml"/><Relationship Id="rId9" Type="http://schemas.openxmlformats.org/officeDocument/2006/relationships/slideLayout" Target="../slideLayouts/slideLayout559.xml"/><Relationship Id="rId14" Type="http://schemas.openxmlformats.org/officeDocument/2006/relationships/theme" Target="../theme/theme46.xml"/></Relationships>
</file>

<file path=ppt/slideMasters/_rels/slideMaster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1.xml"/><Relationship Id="rId13" Type="http://schemas.openxmlformats.org/officeDocument/2006/relationships/slideLayout" Target="../slideLayouts/slideLayout576.xml"/><Relationship Id="rId3" Type="http://schemas.openxmlformats.org/officeDocument/2006/relationships/slideLayout" Target="../slideLayouts/slideLayout566.xml"/><Relationship Id="rId7" Type="http://schemas.openxmlformats.org/officeDocument/2006/relationships/slideLayout" Target="../slideLayouts/slideLayout570.xml"/><Relationship Id="rId12" Type="http://schemas.openxmlformats.org/officeDocument/2006/relationships/slideLayout" Target="../slideLayouts/slideLayout575.xml"/><Relationship Id="rId2" Type="http://schemas.openxmlformats.org/officeDocument/2006/relationships/slideLayout" Target="../slideLayouts/slideLayout565.xml"/><Relationship Id="rId1" Type="http://schemas.openxmlformats.org/officeDocument/2006/relationships/slideLayout" Target="../slideLayouts/slideLayout564.xml"/><Relationship Id="rId6" Type="http://schemas.openxmlformats.org/officeDocument/2006/relationships/slideLayout" Target="../slideLayouts/slideLayout569.xml"/><Relationship Id="rId11" Type="http://schemas.openxmlformats.org/officeDocument/2006/relationships/slideLayout" Target="../slideLayouts/slideLayout574.xml"/><Relationship Id="rId5" Type="http://schemas.openxmlformats.org/officeDocument/2006/relationships/slideLayout" Target="../slideLayouts/slideLayout568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573.xml"/><Relationship Id="rId4" Type="http://schemas.openxmlformats.org/officeDocument/2006/relationships/slideLayout" Target="../slideLayouts/slideLayout567.xml"/><Relationship Id="rId9" Type="http://schemas.openxmlformats.org/officeDocument/2006/relationships/slideLayout" Target="../slideLayouts/slideLayout572.xml"/><Relationship Id="rId14" Type="http://schemas.openxmlformats.org/officeDocument/2006/relationships/theme" Target="../theme/theme4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slideLayout" Target="../slideLayouts/slideLayout91.xml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0.xml"/><Relationship Id="rId2" Type="http://schemas.openxmlformats.org/officeDocument/2006/relationships/slideLayout" Target="../slideLayouts/slideLayout80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slideLayout" Target="../slideLayouts/slideLayout117.xml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09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ea typeface="+mn-ea"/>
                <a:cs typeface="+mn-cs"/>
              </a:defRPr>
            </a:lvl1pPr>
          </a:lstStyle>
          <a:p>
            <a:pPr>
              <a:defRPr/>
            </a:pPr>
            <a:fld id="{51E1A8E5-6256-44F5-9C3E-59EC7E2371AE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  <p:sp>
        <p:nvSpPr>
          <p:cNvPr id="1027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/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1029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1030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/>
          </a:p>
        </p:txBody>
      </p:sp>
      <p:pic>
        <p:nvPicPr>
          <p:cNvPr id="1031" name="그림 1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85442"/>
          <a:stretch>
            <a:fillRect/>
          </a:stretch>
        </p:blipFill>
        <p:spPr bwMode="auto">
          <a:xfrm>
            <a:off x="0" y="6154738"/>
            <a:ext cx="9906000" cy="703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29344726-DD68-4AA5-82D4-4C43180DDEE9}" type="slidenum">
              <a:rPr lang="en-US" altLang="ko-KR" sz="800" u="none" smtClean="0"/>
              <a:pPr algn="ctr">
                <a:defRPr/>
              </a:pPr>
              <a:t>‹#›</a:t>
            </a:fld>
            <a:endParaRPr lang="en-US" altLang="ko-KR" sz="800" u="none" dirty="0"/>
          </a:p>
        </p:txBody>
      </p:sp>
      <p:pic>
        <p:nvPicPr>
          <p:cNvPr id="1033" name="Picture 2" descr="ABInBev_A5_RGB_LO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r="4887" b="30942"/>
          <a:stretch>
            <a:fillRect/>
          </a:stretch>
        </p:blipFill>
        <p:spPr bwMode="auto">
          <a:xfrm>
            <a:off x="7256463" y="5891213"/>
            <a:ext cx="1296987" cy="73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0226" r:id="rId1"/>
    <p:sldLayoutId id="2147490227" r:id="rId2"/>
    <p:sldLayoutId id="2147490228" r:id="rId3"/>
    <p:sldLayoutId id="2147490229" r:id="rId4"/>
    <p:sldLayoutId id="2147490230" r:id="rId5"/>
    <p:sldLayoutId id="2147490231" r:id="rId6"/>
    <p:sldLayoutId id="2147490232" r:id="rId7"/>
    <p:sldLayoutId id="2147490233" r:id="rId8"/>
    <p:sldLayoutId id="2147490234" r:id="rId9"/>
    <p:sldLayoutId id="2147490235" r:id="rId10"/>
    <p:sldLayoutId id="2147490236" r:id="rId11"/>
    <p:sldLayoutId id="2147490237" r:id="rId12"/>
    <p:sldLayoutId id="2147490238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ABInBev_A5_RGB_L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8497888" y="6075363"/>
            <a:ext cx="13700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solidFill>
                  <a:srgbClr val="000000"/>
                </a:solidFill>
                <a:ea typeface="+mn-ea"/>
                <a:cs typeface="+mn-cs"/>
              </a:defRPr>
            </a:lvl1pPr>
          </a:lstStyle>
          <a:p>
            <a:pPr>
              <a:defRPr/>
            </a:pPr>
            <a:fld id="{0714B0B4-E141-4C7B-843A-DAB99D8B304A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  <p:sp>
        <p:nvSpPr>
          <p:cNvPr id="10244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10246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10247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52051227-6561-4E92-8508-29D9D3867CF3}" type="slidenum">
              <a:rPr lang="en-US" altLang="ko-KR" sz="800" u="none" smtClean="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343" r:id="rId1"/>
    <p:sldLayoutId id="2147490344" r:id="rId2"/>
    <p:sldLayoutId id="2147490345" r:id="rId3"/>
    <p:sldLayoutId id="2147490346" r:id="rId4"/>
    <p:sldLayoutId id="2147490347" r:id="rId5"/>
    <p:sldLayoutId id="2147490348" r:id="rId6"/>
    <p:sldLayoutId id="2147490349" r:id="rId7"/>
    <p:sldLayoutId id="2147490350" r:id="rId8"/>
    <p:sldLayoutId id="2147490351" r:id="rId9"/>
    <p:sldLayoutId id="2147490352" r:id="rId10"/>
    <p:sldLayoutId id="2147490353" r:id="rId11"/>
    <p:sldLayoutId id="2147490354" r:id="rId12"/>
    <p:sldLayoutId id="2147490355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solidFill>
                  <a:srgbClr val="000000"/>
                </a:solidFill>
                <a:ea typeface="+mn-ea"/>
                <a:cs typeface="+mn-cs"/>
              </a:defRPr>
            </a:lvl1pPr>
          </a:lstStyle>
          <a:p>
            <a:pPr>
              <a:defRPr/>
            </a:pPr>
            <a:fld id="{5DEC2C5D-9FBA-482D-903E-732069F21389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  <p:sp>
        <p:nvSpPr>
          <p:cNvPr id="11267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/>
          </a:p>
        </p:txBody>
      </p:sp>
      <p:sp>
        <p:nvSpPr>
          <p:cNvPr id="1126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11269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11270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pic>
        <p:nvPicPr>
          <p:cNvPr id="11271" name="그림 1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85442"/>
          <a:stretch>
            <a:fillRect/>
          </a:stretch>
        </p:blipFill>
        <p:spPr bwMode="auto">
          <a:xfrm>
            <a:off x="0" y="6154738"/>
            <a:ext cx="9906000" cy="703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9DADE610-E36E-4984-A3F6-BCD201F0FABE}" type="slidenum">
              <a:rPr lang="en-US" altLang="ko-KR" sz="800" u="none" smtClean="0">
                <a:solidFill>
                  <a:srgbClr val="FFFFFF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FFFFFF"/>
              </a:solidFill>
            </a:endParaRPr>
          </a:p>
        </p:txBody>
      </p:sp>
      <p:pic>
        <p:nvPicPr>
          <p:cNvPr id="11273" name="Picture 2" descr="ABInBev_A5_RGB_LO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r="4887" b="30942"/>
          <a:stretch>
            <a:fillRect/>
          </a:stretch>
        </p:blipFill>
        <p:spPr bwMode="auto">
          <a:xfrm>
            <a:off x="7256463" y="5891213"/>
            <a:ext cx="1296987" cy="73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0356" r:id="rId1"/>
    <p:sldLayoutId id="2147490357" r:id="rId2"/>
    <p:sldLayoutId id="2147490358" r:id="rId3"/>
    <p:sldLayoutId id="2147490359" r:id="rId4"/>
    <p:sldLayoutId id="2147490360" r:id="rId5"/>
    <p:sldLayoutId id="2147490361" r:id="rId6"/>
    <p:sldLayoutId id="2147490362" r:id="rId7"/>
    <p:sldLayoutId id="2147490363" r:id="rId8"/>
    <p:sldLayoutId id="2147490364" r:id="rId9"/>
    <p:sldLayoutId id="2147490365" r:id="rId10"/>
    <p:sldLayoutId id="2147490366" r:id="rId11"/>
    <p:sldLayoutId id="2147490367" r:id="rId12"/>
    <p:sldLayoutId id="2147490368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 descr="ABInBev_A5_RGB_L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8497888" y="6075363"/>
            <a:ext cx="13700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solidFill>
                  <a:srgbClr val="000000"/>
                </a:solidFill>
                <a:ea typeface="+mn-ea"/>
                <a:cs typeface="+mn-cs"/>
              </a:defRPr>
            </a:lvl1pPr>
          </a:lstStyle>
          <a:p>
            <a:pPr>
              <a:defRPr/>
            </a:pPr>
            <a:fld id="{0FD1619D-04CA-45FE-A5BC-D8953C836222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  <p:sp>
        <p:nvSpPr>
          <p:cNvPr id="12292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/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12295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D4E0175D-2BC8-4173-A26F-2061E46F5AB6}" type="slidenum">
              <a:rPr lang="en-US" altLang="ko-KR" sz="800" u="none" smtClean="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369" r:id="rId1"/>
    <p:sldLayoutId id="2147490370" r:id="rId2"/>
    <p:sldLayoutId id="2147490371" r:id="rId3"/>
    <p:sldLayoutId id="2147490372" r:id="rId4"/>
    <p:sldLayoutId id="2147490373" r:id="rId5"/>
    <p:sldLayoutId id="2147490374" r:id="rId6"/>
    <p:sldLayoutId id="2147490375" r:id="rId7"/>
    <p:sldLayoutId id="2147490376" r:id="rId8"/>
    <p:sldLayoutId id="2147490377" r:id="rId9"/>
    <p:sldLayoutId id="2147490378" r:id="rId10"/>
    <p:sldLayoutId id="2147490379" r:id="rId11"/>
    <p:sldLayoutId id="2147490380" r:id="rId12"/>
    <p:sldLayoutId id="2147490381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4250" y="6583363"/>
            <a:ext cx="271463" cy="1095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 latinLnBrk="0">
              <a:lnSpc>
                <a:spcPct val="90000"/>
              </a:lnSpc>
              <a:spcBef>
                <a:spcPct val="20000"/>
              </a:spcBef>
              <a:defRPr kumimoji="0" sz="800" b="1" u="none">
                <a:solidFill>
                  <a:srgbClr val="000000"/>
                </a:solidFill>
                <a:latin typeface="Arial" charset="0"/>
                <a:ea typeface="굴림" pitchFamily="50" charset="-127"/>
                <a:cs typeface="+mn-cs"/>
              </a:defRPr>
            </a:lvl1pPr>
          </a:lstStyle>
          <a:p>
            <a:pPr>
              <a:defRPr/>
            </a:pPr>
            <a:fld id="{3F580102-996E-4178-9937-8A6D4BB87836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228138" y="6296025"/>
            <a:ext cx="639762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87313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13317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13318" name="Rectangle 7"/>
          <p:cNvSpPr>
            <a:spLocks noChangeArrowheads="1"/>
          </p:cNvSpPr>
          <p:nvPr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pPr algn="ctr">
              <a:lnSpc>
                <a:spcPct val="140000"/>
              </a:lnSpc>
            </a:pPr>
            <a:endParaRPr kumimoji="1" lang="ko-KR" altLang="en-US" u="none">
              <a:solidFill>
                <a:srgbClr val="000000"/>
              </a:solidFill>
              <a:latin typeface="Arial" pitchFamily="34" charset="0"/>
              <a:ea typeface="굴림" pitchFamily="50" charset="-127"/>
            </a:endParaRPr>
          </a:p>
        </p:txBody>
      </p:sp>
      <p:sp>
        <p:nvSpPr>
          <p:cNvPr id="1032" name="Text Box 8"/>
          <p:cNvSpPr txBox="1">
            <a:spLocks noChangeArrowheads="1"/>
          </p:cNvSpPr>
          <p:nvPr userDrawn="1"/>
        </p:nvSpPr>
        <p:spPr bwMode="auto">
          <a:xfrm>
            <a:off x="8877300" y="144463"/>
            <a:ext cx="890588" cy="5238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>
            <a:spAutoFit/>
          </a:bodyPr>
          <a:lstStyle>
            <a:lvl1pPr eaLnBrk="0" hangingPunct="0">
              <a:defRPr kumimoji="1" sz="200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kumimoji="1" sz="200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kumimoji="1" sz="200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kumimoji="1" sz="200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kumimoji="1" sz="200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 algn="ctr" eaLnBrk="1" hangingPunct="1">
              <a:lnSpc>
                <a:spcPct val="140000"/>
              </a:lnSpc>
              <a:defRPr/>
            </a:pPr>
            <a:r>
              <a:rPr lang="en-US" altLang="ko-KR" u="none" dirty="0">
                <a:solidFill>
                  <a:srgbClr val="FFFFFF"/>
                </a:solidFill>
              </a:rPr>
              <a:t>DRAFT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382" r:id="rId1"/>
    <p:sldLayoutId id="2147490383" r:id="rId2"/>
    <p:sldLayoutId id="2147490384" r:id="rId3"/>
    <p:sldLayoutId id="2147490385" r:id="rId4"/>
    <p:sldLayoutId id="2147490386" r:id="rId5"/>
    <p:sldLayoutId id="2147490387" r:id="rId6"/>
    <p:sldLayoutId id="2147490388" r:id="rId7"/>
    <p:sldLayoutId id="2147490389" r:id="rId8"/>
    <p:sldLayoutId id="2147490390" r:id="rId9"/>
    <p:sldLayoutId id="2147490391" r:id="rId10"/>
    <p:sldLayoutId id="2147490392" r:id="rId11"/>
    <p:sldLayoutId id="2147490393" r:id="rId12"/>
    <p:sldLayoutId id="2147490394" r:id="rId13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latinLnBrk="1" hangingPunct="0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6pPr>
      <a:lvl7pPr marL="914400" algn="l" rtl="0" fontAlgn="base" latinLnBrk="1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7pPr>
      <a:lvl8pPr marL="1371600" algn="l" rtl="0" fontAlgn="base" latinLnBrk="1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8pPr>
      <a:lvl9pPr marL="1828800" algn="l" rtl="0" fontAlgn="base" latinLnBrk="1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20000"/>
        </a:spcBef>
        <a:spcAft>
          <a:spcPct val="0"/>
        </a:spcAft>
        <a:buSzPct val="90000"/>
        <a:defRPr kumimoji="1" sz="1600" b="1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BottomBar"/>
          <p:cNvSpPr>
            <a:spLocks noChangeArrowheads="1"/>
          </p:cNvSpPr>
          <p:nvPr/>
        </p:nvSpPr>
        <p:spPr bwMode="auto">
          <a:xfrm>
            <a:off x="0" y="0"/>
            <a:ext cx="9906000" cy="549275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7740" tIns="48870" rIns="97740" bIns="48870" anchor="ctr"/>
          <a:lstStyle/>
          <a:p>
            <a:pPr eaLnBrk="0" hangingPunct="0">
              <a:defRPr/>
            </a:pPr>
            <a:endParaRPr lang="ko-KR" altLang="ko-KR" sz="1700" b="0" u="none" dirty="0">
              <a:solidFill>
                <a:srgbClr val="000000"/>
              </a:solidFill>
              <a:latin typeface="Arial" pitchFamily="34" charset="0"/>
              <a:ea typeface="굴림" pitchFamily="50" charset="-127"/>
            </a:endParaRPr>
          </a:p>
        </p:txBody>
      </p:sp>
      <p:sp>
        <p:nvSpPr>
          <p:cNvPr id="10" name="SlideBottomBar"/>
          <p:cNvSpPr>
            <a:spLocks noChangeArrowheads="1"/>
          </p:cNvSpPr>
          <p:nvPr/>
        </p:nvSpPr>
        <p:spPr bwMode="auto">
          <a:xfrm>
            <a:off x="0" y="0"/>
            <a:ext cx="9906000" cy="549275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7740" tIns="48870" rIns="97740" bIns="48870" anchor="ctr"/>
          <a:lstStyle/>
          <a:p>
            <a:pPr eaLnBrk="0" hangingPunct="0">
              <a:defRPr/>
            </a:pPr>
            <a:endParaRPr lang="ko-KR" altLang="ko-KR" sz="1700" b="0" u="none" dirty="0">
              <a:solidFill>
                <a:srgbClr val="000000"/>
              </a:solidFill>
              <a:latin typeface="Arial" pitchFamily="34" charset="0"/>
              <a:ea typeface="굴림" pitchFamily="50" charset="-127"/>
            </a:endParaRPr>
          </a:p>
        </p:txBody>
      </p:sp>
      <p:sp>
        <p:nvSpPr>
          <p:cNvPr id="14340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5888"/>
            <a:ext cx="5032375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</a:p>
        </p:txBody>
      </p:sp>
      <p:sp>
        <p:nvSpPr>
          <p:cNvPr id="14341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84213"/>
            <a:ext cx="936625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17" name="Rectangle 280"/>
          <p:cNvSpPr txBox="1">
            <a:spLocks noChangeArrowheads="1"/>
          </p:cNvSpPr>
          <p:nvPr/>
        </p:nvSpPr>
        <p:spPr bwMode="auto">
          <a:xfrm>
            <a:off x="9445625" y="6565900"/>
            <a:ext cx="215900" cy="15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>
            <a:lvl1pPr>
              <a:defRPr sz="1100" b="0" smtClean="0">
                <a:solidFill>
                  <a:srgbClr val="000000"/>
                </a:solidFill>
                <a:ea typeface="굴림" pitchFamily="50" charset="-127"/>
              </a:defRPr>
            </a:lvl1pPr>
          </a:lstStyle>
          <a:p>
            <a:pPr>
              <a:defRPr/>
            </a:pPr>
            <a:fld id="{24FA181A-6E73-4E92-BAE6-0E869BE689DE}" type="slidenum">
              <a:rPr lang="en-US" altLang="ko-KR" u="none">
                <a:latin typeface="맑은 고딕" pitchFamily="50" charset="-127"/>
                <a:ea typeface="맑은 고딕" pitchFamily="50" charset="-127"/>
              </a:rPr>
              <a:pPr>
                <a:defRPr/>
              </a:pPr>
              <a:t>‹#›</a:t>
            </a:fld>
            <a:r>
              <a:rPr lang="en-US" altLang="ko-KR" u="none" dirty="0">
                <a:latin typeface="맑은 고딕" pitchFamily="50" charset="-127"/>
                <a:ea typeface="맑은 고딕" pitchFamily="50" charset="-127"/>
              </a:rPr>
              <a:t> </a:t>
            </a:r>
          </a:p>
        </p:txBody>
      </p:sp>
      <p:sp>
        <p:nvSpPr>
          <p:cNvPr id="14343" name="SlideLogoSeparator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305925" y="6527800"/>
            <a:ext cx="44450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55675" eaLnBrk="0" hangingPunct="0"/>
            <a:r>
              <a:rPr lang="en-US" altLang="ko-KR" sz="1300" b="0" u="none">
                <a:solidFill>
                  <a:srgbClr val="000000"/>
                </a:solidFill>
                <a:latin typeface="Arial" pitchFamily="34" charset="0"/>
                <a:ea typeface="굴림" pitchFamily="50" charset="-127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395" r:id="rId1"/>
    <p:sldLayoutId id="2147490220" r:id="rId2"/>
    <p:sldLayoutId id="2147490221" r:id="rId3"/>
  </p:sldLayoutIdLst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chemeClr val="tx1"/>
          </a:solidFill>
          <a:latin typeface="맑은 고딕" pitchFamily="50" charset="-127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Arial" charset="0"/>
          <a:ea typeface="돋움" pitchFamily="50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Arial" charset="0"/>
          <a:ea typeface="돋움" pitchFamily="50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Arial" charset="0"/>
          <a:ea typeface="돋움" pitchFamily="50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Arial" charset="0"/>
          <a:ea typeface="돋움" pitchFamily="50" charset="-127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kumimoji="1" b="1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1pPr>
      <a:lvl2pPr marL="760413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굴림" pitchFamily="50" charset="-127"/>
          <a:ea typeface="굴림" pitchFamily="50" charset="-127"/>
        </a:defRPr>
      </a:lvl2pPr>
      <a:lvl3pPr marL="1179513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굴림" pitchFamily="50" charset="-127"/>
          <a:ea typeface="굴림" pitchFamily="50" charset="-127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BottomBar"/>
          <p:cNvSpPr>
            <a:spLocks noChangeArrowheads="1"/>
          </p:cNvSpPr>
          <p:nvPr/>
        </p:nvSpPr>
        <p:spPr bwMode="auto">
          <a:xfrm>
            <a:off x="0" y="0"/>
            <a:ext cx="9906000" cy="549275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7740" tIns="48870" rIns="97740" bIns="48870" anchor="ctr"/>
          <a:lstStyle/>
          <a:p>
            <a:pPr eaLnBrk="0" hangingPunct="0">
              <a:defRPr/>
            </a:pPr>
            <a:endParaRPr lang="ko-KR" altLang="ko-KR" sz="1700" b="0" u="none" dirty="0">
              <a:solidFill>
                <a:srgbClr val="000000"/>
              </a:solidFill>
              <a:latin typeface="Arial" pitchFamily="34" charset="0"/>
              <a:ea typeface="굴림" pitchFamily="50" charset="-127"/>
            </a:endParaRPr>
          </a:p>
        </p:txBody>
      </p:sp>
      <p:sp>
        <p:nvSpPr>
          <p:cNvPr id="10" name="SlideBottomBar"/>
          <p:cNvSpPr>
            <a:spLocks noChangeArrowheads="1"/>
          </p:cNvSpPr>
          <p:nvPr/>
        </p:nvSpPr>
        <p:spPr bwMode="auto">
          <a:xfrm>
            <a:off x="0" y="0"/>
            <a:ext cx="9906000" cy="549275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7740" tIns="48870" rIns="97740" bIns="48870" anchor="ctr"/>
          <a:lstStyle/>
          <a:p>
            <a:pPr eaLnBrk="0" hangingPunct="0">
              <a:defRPr/>
            </a:pPr>
            <a:endParaRPr lang="ko-KR" altLang="ko-KR" sz="1700" b="0" u="none" dirty="0">
              <a:solidFill>
                <a:srgbClr val="000000"/>
              </a:solidFill>
              <a:latin typeface="Arial" pitchFamily="34" charset="0"/>
              <a:ea typeface="굴림" pitchFamily="50" charset="-127"/>
            </a:endParaRPr>
          </a:p>
        </p:txBody>
      </p:sp>
      <p:sp>
        <p:nvSpPr>
          <p:cNvPr id="15364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5888"/>
            <a:ext cx="5032375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</a:p>
        </p:txBody>
      </p:sp>
      <p:sp>
        <p:nvSpPr>
          <p:cNvPr id="15365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84213"/>
            <a:ext cx="936625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17" name="Rectangle 280"/>
          <p:cNvSpPr txBox="1">
            <a:spLocks noChangeArrowheads="1"/>
          </p:cNvSpPr>
          <p:nvPr/>
        </p:nvSpPr>
        <p:spPr bwMode="auto">
          <a:xfrm>
            <a:off x="9445625" y="6565900"/>
            <a:ext cx="215900" cy="15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>
            <a:lvl1pPr>
              <a:defRPr sz="1100" b="0" smtClean="0">
                <a:solidFill>
                  <a:srgbClr val="000000"/>
                </a:solidFill>
                <a:ea typeface="굴림" pitchFamily="50" charset="-127"/>
              </a:defRPr>
            </a:lvl1pPr>
          </a:lstStyle>
          <a:p>
            <a:pPr>
              <a:defRPr/>
            </a:pPr>
            <a:fld id="{F24E9EE0-DF35-4E75-A216-F15A806F2460}" type="slidenum">
              <a:rPr lang="en-US" altLang="ko-KR" u="none">
                <a:latin typeface="맑은 고딕" pitchFamily="50" charset="-127"/>
                <a:ea typeface="맑은 고딕" pitchFamily="50" charset="-127"/>
              </a:rPr>
              <a:pPr>
                <a:defRPr/>
              </a:pPr>
              <a:t>‹#›</a:t>
            </a:fld>
            <a:r>
              <a:rPr lang="en-US" altLang="ko-KR" u="none" dirty="0">
                <a:latin typeface="맑은 고딕" pitchFamily="50" charset="-127"/>
                <a:ea typeface="맑은 고딕" pitchFamily="50" charset="-127"/>
              </a:rPr>
              <a:t> </a:t>
            </a:r>
          </a:p>
        </p:txBody>
      </p:sp>
      <p:sp>
        <p:nvSpPr>
          <p:cNvPr id="15367" name="SlideLogoSeparator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305925" y="6527800"/>
            <a:ext cx="44450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55675" eaLnBrk="0" hangingPunct="0"/>
            <a:r>
              <a:rPr lang="en-US" altLang="ko-KR" sz="1300" b="0" u="none">
                <a:solidFill>
                  <a:srgbClr val="000000"/>
                </a:solidFill>
                <a:latin typeface="Arial" pitchFamily="34" charset="0"/>
                <a:ea typeface="굴림" pitchFamily="50" charset="-127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396" r:id="rId1"/>
    <p:sldLayoutId id="2147490222" r:id="rId2"/>
    <p:sldLayoutId id="2147490223" r:id="rId3"/>
  </p:sldLayoutIdLst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chemeClr val="tx1"/>
          </a:solidFill>
          <a:latin typeface="맑은 고딕" pitchFamily="50" charset="-127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Arial" charset="0"/>
          <a:ea typeface="돋움" pitchFamily="50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Arial" charset="0"/>
          <a:ea typeface="돋움" pitchFamily="50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Arial" charset="0"/>
          <a:ea typeface="돋움" pitchFamily="50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Arial" charset="0"/>
          <a:ea typeface="돋움" pitchFamily="50" charset="-127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kumimoji="1" b="1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1pPr>
      <a:lvl2pPr marL="760413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굴림" pitchFamily="50" charset="-127"/>
          <a:ea typeface="굴림" pitchFamily="50" charset="-127"/>
        </a:defRPr>
      </a:lvl2pPr>
      <a:lvl3pPr marL="1179513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굴림" pitchFamily="50" charset="-127"/>
          <a:ea typeface="굴림" pitchFamily="50" charset="-127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4250" y="6583363"/>
            <a:ext cx="271463" cy="1095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 latinLnBrk="0">
              <a:lnSpc>
                <a:spcPct val="90000"/>
              </a:lnSpc>
              <a:spcBef>
                <a:spcPct val="20000"/>
              </a:spcBef>
              <a:defRPr kumimoji="0" sz="800" b="1" u="none">
                <a:solidFill>
                  <a:srgbClr val="000000"/>
                </a:solidFill>
                <a:latin typeface="Arial" charset="0"/>
                <a:ea typeface="굴림" pitchFamily="50" charset="-127"/>
                <a:cs typeface="+mn-cs"/>
              </a:defRPr>
            </a:lvl1pPr>
          </a:lstStyle>
          <a:p>
            <a:pPr>
              <a:defRPr/>
            </a:pPr>
            <a:fld id="{F16EE3C0-2FCA-4843-AEAF-1393463C1CCC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228138" y="6296025"/>
            <a:ext cx="639762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8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87313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16389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16390" name="Rectangle 7"/>
          <p:cNvSpPr>
            <a:spLocks noChangeArrowheads="1"/>
          </p:cNvSpPr>
          <p:nvPr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pPr algn="ctr">
              <a:lnSpc>
                <a:spcPct val="140000"/>
              </a:lnSpc>
            </a:pPr>
            <a:endParaRPr kumimoji="1" lang="ko-KR" altLang="en-US" u="none">
              <a:solidFill>
                <a:srgbClr val="000000"/>
              </a:solidFill>
              <a:latin typeface="Arial" pitchFamily="34" charset="0"/>
              <a:ea typeface="굴림" pitchFamily="50" charset="-127"/>
            </a:endParaRPr>
          </a:p>
        </p:txBody>
      </p:sp>
      <p:sp>
        <p:nvSpPr>
          <p:cNvPr id="1032" name="Text Box 8"/>
          <p:cNvSpPr txBox="1">
            <a:spLocks noChangeArrowheads="1"/>
          </p:cNvSpPr>
          <p:nvPr userDrawn="1"/>
        </p:nvSpPr>
        <p:spPr bwMode="auto">
          <a:xfrm>
            <a:off x="8877300" y="144463"/>
            <a:ext cx="890588" cy="5238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>
            <a:spAutoFit/>
          </a:bodyPr>
          <a:lstStyle>
            <a:lvl1pPr eaLnBrk="0" hangingPunct="0">
              <a:defRPr kumimoji="1" sz="200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kumimoji="1" sz="200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kumimoji="1" sz="200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kumimoji="1" sz="200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kumimoji="1" sz="200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 algn="ctr" eaLnBrk="1" hangingPunct="1">
              <a:lnSpc>
                <a:spcPct val="140000"/>
              </a:lnSpc>
              <a:defRPr/>
            </a:pPr>
            <a:r>
              <a:rPr lang="en-US" altLang="ko-KR" u="none" dirty="0">
                <a:solidFill>
                  <a:srgbClr val="FFFFFF"/>
                </a:solidFill>
              </a:rPr>
              <a:t>DRAFT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397" r:id="rId1"/>
    <p:sldLayoutId id="2147490398" r:id="rId2"/>
    <p:sldLayoutId id="2147490399" r:id="rId3"/>
    <p:sldLayoutId id="2147490400" r:id="rId4"/>
    <p:sldLayoutId id="2147490401" r:id="rId5"/>
    <p:sldLayoutId id="2147490402" r:id="rId6"/>
    <p:sldLayoutId id="2147490403" r:id="rId7"/>
    <p:sldLayoutId id="2147490404" r:id="rId8"/>
    <p:sldLayoutId id="2147490405" r:id="rId9"/>
    <p:sldLayoutId id="2147490406" r:id="rId10"/>
    <p:sldLayoutId id="2147490407" r:id="rId11"/>
    <p:sldLayoutId id="2147490408" r:id="rId12"/>
    <p:sldLayoutId id="2147490409" r:id="rId13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latinLnBrk="1" hangingPunct="0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6pPr>
      <a:lvl7pPr marL="914400" algn="l" rtl="0" fontAlgn="base" latinLnBrk="1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7pPr>
      <a:lvl8pPr marL="1371600" algn="l" rtl="0" fontAlgn="base" latinLnBrk="1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8pPr>
      <a:lvl9pPr marL="1828800" algn="l" rtl="0" fontAlgn="base" latinLnBrk="1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20000"/>
        </a:spcBef>
        <a:spcAft>
          <a:spcPct val="0"/>
        </a:spcAft>
        <a:buSzPct val="90000"/>
        <a:defRPr kumimoji="1" sz="1600" b="1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 descr="ABInBev_A5_RGB_L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8497888" y="6075363"/>
            <a:ext cx="13700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solidFill>
                  <a:srgbClr val="000000"/>
                </a:solidFill>
                <a:ea typeface="+mn-ea"/>
                <a:cs typeface="+mn-cs"/>
              </a:defRPr>
            </a:lvl1pPr>
          </a:lstStyle>
          <a:p>
            <a:pPr>
              <a:defRPr/>
            </a:pPr>
            <a:fld id="{9FD561D3-8C81-4451-B16F-DE0D80023CE4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  <p:sp>
        <p:nvSpPr>
          <p:cNvPr id="17412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/>
          </a:p>
        </p:txBody>
      </p:sp>
      <p:sp>
        <p:nvSpPr>
          <p:cNvPr id="1741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17414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17415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DC59AA31-82CF-492C-B362-08E0A6686261}" type="slidenum">
              <a:rPr lang="en-US" altLang="ko-KR" sz="800" u="none" smtClean="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410" r:id="rId1"/>
    <p:sldLayoutId id="2147490411" r:id="rId2"/>
    <p:sldLayoutId id="2147490412" r:id="rId3"/>
    <p:sldLayoutId id="2147490413" r:id="rId4"/>
    <p:sldLayoutId id="2147490414" r:id="rId5"/>
    <p:sldLayoutId id="2147490415" r:id="rId6"/>
    <p:sldLayoutId id="2147490416" r:id="rId7"/>
    <p:sldLayoutId id="2147490417" r:id="rId8"/>
    <p:sldLayoutId id="2147490418" r:id="rId9"/>
    <p:sldLayoutId id="2147490419" r:id="rId10"/>
    <p:sldLayoutId id="2147490420" r:id="rId11"/>
    <p:sldLayoutId id="2147490421" r:id="rId12"/>
    <p:sldLayoutId id="2147490422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 descr="ABInBev_A5_RGB_L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8497888" y="6075363"/>
            <a:ext cx="13700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solidFill>
                  <a:srgbClr val="000000"/>
                </a:solidFill>
                <a:ea typeface="+mn-ea"/>
                <a:cs typeface="+mn-cs"/>
              </a:defRPr>
            </a:lvl1pPr>
          </a:lstStyle>
          <a:p>
            <a:pPr>
              <a:defRPr/>
            </a:pPr>
            <a:fld id="{4863347B-23E6-40DA-89D8-392799428B49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  <p:sp>
        <p:nvSpPr>
          <p:cNvPr id="18436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/>
          </a:p>
        </p:txBody>
      </p:sp>
      <p:sp>
        <p:nvSpPr>
          <p:cNvPr id="18437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18438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18439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F40A6392-B726-403A-BCDA-F01A39DBEF91}" type="slidenum">
              <a:rPr lang="en-US" altLang="ko-KR" sz="800" u="none" smtClean="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423" r:id="rId1"/>
    <p:sldLayoutId id="2147490424" r:id="rId2"/>
    <p:sldLayoutId id="2147490425" r:id="rId3"/>
    <p:sldLayoutId id="2147490426" r:id="rId4"/>
    <p:sldLayoutId id="2147490427" r:id="rId5"/>
    <p:sldLayoutId id="2147490428" r:id="rId6"/>
    <p:sldLayoutId id="2147490429" r:id="rId7"/>
    <p:sldLayoutId id="2147490430" r:id="rId8"/>
    <p:sldLayoutId id="2147490431" r:id="rId9"/>
    <p:sldLayoutId id="2147490432" r:id="rId10"/>
    <p:sldLayoutId id="2147490433" r:id="rId11"/>
    <p:sldLayoutId id="2147490434" r:id="rId12"/>
    <p:sldLayoutId id="2147490435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 descr="ABInBev_A5_RGB_L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8497888" y="6075363"/>
            <a:ext cx="13700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solidFill>
                  <a:srgbClr val="000000"/>
                </a:solidFill>
                <a:ea typeface="+mn-ea"/>
                <a:cs typeface="+mn-cs"/>
              </a:defRPr>
            </a:lvl1pPr>
          </a:lstStyle>
          <a:p>
            <a:pPr>
              <a:defRPr/>
            </a:pPr>
            <a:fld id="{07E1E668-3329-4A3D-9EE4-7CACDDD47070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  <p:sp>
        <p:nvSpPr>
          <p:cNvPr id="19460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/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19462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19463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E85D7BED-E83A-4A5D-BD3B-8233EE7B3CFE}" type="slidenum">
              <a:rPr lang="en-US" altLang="ko-KR" sz="800" u="none" smtClean="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436" r:id="rId1"/>
    <p:sldLayoutId id="2147490437" r:id="rId2"/>
    <p:sldLayoutId id="2147490438" r:id="rId3"/>
    <p:sldLayoutId id="2147490439" r:id="rId4"/>
    <p:sldLayoutId id="2147490440" r:id="rId5"/>
    <p:sldLayoutId id="2147490441" r:id="rId6"/>
    <p:sldLayoutId id="2147490442" r:id="rId7"/>
    <p:sldLayoutId id="2147490443" r:id="rId8"/>
    <p:sldLayoutId id="2147490444" r:id="rId9"/>
    <p:sldLayoutId id="2147490445" r:id="rId10"/>
    <p:sldLayoutId id="2147490446" r:id="rId11"/>
    <p:sldLayoutId id="2147490447" r:id="rId12"/>
    <p:sldLayoutId id="2147490448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ABInBev_A5_RGB_L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8497888" y="6075363"/>
            <a:ext cx="13700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ea typeface="+mn-ea"/>
                <a:cs typeface="+mn-cs"/>
              </a:defRPr>
            </a:lvl1pPr>
          </a:lstStyle>
          <a:p>
            <a:pPr>
              <a:defRPr/>
            </a:pPr>
            <a:fld id="{CD6D44FA-CF6D-4A0A-A070-F5A4A63A6A3C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  <p:sp>
        <p:nvSpPr>
          <p:cNvPr id="2052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/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2055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/>
          </a:p>
        </p:txBody>
      </p:sp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6D5F386C-F052-4F6E-95C0-859EA6C87ECA}" type="slidenum">
              <a:rPr lang="en-US" altLang="ko-KR" sz="800" u="none" smtClean="0">
                <a:solidFill>
                  <a:schemeClr val="tx1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239" r:id="rId1"/>
    <p:sldLayoutId id="2147490240" r:id="rId2"/>
    <p:sldLayoutId id="2147490241" r:id="rId3"/>
    <p:sldLayoutId id="2147490242" r:id="rId4"/>
    <p:sldLayoutId id="2147490243" r:id="rId5"/>
    <p:sldLayoutId id="2147490244" r:id="rId6"/>
    <p:sldLayoutId id="2147490245" r:id="rId7"/>
    <p:sldLayoutId id="2147490246" r:id="rId8"/>
    <p:sldLayoutId id="2147490247" r:id="rId9"/>
    <p:sldLayoutId id="2147490248" r:id="rId10"/>
    <p:sldLayoutId id="2147490249" r:id="rId11"/>
    <p:sldLayoutId id="2147490250" r:id="rId12"/>
    <p:sldLayoutId id="2147490251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2" descr="ABInBev_A5_RGB_L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8497888" y="6075363"/>
            <a:ext cx="13700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solidFill>
                  <a:srgbClr val="000000"/>
                </a:solidFill>
                <a:ea typeface="+mn-ea"/>
                <a:cs typeface="+mn-cs"/>
              </a:defRPr>
            </a:lvl1pPr>
          </a:lstStyle>
          <a:p>
            <a:pPr>
              <a:defRPr/>
            </a:pPr>
            <a:fld id="{ECBC5DC4-DF47-410C-A027-0C7D8C3A96CD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  <p:sp>
        <p:nvSpPr>
          <p:cNvPr id="20484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/>
          </a:p>
        </p:txBody>
      </p:sp>
      <p:sp>
        <p:nvSpPr>
          <p:cNvPr id="20485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20486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20487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16B8A00D-0936-4B09-A6EA-77CA3381138C}" type="slidenum">
              <a:rPr lang="en-US" altLang="ko-KR" sz="800" u="none" smtClean="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449" r:id="rId1"/>
    <p:sldLayoutId id="2147490450" r:id="rId2"/>
    <p:sldLayoutId id="2147490451" r:id="rId3"/>
    <p:sldLayoutId id="2147490452" r:id="rId4"/>
    <p:sldLayoutId id="2147490453" r:id="rId5"/>
    <p:sldLayoutId id="2147490454" r:id="rId6"/>
    <p:sldLayoutId id="2147490455" r:id="rId7"/>
    <p:sldLayoutId id="2147490456" r:id="rId8"/>
    <p:sldLayoutId id="2147490457" r:id="rId9"/>
    <p:sldLayoutId id="2147490458" r:id="rId10"/>
    <p:sldLayoutId id="2147490459" r:id="rId11"/>
    <p:sldLayoutId id="2147490460" r:id="rId12"/>
    <p:sldLayoutId id="2147490461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ABInBev_A5_RGB_L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8497888" y="6075363"/>
            <a:ext cx="13700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solidFill>
                  <a:srgbClr val="000000"/>
                </a:solidFill>
                <a:ea typeface="+mn-ea"/>
                <a:cs typeface="+mn-cs"/>
              </a:defRPr>
            </a:lvl1pPr>
          </a:lstStyle>
          <a:p>
            <a:pPr>
              <a:defRPr/>
            </a:pPr>
            <a:fld id="{5B3855E2-544D-4533-B4ED-0CE335A43A63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  <p:sp>
        <p:nvSpPr>
          <p:cNvPr id="21508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/>
          </a:p>
        </p:txBody>
      </p:sp>
      <p:sp>
        <p:nvSpPr>
          <p:cNvPr id="21509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21510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21511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3AF354B7-E3E4-415E-A14E-97454B97F0AF}" type="slidenum">
              <a:rPr lang="en-US" altLang="ko-KR" sz="800" u="none" smtClean="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462" r:id="rId1"/>
    <p:sldLayoutId id="2147490463" r:id="rId2"/>
    <p:sldLayoutId id="2147490464" r:id="rId3"/>
    <p:sldLayoutId id="2147490465" r:id="rId4"/>
    <p:sldLayoutId id="2147490466" r:id="rId5"/>
    <p:sldLayoutId id="2147490467" r:id="rId6"/>
    <p:sldLayoutId id="2147490468" r:id="rId7"/>
    <p:sldLayoutId id="2147490469" r:id="rId8"/>
    <p:sldLayoutId id="2147490470" r:id="rId9"/>
    <p:sldLayoutId id="2147490471" r:id="rId10"/>
    <p:sldLayoutId id="2147490472" r:id="rId11"/>
    <p:sldLayoutId id="2147490473" r:id="rId12"/>
    <p:sldLayoutId id="2147490474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BottomBar"/>
          <p:cNvSpPr>
            <a:spLocks noChangeArrowheads="1"/>
          </p:cNvSpPr>
          <p:nvPr/>
        </p:nvSpPr>
        <p:spPr bwMode="auto">
          <a:xfrm>
            <a:off x="0" y="0"/>
            <a:ext cx="9906000" cy="549275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7740" tIns="48870" rIns="97740" bIns="48870" anchor="ctr"/>
          <a:lstStyle/>
          <a:p>
            <a:pPr eaLnBrk="0" hangingPunct="0">
              <a:defRPr/>
            </a:pPr>
            <a:endParaRPr lang="ko-KR" altLang="ko-KR" sz="1700" b="0" u="none" dirty="0">
              <a:solidFill>
                <a:srgbClr val="000000"/>
              </a:solidFill>
              <a:latin typeface="Arial" pitchFamily="34" charset="0"/>
              <a:ea typeface="굴림" pitchFamily="50" charset="-127"/>
            </a:endParaRPr>
          </a:p>
        </p:txBody>
      </p:sp>
      <p:sp>
        <p:nvSpPr>
          <p:cNvPr id="10" name="SlideBottomBar"/>
          <p:cNvSpPr>
            <a:spLocks noChangeArrowheads="1"/>
          </p:cNvSpPr>
          <p:nvPr/>
        </p:nvSpPr>
        <p:spPr bwMode="auto">
          <a:xfrm>
            <a:off x="0" y="0"/>
            <a:ext cx="9906000" cy="549275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7740" tIns="48870" rIns="97740" bIns="48870" anchor="ctr"/>
          <a:lstStyle/>
          <a:p>
            <a:pPr eaLnBrk="0" hangingPunct="0">
              <a:defRPr/>
            </a:pPr>
            <a:endParaRPr lang="ko-KR" altLang="ko-KR" sz="1700" b="0" u="none" dirty="0">
              <a:solidFill>
                <a:srgbClr val="000000"/>
              </a:solidFill>
              <a:latin typeface="Arial" pitchFamily="34" charset="0"/>
              <a:ea typeface="굴림" pitchFamily="50" charset="-127"/>
            </a:endParaRPr>
          </a:p>
        </p:txBody>
      </p:sp>
      <p:sp>
        <p:nvSpPr>
          <p:cNvPr id="22532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5888"/>
            <a:ext cx="5032375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</a:p>
        </p:txBody>
      </p:sp>
      <p:sp>
        <p:nvSpPr>
          <p:cNvPr id="22533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84213"/>
            <a:ext cx="936625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17" name="Rectangle 280"/>
          <p:cNvSpPr txBox="1">
            <a:spLocks noChangeArrowheads="1"/>
          </p:cNvSpPr>
          <p:nvPr/>
        </p:nvSpPr>
        <p:spPr bwMode="auto">
          <a:xfrm>
            <a:off x="9445625" y="6565900"/>
            <a:ext cx="215900" cy="15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>
            <a:lvl1pPr>
              <a:defRPr sz="1100" b="0" smtClean="0">
                <a:solidFill>
                  <a:srgbClr val="000000"/>
                </a:solidFill>
                <a:ea typeface="굴림" pitchFamily="50" charset="-127"/>
              </a:defRPr>
            </a:lvl1pPr>
          </a:lstStyle>
          <a:p>
            <a:pPr>
              <a:defRPr/>
            </a:pPr>
            <a:fld id="{B5D3D8A0-E8A0-4A73-91C8-DD2D08B2595A}" type="slidenum">
              <a:rPr lang="en-US" altLang="ko-KR" u="none">
                <a:latin typeface="맑은 고딕" pitchFamily="50" charset="-127"/>
                <a:ea typeface="맑은 고딕" pitchFamily="50" charset="-127"/>
              </a:rPr>
              <a:pPr>
                <a:defRPr/>
              </a:pPr>
              <a:t>‹#›</a:t>
            </a:fld>
            <a:r>
              <a:rPr lang="en-US" altLang="ko-KR" u="none" dirty="0">
                <a:latin typeface="맑은 고딕" pitchFamily="50" charset="-127"/>
                <a:ea typeface="맑은 고딕" pitchFamily="50" charset="-127"/>
              </a:rPr>
              <a:t> </a:t>
            </a:r>
          </a:p>
        </p:txBody>
      </p:sp>
      <p:sp>
        <p:nvSpPr>
          <p:cNvPr id="22535" name="SlideLogoSeparator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305925" y="6527800"/>
            <a:ext cx="44450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55675" eaLnBrk="0" hangingPunct="0"/>
            <a:r>
              <a:rPr lang="en-US" altLang="ko-KR" sz="1300" b="0" u="none">
                <a:solidFill>
                  <a:srgbClr val="000000"/>
                </a:solidFill>
                <a:latin typeface="Arial" pitchFamily="34" charset="0"/>
                <a:ea typeface="굴림" pitchFamily="50" charset="-127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475" r:id="rId1"/>
    <p:sldLayoutId id="2147490224" r:id="rId2"/>
    <p:sldLayoutId id="2147490225" r:id="rId3"/>
  </p:sldLayoutIdLst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chemeClr val="tx1"/>
          </a:solidFill>
          <a:latin typeface="나눔고딕 ExtraBold" pitchFamily="50" charset="-127"/>
          <a:ea typeface="나눔고딕 ExtraBold" pitchFamily="50" charset="-127"/>
          <a:cs typeface="나눔고딕 ExtraBold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chemeClr val="tx1"/>
          </a:solidFill>
          <a:latin typeface="나눔고딕 ExtraBold"/>
          <a:ea typeface="나눔고딕 ExtraBold"/>
          <a:cs typeface="나눔고딕 ExtraBold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chemeClr val="tx1"/>
          </a:solidFill>
          <a:latin typeface="나눔고딕 ExtraBold"/>
          <a:ea typeface="나눔고딕 ExtraBold"/>
          <a:cs typeface="나눔고딕 ExtraBold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chemeClr val="tx1"/>
          </a:solidFill>
          <a:latin typeface="나눔고딕 ExtraBold"/>
          <a:ea typeface="나눔고딕 ExtraBold"/>
          <a:cs typeface="나눔고딕 ExtraBold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1600" b="1">
          <a:solidFill>
            <a:schemeClr val="tx1"/>
          </a:solidFill>
          <a:latin typeface="나눔고딕 ExtraBold"/>
          <a:ea typeface="나눔고딕 ExtraBold"/>
          <a:cs typeface="나눔고딕 ExtraBold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Arial" charset="0"/>
          <a:ea typeface="돋움" pitchFamily="50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Arial" charset="0"/>
          <a:ea typeface="돋움" pitchFamily="50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Arial" charset="0"/>
          <a:ea typeface="돋움" pitchFamily="50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Arial" charset="0"/>
          <a:ea typeface="돋움" pitchFamily="50" charset="-127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kumimoji="1" b="1">
          <a:solidFill>
            <a:schemeClr val="tx1"/>
          </a:solidFill>
          <a:latin typeface="나눔고딕" pitchFamily="50" charset="-127"/>
          <a:ea typeface="나눔고딕" pitchFamily="50" charset="-127"/>
          <a:cs typeface="나눔고딕"/>
        </a:defRPr>
      </a:lvl1pPr>
      <a:lvl2pPr marL="760413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굴림" pitchFamily="50" charset="-127"/>
          <a:ea typeface="굴림" pitchFamily="50" charset="-127"/>
          <a:cs typeface="나눔고딕"/>
        </a:defRPr>
      </a:lvl2pPr>
      <a:lvl3pPr marL="1179513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굴림" pitchFamily="50" charset="-127"/>
          <a:ea typeface="굴림" pitchFamily="50" charset="-127"/>
          <a:cs typeface="나눔고딕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굴림" pitchFamily="50" charset="-127"/>
          <a:ea typeface="굴림" pitchFamily="50" charset="-127"/>
          <a:cs typeface="나눔고딕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  <a:cs typeface="나눔고딕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굴림" pitchFamily="50" charset="-127"/>
          <a:ea typeface="굴림" pitchFamily="50" charset="-127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 descr="0009.png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411" y="283"/>
            <a:ext cx="9905182" cy="6857434"/>
          </a:xfrm>
          <a:prstGeom prst="rect">
            <a:avLst/>
          </a:prstGeom>
        </p:spPr>
      </p:pic>
      <p:pic>
        <p:nvPicPr>
          <p:cNvPr id="30" name="Picture 1"/>
          <p:cNvPicPr>
            <a:picLocks noChangeAspect="1" noChangeArrowheads="1"/>
          </p:cNvPicPr>
          <p:nvPr/>
        </p:nvPicPr>
        <p:blipFill>
          <a:blip r:embed="rId16" cstate="print">
            <a:lum/>
          </a:blip>
          <a:srcRect l="17687" t="32869" r="36821" b="59462"/>
          <a:stretch>
            <a:fillRect/>
          </a:stretch>
        </p:blipFill>
        <p:spPr bwMode="auto">
          <a:xfrm>
            <a:off x="560512" y="6455391"/>
            <a:ext cx="8712968" cy="388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8" name="Oval 79"/>
          <p:cNvSpPr>
            <a:spLocks noChangeArrowheads="1"/>
          </p:cNvSpPr>
          <p:nvPr/>
        </p:nvSpPr>
        <p:spPr bwMode="auto">
          <a:xfrm>
            <a:off x="272480" y="764704"/>
            <a:ext cx="9433048" cy="5666202"/>
          </a:xfrm>
          <a:prstGeom prst="roundRect">
            <a:avLst>
              <a:gd name="adj" fmla="val 3398"/>
            </a:avLst>
          </a:prstGeom>
          <a:solidFill>
            <a:srgbClr val="FFFFFF"/>
          </a:solidFill>
          <a:ln w="9525">
            <a:solidFill>
              <a:srgbClr val="EAEAEA"/>
            </a:solidFill>
            <a:round/>
            <a:headEnd/>
            <a:tailEnd/>
          </a:ln>
        </p:spPr>
        <p:txBody>
          <a:bodyPr wrap="none" lIns="91435" tIns="45718" rIns="91435" bIns="45718" anchor="ctr"/>
          <a:lstStyle/>
          <a:p>
            <a:pPr defTabSz="9143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ko-KR" sz="3200" b="0" u="none" kern="0" dirty="0" smtClean="0">
              <a:solidFill>
                <a:sysClr val="windowText" lastClr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477" r:id="rId1"/>
    <p:sldLayoutId id="2147490478" r:id="rId2"/>
    <p:sldLayoutId id="2147490479" r:id="rId3"/>
    <p:sldLayoutId id="2147490480" r:id="rId4"/>
    <p:sldLayoutId id="2147490481" r:id="rId5"/>
    <p:sldLayoutId id="2147490482" r:id="rId6"/>
    <p:sldLayoutId id="2147490483" r:id="rId7"/>
    <p:sldLayoutId id="2147490484" r:id="rId8"/>
    <p:sldLayoutId id="2147490485" r:id="rId9"/>
    <p:sldLayoutId id="2147490486" r:id="rId10"/>
    <p:sldLayoutId id="2147490487" r:id="rId11"/>
    <p:sldLayoutId id="2147490488" r:id="rId12"/>
    <p:sldLayoutId id="2147490489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57644" rtl="0" eaLnBrk="1" latinLnBrk="1" hangingPunct="1">
        <a:spcBef>
          <a:spcPct val="0"/>
        </a:spcBef>
        <a:buNone/>
        <a:defRPr sz="4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9117" indent="-359117" algn="l" defTabSz="957644" rtl="0" eaLnBrk="1" latinLnBrk="1" hangingPunct="1">
        <a:spcBef>
          <a:spcPct val="20000"/>
        </a:spcBef>
        <a:buFont typeface="Arial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1pPr>
      <a:lvl2pPr marL="778085" indent="-299263" algn="l" defTabSz="957644" rtl="0" eaLnBrk="1" latinLnBrk="1" hangingPunct="1">
        <a:spcBef>
          <a:spcPct val="20000"/>
        </a:spcBef>
        <a:buFont typeface="Arial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197054" indent="-239411" algn="l" defTabSz="957644" rtl="0" eaLnBrk="1" latinLnBrk="1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675874" indent="-239411" algn="l" defTabSz="957644" rtl="0" eaLnBrk="1" latinLnBrk="1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54696" indent="-239411" algn="l" defTabSz="957644" rtl="0" eaLnBrk="1" latinLnBrk="1" hangingPunct="1">
        <a:spcBef>
          <a:spcPct val="20000"/>
        </a:spcBef>
        <a:buFont typeface="Arial" pitchFamily="34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33518" indent="-239411" algn="l" defTabSz="957644" rtl="0" eaLnBrk="1" latinLnBrk="1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2340" indent="-239411" algn="l" defTabSz="957644" rtl="0" eaLnBrk="1" latinLnBrk="1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1161" indent="-239411" algn="l" defTabSz="957644" rtl="0" eaLnBrk="1" latinLnBrk="1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69983" indent="-239411" algn="l" defTabSz="957644" rtl="0" eaLnBrk="1" latinLnBrk="1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57644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822" algn="l" defTabSz="957644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644" algn="l" defTabSz="957644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465" algn="l" defTabSz="957644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286" algn="l" defTabSz="957644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107" algn="l" defTabSz="957644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2929" algn="l" defTabSz="957644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1750" algn="l" defTabSz="957644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0572" algn="l" defTabSz="957644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 descr="0009.png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411" y="284"/>
            <a:ext cx="9905182" cy="6857434"/>
          </a:xfrm>
          <a:prstGeom prst="rect">
            <a:avLst/>
          </a:prstGeom>
        </p:spPr>
      </p:pic>
      <p:sp>
        <p:nvSpPr>
          <p:cNvPr id="288" name="Oval 79"/>
          <p:cNvSpPr>
            <a:spLocks noChangeArrowheads="1"/>
          </p:cNvSpPr>
          <p:nvPr/>
        </p:nvSpPr>
        <p:spPr bwMode="auto">
          <a:xfrm>
            <a:off x="272480" y="831273"/>
            <a:ext cx="9433048" cy="5682353"/>
          </a:xfrm>
          <a:prstGeom prst="roundRect">
            <a:avLst>
              <a:gd name="adj" fmla="val 3398"/>
            </a:avLst>
          </a:prstGeom>
          <a:solidFill>
            <a:srgbClr val="FFFFFF"/>
          </a:solidFill>
          <a:ln w="9525">
            <a:solidFill>
              <a:srgbClr val="EAEAEA"/>
            </a:solidFill>
            <a:round/>
            <a:headEnd/>
            <a:tailEnd/>
          </a:ln>
        </p:spPr>
        <p:txBody>
          <a:bodyPr wrap="none" lIns="91430" tIns="45716" rIns="91430" bIns="45716" anchor="ctr"/>
          <a:lstStyle/>
          <a:p>
            <a:pPr defTabSz="91431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ko-KR" sz="3200" b="0" u="none" kern="0" dirty="0" smtClean="0">
              <a:solidFill>
                <a:sysClr val="windowText" lastClr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491" r:id="rId1"/>
    <p:sldLayoutId id="2147490492" r:id="rId2"/>
    <p:sldLayoutId id="2147490493" r:id="rId3"/>
    <p:sldLayoutId id="2147490494" r:id="rId4"/>
    <p:sldLayoutId id="2147490495" r:id="rId5"/>
    <p:sldLayoutId id="2147490496" r:id="rId6"/>
    <p:sldLayoutId id="2147490497" r:id="rId7"/>
    <p:sldLayoutId id="2147490498" r:id="rId8"/>
    <p:sldLayoutId id="2147490499" r:id="rId9"/>
    <p:sldLayoutId id="2147490500" r:id="rId10"/>
    <p:sldLayoutId id="2147490501" r:id="rId11"/>
    <p:sldLayoutId id="2147490502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57602" rtl="0" eaLnBrk="1" latinLnBrk="1" hangingPunct="1">
        <a:spcBef>
          <a:spcPct val="0"/>
        </a:spcBef>
        <a:buNone/>
        <a:defRPr sz="4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9101" indent="-359101" algn="l" defTabSz="957602" rtl="0" eaLnBrk="1" latinLnBrk="1" hangingPunct="1">
        <a:spcBef>
          <a:spcPct val="20000"/>
        </a:spcBef>
        <a:buFont typeface="Arial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1pPr>
      <a:lvl2pPr marL="778051" indent="-299250" algn="l" defTabSz="957602" rtl="0" eaLnBrk="1" latinLnBrk="1" hangingPunct="1">
        <a:spcBef>
          <a:spcPct val="20000"/>
        </a:spcBef>
        <a:buFont typeface="Arial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197001" indent="-239400" algn="l" defTabSz="957602" rtl="0" eaLnBrk="1" latinLnBrk="1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675800" indent="-239400" algn="l" defTabSz="957602" rtl="0" eaLnBrk="1" latinLnBrk="1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54601" indent="-239400" algn="l" defTabSz="957602" rtl="0" eaLnBrk="1" latinLnBrk="1" hangingPunct="1">
        <a:spcBef>
          <a:spcPct val="20000"/>
        </a:spcBef>
        <a:buFont typeface="Arial" pitchFamily="34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33402" indent="-239400" algn="l" defTabSz="957602" rtl="0" eaLnBrk="1" latinLnBrk="1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2203" indent="-239400" algn="l" defTabSz="957602" rtl="0" eaLnBrk="1" latinLnBrk="1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1003" indent="-239400" algn="l" defTabSz="957602" rtl="0" eaLnBrk="1" latinLnBrk="1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69804" indent="-239400" algn="l" defTabSz="957602" rtl="0" eaLnBrk="1" latinLnBrk="1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576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801" algn="l" defTabSz="9576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602" algn="l" defTabSz="9576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402" algn="l" defTabSz="9576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202" algn="l" defTabSz="9576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001" algn="l" defTabSz="9576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2802" algn="l" defTabSz="9576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1602" algn="l" defTabSz="9576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0403" algn="l" defTabSz="9576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 descr="ABInBev_A5_RGB_L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8497888" y="6075363"/>
            <a:ext cx="13700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solidFill>
                  <a:srgbClr val="000000"/>
                </a:solidFill>
                <a:ea typeface="+mn-ea"/>
                <a:cs typeface="+mn-cs"/>
              </a:defRPr>
            </a:lvl1pPr>
          </a:lstStyle>
          <a:p>
            <a:pPr>
              <a:defRPr/>
            </a:pPr>
            <a:fld id="{9FD561D3-8C81-4451-B16F-DE0D80023CE4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  <p:sp>
        <p:nvSpPr>
          <p:cNvPr id="17412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741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17414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17415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DC59AA31-82CF-492C-B362-08E0A6686261}" type="slidenum">
              <a:rPr lang="en-US" altLang="ko-KR" sz="800" u="none" smtClean="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504" r:id="rId1"/>
    <p:sldLayoutId id="2147490505" r:id="rId2"/>
    <p:sldLayoutId id="2147490506" r:id="rId3"/>
    <p:sldLayoutId id="2147490507" r:id="rId4"/>
    <p:sldLayoutId id="2147490508" r:id="rId5"/>
    <p:sldLayoutId id="2147490509" r:id="rId6"/>
    <p:sldLayoutId id="2147490510" r:id="rId7"/>
    <p:sldLayoutId id="2147490511" r:id="rId8"/>
    <p:sldLayoutId id="2147490512" r:id="rId9"/>
    <p:sldLayoutId id="2147490513" r:id="rId10"/>
    <p:sldLayoutId id="2147490514" r:id="rId11"/>
    <p:sldLayoutId id="2147490515" r:id="rId12"/>
    <p:sldLayoutId id="2147490516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 descr="0009.png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411" y="283"/>
            <a:ext cx="9905182" cy="685743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0518" r:id="rId1"/>
    <p:sldLayoutId id="2147490519" r:id="rId2"/>
    <p:sldLayoutId id="2147490520" r:id="rId3"/>
    <p:sldLayoutId id="2147490521" r:id="rId4"/>
    <p:sldLayoutId id="2147490522" r:id="rId5"/>
    <p:sldLayoutId id="2147490523" r:id="rId6"/>
    <p:sldLayoutId id="2147490524" r:id="rId7"/>
    <p:sldLayoutId id="2147490525" r:id="rId8"/>
    <p:sldLayoutId id="2147490526" r:id="rId9"/>
    <p:sldLayoutId id="2147490527" r:id="rId10"/>
    <p:sldLayoutId id="2147490528" r:id="rId11"/>
    <p:sldLayoutId id="2147490529" r:id="rId12"/>
  </p:sldLayoutIdLst>
  <p:hf hdr="0" ftr="0" dt="0"/>
  <p:txStyles>
    <p:titleStyle>
      <a:lvl1pPr algn="ctr" defTabSz="957644" rtl="0" eaLnBrk="1" latinLnBrk="1" hangingPunct="1">
        <a:spcBef>
          <a:spcPct val="0"/>
        </a:spcBef>
        <a:buNone/>
        <a:defRPr sz="4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9117" indent="-359117" algn="l" defTabSz="957644" rtl="0" eaLnBrk="1" latinLnBrk="1" hangingPunct="1">
        <a:spcBef>
          <a:spcPct val="20000"/>
        </a:spcBef>
        <a:buFont typeface="Arial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1pPr>
      <a:lvl2pPr marL="778085" indent="-299263" algn="l" defTabSz="957644" rtl="0" eaLnBrk="1" latinLnBrk="1" hangingPunct="1">
        <a:spcBef>
          <a:spcPct val="20000"/>
        </a:spcBef>
        <a:buFont typeface="Arial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197054" indent="-239411" algn="l" defTabSz="957644" rtl="0" eaLnBrk="1" latinLnBrk="1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675874" indent="-239411" algn="l" defTabSz="957644" rtl="0" eaLnBrk="1" latinLnBrk="1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54696" indent="-239411" algn="l" defTabSz="957644" rtl="0" eaLnBrk="1" latinLnBrk="1" hangingPunct="1">
        <a:spcBef>
          <a:spcPct val="20000"/>
        </a:spcBef>
        <a:buFont typeface="Arial" pitchFamily="34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33518" indent="-239411" algn="l" defTabSz="957644" rtl="0" eaLnBrk="1" latinLnBrk="1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2340" indent="-239411" algn="l" defTabSz="957644" rtl="0" eaLnBrk="1" latinLnBrk="1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1161" indent="-239411" algn="l" defTabSz="957644" rtl="0" eaLnBrk="1" latinLnBrk="1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69983" indent="-239411" algn="l" defTabSz="957644" rtl="0" eaLnBrk="1" latinLnBrk="1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57644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822" algn="l" defTabSz="957644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644" algn="l" defTabSz="957644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465" algn="l" defTabSz="957644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286" algn="l" defTabSz="957644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107" algn="l" defTabSz="957644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2929" algn="l" defTabSz="957644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1750" algn="l" defTabSz="957644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0572" algn="l" defTabSz="957644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 descr="0009.png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411" y="284"/>
            <a:ext cx="9905182" cy="6857434"/>
          </a:xfrm>
          <a:prstGeom prst="rect">
            <a:avLst/>
          </a:prstGeom>
        </p:spPr>
      </p:pic>
      <p:sp>
        <p:nvSpPr>
          <p:cNvPr id="288" name="Oval 79"/>
          <p:cNvSpPr>
            <a:spLocks noChangeArrowheads="1"/>
          </p:cNvSpPr>
          <p:nvPr/>
        </p:nvSpPr>
        <p:spPr bwMode="auto">
          <a:xfrm>
            <a:off x="272480" y="831273"/>
            <a:ext cx="9433048" cy="5682353"/>
          </a:xfrm>
          <a:prstGeom prst="roundRect">
            <a:avLst>
              <a:gd name="adj" fmla="val 3398"/>
            </a:avLst>
          </a:prstGeom>
          <a:solidFill>
            <a:srgbClr val="FFFFFF"/>
          </a:solidFill>
          <a:ln w="9525">
            <a:solidFill>
              <a:srgbClr val="EAEAEA"/>
            </a:solidFill>
            <a:round/>
            <a:headEnd/>
            <a:tailEnd/>
          </a:ln>
        </p:spPr>
        <p:txBody>
          <a:bodyPr wrap="none" lIns="91430" tIns="45716" rIns="91430" bIns="45716" anchor="ctr"/>
          <a:lstStyle/>
          <a:p>
            <a:pPr defTabSz="91431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ko-KR" sz="3200" b="0" u="none" kern="0" dirty="0" smtClean="0">
              <a:solidFill>
                <a:sysClr val="windowText" lastClr="000000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531" r:id="rId1"/>
    <p:sldLayoutId id="2147490532" r:id="rId2"/>
    <p:sldLayoutId id="2147490533" r:id="rId3"/>
    <p:sldLayoutId id="2147490534" r:id="rId4"/>
    <p:sldLayoutId id="2147490535" r:id="rId5"/>
    <p:sldLayoutId id="2147490536" r:id="rId6"/>
    <p:sldLayoutId id="2147490537" r:id="rId7"/>
    <p:sldLayoutId id="2147490538" r:id="rId8"/>
    <p:sldLayoutId id="2147490539" r:id="rId9"/>
    <p:sldLayoutId id="2147490540" r:id="rId10"/>
    <p:sldLayoutId id="2147490541" r:id="rId11"/>
    <p:sldLayoutId id="2147490542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57602" rtl="0" eaLnBrk="1" latinLnBrk="1" hangingPunct="1">
        <a:spcBef>
          <a:spcPct val="0"/>
        </a:spcBef>
        <a:buNone/>
        <a:defRPr sz="4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9101" indent="-359101" algn="l" defTabSz="957602" rtl="0" eaLnBrk="1" latinLnBrk="1" hangingPunct="1">
        <a:spcBef>
          <a:spcPct val="20000"/>
        </a:spcBef>
        <a:buFont typeface="Arial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1pPr>
      <a:lvl2pPr marL="778051" indent="-299250" algn="l" defTabSz="957602" rtl="0" eaLnBrk="1" latinLnBrk="1" hangingPunct="1">
        <a:spcBef>
          <a:spcPct val="20000"/>
        </a:spcBef>
        <a:buFont typeface="Arial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197001" indent="-239400" algn="l" defTabSz="957602" rtl="0" eaLnBrk="1" latinLnBrk="1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675800" indent="-239400" algn="l" defTabSz="957602" rtl="0" eaLnBrk="1" latinLnBrk="1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54601" indent="-239400" algn="l" defTabSz="957602" rtl="0" eaLnBrk="1" latinLnBrk="1" hangingPunct="1">
        <a:spcBef>
          <a:spcPct val="20000"/>
        </a:spcBef>
        <a:buFont typeface="Arial" pitchFamily="34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33402" indent="-239400" algn="l" defTabSz="957602" rtl="0" eaLnBrk="1" latinLnBrk="1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2203" indent="-239400" algn="l" defTabSz="957602" rtl="0" eaLnBrk="1" latinLnBrk="1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1003" indent="-239400" algn="l" defTabSz="957602" rtl="0" eaLnBrk="1" latinLnBrk="1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69804" indent="-239400" algn="l" defTabSz="957602" rtl="0" eaLnBrk="1" latinLnBrk="1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576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801" algn="l" defTabSz="9576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602" algn="l" defTabSz="9576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402" algn="l" defTabSz="9576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202" algn="l" defTabSz="9576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001" algn="l" defTabSz="9576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2802" algn="l" defTabSz="9576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1602" algn="l" defTabSz="9576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0403" algn="l" defTabSz="957602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ABInBev_A5_RGB_L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8497888" y="6075363"/>
            <a:ext cx="13700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ea typeface="+mn-ea"/>
                <a:cs typeface="+mn-cs"/>
              </a:defRPr>
            </a:lvl1pPr>
          </a:lstStyle>
          <a:p>
            <a:pPr>
              <a:defRPr/>
            </a:pPr>
            <a:fld id="{CD6D44FA-CF6D-4A0A-A070-F5A4A63A6A3C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 dirty="0">
              <a:solidFill>
                <a:srgbClr val="000000"/>
              </a:solidFill>
            </a:endParaRPr>
          </a:p>
        </p:txBody>
      </p:sp>
      <p:sp>
        <p:nvSpPr>
          <p:cNvPr id="2052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2055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6D5F386C-F052-4F6E-95C0-859EA6C87ECA}" type="slidenum">
              <a:rPr lang="en-US" altLang="ko-KR" sz="800" u="none" smtClean="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544" r:id="rId1"/>
    <p:sldLayoutId id="2147490545" r:id="rId2"/>
    <p:sldLayoutId id="2147490546" r:id="rId3"/>
    <p:sldLayoutId id="2147490547" r:id="rId4"/>
    <p:sldLayoutId id="2147490548" r:id="rId5"/>
    <p:sldLayoutId id="2147490549" r:id="rId6"/>
    <p:sldLayoutId id="2147490550" r:id="rId7"/>
    <p:sldLayoutId id="2147490551" r:id="rId8"/>
    <p:sldLayoutId id="2147490552" r:id="rId9"/>
    <p:sldLayoutId id="2147490553" r:id="rId10"/>
    <p:sldLayoutId id="2147490554" r:id="rId11"/>
    <p:sldLayoutId id="2147490555" r:id="rId12"/>
    <p:sldLayoutId id="2147490556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ABInBev_A5_RGB_L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8497888" y="6075363"/>
            <a:ext cx="13700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ea typeface="+mn-ea"/>
                <a:cs typeface="+mn-cs"/>
              </a:defRPr>
            </a:lvl1pPr>
          </a:lstStyle>
          <a:p>
            <a:pPr>
              <a:defRPr/>
            </a:pPr>
            <a:fld id="{CD6D44FA-CF6D-4A0A-A070-F5A4A63A6A3C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 dirty="0">
              <a:solidFill>
                <a:srgbClr val="000000"/>
              </a:solidFill>
            </a:endParaRPr>
          </a:p>
        </p:txBody>
      </p:sp>
      <p:sp>
        <p:nvSpPr>
          <p:cNvPr id="2052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2055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6D5F386C-F052-4F6E-95C0-859EA6C87ECA}" type="slidenum">
              <a:rPr lang="en-US" altLang="ko-KR" sz="800" u="none" smtClean="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558" r:id="rId1"/>
    <p:sldLayoutId id="2147490559" r:id="rId2"/>
    <p:sldLayoutId id="2147490560" r:id="rId3"/>
    <p:sldLayoutId id="2147490561" r:id="rId4"/>
    <p:sldLayoutId id="2147490562" r:id="rId5"/>
    <p:sldLayoutId id="2147490563" r:id="rId6"/>
    <p:sldLayoutId id="2147490564" r:id="rId7"/>
    <p:sldLayoutId id="2147490565" r:id="rId8"/>
    <p:sldLayoutId id="2147490566" r:id="rId9"/>
    <p:sldLayoutId id="2147490567" r:id="rId10"/>
    <p:sldLayoutId id="2147490568" r:id="rId11"/>
    <p:sldLayoutId id="2147490569" r:id="rId12"/>
    <p:sldLayoutId id="2147490570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4250" y="6583363"/>
            <a:ext cx="271463" cy="1095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 latinLnBrk="0">
              <a:lnSpc>
                <a:spcPct val="90000"/>
              </a:lnSpc>
              <a:spcBef>
                <a:spcPct val="20000"/>
              </a:spcBef>
              <a:defRPr kumimoji="0" sz="800" b="1" u="none">
                <a:solidFill>
                  <a:srgbClr val="000000"/>
                </a:solidFill>
                <a:latin typeface="Arial" charset="0"/>
                <a:ea typeface="굴림" pitchFamily="50" charset="-127"/>
                <a:cs typeface="+mn-cs"/>
              </a:defRPr>
            </a:lvl1pPr>
          </a:lstStyle>
          <a:p>
            <a:pPr>
              <a:defRPr/>
            </a:pPr>
            <a:fld id="{E034A830-A7D7-4756-80E2-B016FDFBF2A0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228138" y="6296025"/>
            <a:ext cx="639762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87313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3077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3078" name="Rectangle 7"/>
          <p:cNvSpPr>
            <a:spLocks noChangeArrowheads="1"/>
          </p:cNvSpPr>
          <p:nvPr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pPr algn="ctr">
              <a:lnSpc>
                <a:spcPct val="140000"/>
              </a:lnSpc>
            </a:pPr>
            <a:endParaRPr kumimoji="1" lang="ko-KR" altLang="en-US" u="none">
              <a:solidFill>
                <a:srgbClr val="000000"/>
              </a:solidFill>
              <a:latin typeface="Arial" pitchFamily="34" charset="0"/>
              <a:ea typeface="굴림" pitchFamily="50" charset="-127"/>
            </a:endParaRPr>
          </a:p>
        </p:txBody>
      </p:sp>
      <p:sp>
        <p:nvSpPr>
          <p:cNvPr id="1032" name="Text Box 8"/>
          <p:cNvSpPr txBox="1">
            <a:spLocks noChangeArrowheads="1"/>
          </p:cNvSpPr>
          <p:nvPr userDrawn="1"/>
        </p:nvSpPr>
        <p:spPr bwMode="auto">
          <a:xfrm>
            <a:off x="8877300" y="144463"/>
            <a:ext cx="890588" cy="5238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>
            <a:spAutoFit/>
          </a:bodyPr>
          <a:lstStyle>
            <a:lvl1pPr eaLnBrk="0" hangingPunct="0">
              <a:defRPr kumimoji="1" sz="200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kumimoji="1" sz="200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kumimoji="1" sz="200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kumimoji="1" sz="200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kumimoji="1" sz="200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 algn="ctr" eaLnBrk="1" hangingPunct="1">
              <a:lnSpc>
                <a:spcPct val="140000"/>
              </a:lnSpc>
              <a:defRPr/>
            </a:pPr>
            <a:r>
              <a:rPr lang="en-US" altLang="ko-KR" u="none" dirty="0">
                <a:solidFill>
                  <a:srgbClr val="FFFFFF"/>
                </a:solidFill>
              </a:rPr>
              <a:t>DRAFT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252" r:id="rId1"/>
    <p:sldLayoutId id="2147490253" r:id="rId2"/>
    <p:sldLayoutId id="2147490254" r:id="rId3"/>
    <p:sldLayoutId id="2147490255" r:id="rId4"/>
    <p:sldLayoutId id="2147490256" r:id="rId5"/>
    <p:sldLayoutId id="2147490257" r:id="rId6"/>
    <p:sldLayoutId id="2147490258" r:id="rId7"/>
    <p:sldLayoutId id="2147490259" r:id="rId8"/>
    <p:sldLayoutId id="2147490260" r:id="rId9"/>
    <p:sldLayoutId id="2147490261" r:id="rId10"/>
    <p:sldLayoutId id="2147490262" r:id="rId11"/>
    <p:sldLayoutId id="2147490263" r:id="rId12"/>
    <p:sldLayoutId id="2147490264" r:id="rId13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latinLnBrk="1" hangingPunct="0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6pPr>
      <a:lvl7pPr marL="914400" algn="l" rtl="0" fontAlgn="base" latinLnBrk="1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7pPr>
      <a:lvl8pPr marL="1371600" algn="l" rtl="0" fontAlgn="base" latinLnBrk="1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8pPr>
      <a:lvl9pPr marL="1828800" algn="l" rtl="0" fontAlgn="base" latinLnBrk="1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20000"/>
        </a:spcBef>
        <a:spcAft>
          <a:spcPct val="0"/>
        </a:spcAft>
        <a:buSzPct val="90000"/>
        <a:defRPr kumimoji="1" sz="1600" b="1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83363"/>
            <a:ext cx="266700" cy="109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 latinLnBrk="0">
              <a:lnSpc>
                <a:spcPct val="90000"/>
              </a:lnSpc>
              <a:spcBef>
                <a:spcPct val="20000"/>
              </a:spcBef>
              <a:defRPr kumimoji="0" sz="800" b="1">
                <a:ea typeface="굴림" pitchFamily="50" charset="-127"/>
                <a:cs typeface="+mn-cs"/>
              </a:defRPr>
            </a:lvl1pPr>
          </a:lstStyle>
          <a:p>
            <a:pPr>
              <a:defRPr/>
            </a:pPr>
            <a:fld id="{BC17A203-124D-477C-98FD-93039BC1F44E}" type="slidenum">
              <a:rPr lang="en-US" altLang="ko-KR" u="non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 u="none">
              <a:solidFill>
                <a:srgbClr val="000000"/>
              </a:solidFill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9228138" y="6296025"/>
            <a:ext cx="639762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00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72000" tIns="0" rIns="72000" bIns="0" anchor="ctr"/>
          <a:lstStyle/>
          <a:p>
            <a:pPr latinLnBrk="1">
              <a:defRPr/>
            </a:pPr>
            <a:endParaRPr kumimoji="1" lang="ko-KR" altLang="en-US" sz="1800" b="0" u="none">
              <a:solidFill>
                <a:srgbClr val="000000"/>
              </a:solidFill>
              <a:ea typeface="굴림" pitchFamily="50" charset="-127"/>
            </a:endParaRPr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pic>
        <p:nvPicPr>
          <p:cNvPr id="2055" name="Picture 52" descr="LGCNS_02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024813" y="6497638"/>
            <a:ext cx="1000125" cy="233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0572" r:id="rId1"/>
    <p:sldLayoutId id="2147490573" r:id="rId2"/>
    <p:sldLayoutId id="2147490574" r:id="rId3"/>
    <p:sldLayoutId id="2147490575" r:id="rId4"/>
    <p:sldLayoutId id="2147490576" r:id="rId5"/>
    <p:sldLayoutId id="2147490577" r:id="rId6"/>
    <p:sldLayoutId id="2147490578" r:id="rId7"/>
    <p:sldLayoutId id="2147490579" r:id="rId8"/>
    <p:sldLayoutId id="2147490580" r:id="rId9"/>
    <p:sldLayoutId id="2147490581" r:id="rId10"/>
    <p:sldLayoutId id="2147490582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latinLnBrk="1" hangingPunct="0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charset="0"/>
        </a:defRPr>
      </a:lvl2pPr>
      <a:lvl3pPr algn="l" rtl="0" eaLnBrk="0" fontAlgn="base" latinLnBrk="1" hangingPunct="0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charset="0"/>
        </a:defRPr>
      </a:lvl3pPr>
      <a:lvl4pPr algn="l" rtl="0" eaLnBrk="0" fontAlgn="base" latinLnBrk="1" hangingPunct="0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charset="0"/>
        </a:defRPr>
      </a:lvl4pPr>
      <a:lvl5pPr algn="l" rtl="0" eaLnBrk="0" fontAlgn="base" latinLnBrk="1" hangingPunct="0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charset="0"/>
        </a:defRPr>
      </a:lvl5pPr>
      <a:lvl6pPr marL="457200" algn="l" rtl="0" fontAlgn="base" latinLnBrk="1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charset="0"/>
        </a:defRPr>
      </a:lvl6pPr>
      <a:lvl7pPr marL="914400" algn="l" rtl="0" fontAlgn="base" latinLnBrk="1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charset="0"/>
        </a:defRPr>
      </a:lvl7pPr>
      <a:lvl8pPr marL="1371600" algn="l" rtl="0" fontAlgn="base" latinLnBrk="1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charset="0"/>
        </a:defRPr>
      </a:lvl8pPr>
      <a:lvl9pPr marL="1828800" algn="l" rtl="0" fontAlgn="base" latinLnBrk="1">
        <a:lnSpc>
          <a:spcPct val="90000"/>
        </a:lnSpc>
        <a:spcBef>
          <a:spcPct val="2000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20000"/>
        </a:spcBef>
        <a:spcAft>
          <a:spcPct val="0"/>
        </a:spcAft>
        <a:buSzPct val="90000"/>
        <a:defRPr kumimoji="1" sz="1600" b="1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굴림" pitchFamily="50" charset="-127"/>
          <a:ea typeface="굴림" pitchFamily="50" charset="-127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굴림" pitchFamily="50" charset="-127"/>
          <a:ea typeface="굴림" pitchFamily="50" charset="-127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굴림" pitchFamily="50" charset="-127"/>
          <a:ea typeface="굴림" pitchFamily="50" charset="-127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굴림" pitchFamily="50" charset="-127"/>
          <a:ea typeface="굴림" pitchFamily="50" charset="-127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굴림" pitchFamily="50" charset="-127"/>
          <a:ea typeface="굴림" pitchFamily="50" charset="-127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굴림" pitchFamily="50" charset="-127"/>
          <a:ea typeface="굴림" pitchFamily="50" charset="-127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굴림" pitchFamily="50" charset="-127"/>
          <a:ea typeface="굴림" pitchFamily="50" charset="-127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굴림" pitchFamily="50" charset="-127"/>
          <a:ea typeface="굴림" pitchFamily="50" charset="-127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ABInBev_A5_RGB_L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8497888" y="6075363"/>
            <a:ext cx="13700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ea typeface="+mn-ea"/>
                <a:cs typeface="+mn-cs"/>
              </a:defRPr>
            </a:lvl1pPr>
          </a:lstStyle>
          <a:p>
            <a:pPr>
              <a:defRPr/>
            </a:pPr>
            <a:fld id="{CD6D44FA-CF6D-4A0A-A070-F5A4A63A6A3C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 dirty="0">
              <a:solidFill>
                <a:srgbClr val="000000"/>
              </a:solidFill>
            </a:endParaRPr>
          </a:p>
        </p:txBody>
      </p:sp>
      <p:sp>
        <p:nvSpPr>
          <p:cNvPr id="2052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2055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6D5F386C-F052-4F6E-95C0-859EA6C87ECA}" type="slidenum">
              <a:rPr lang="en-US" altLang="ko-KR" sz="800" u="none" smtClean="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584" r:id="rId1"/>
    <p:sldLayoutId id="2147490585" r:id="rId2"/>
    <p:sldLayoutId id="2147490586" r:id="rId3"/>
    <p:sldLayoutId id="2147490587" r:id="rId4"/>
    <p:sldLayoutId id="2147490588" r:id="rId5"/>
    <p:sldLayoutId id="2147490589" r:id="rId6"/>
    <p:sldLayoutId id="2147490590" r:id="rId7"/>
    <p:sldLayoutId id="2147490591" r:id="rId8"/>
    <p:sldLayoutId id="2147490592" r:id="rId9"/>
    <p:sldLayoutId id="2147490593" r:id="rId10"/>
    <p:sldLayoutId id="2147490594" r:id="rId11"/>
    <p:sldLayoutId id="2147490595" r:id="rId12"/>
    <p:sldLayoutId id="2147490596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ABInBev_A5_RGB_L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8497888" y="6075363"/>
            <a:ext cx="13700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solidFill>
                  <a:srgbClr val="000000"/>
                </a:solidFill>
                <a:ea typeface="+mn-ea"/>
                <a:cs typeface="+mn-cs"/>
              </a:defRPr>
            </a:lvl1pPr>
          </a:lstStyle>
          <a:p>
            <a:pPr>
              <a:defRPr/>
            </a:pPr>
            <a:fld id="{5B3855E2-544D-4533-B4ED-0CE335A43A63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  <p:sp>
        <p:nvSpPr>
          <p:cNvPr id="21508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21509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21510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21511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3AF354B7-E3E4-415E-A14E-97454B97F0AF}" type="slidenum">
              <a:rPr lang="en-US" altLang="ko-KR" sz="800" u="none" smtClean="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598" r:id="rId1"/>
    <p:sldLayoutId id="2147490599" r:id="rId2"/>
    <p:sldLayoutId id="2147490600" r:id="rId3"/>
    <p:sldLayoutId id="2147490601" r:id="rId4"/>
    <p:sldLayoutId id="2147490602" r:id="rId5"/>
    <p:sldLayoutId id="2147490603" r:id="rId6"/>
    <p:sldLayoutId id="2147490604" r:id="rId7"/>
    <p:sldLayoutId id="2147490605" r:id="rId8"/>
    <p:sldLayoutId id="2147490606" r:id="rId9"/>
    <p:sldLayoutId id="2147490607" r:id="rId10"/>
    <p:sldLayoutId id="2147490608" r:id="rId11"/>
    <p:sldLayoutId id="2147490609" r:id="rId12"/>
    <p:sldLayoutId id="2147490610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ABInBev_A5_RGB_L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8497888" y="6075363"/>
            <a:ext cx="13700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ea typeface="+mn-ea"/>
                <a:cs typeface="+mn-cs"/>
              </a:defRPr>
            </a:lvl1pPr>
          </a:lstStyle>
          <a:p>
            <a:pPr>
              <a:defRPr/>
            </a:pPr>
            <a:fld id="{CD6D44FA-CF6D-4A0A-A070-F5A4A63A6A3C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 dirty="0">
              <a:solidFill>
                <a:srgbClr val="000000"/>
              </a:solidFill>
            </a:endParaRPr>
          </a:p>
        </p:txBody>
      </p:sp>
      <p:sp>
        <p:nvSpPr>
          <p:cNvPr id="2052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2055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6D5F386C-F052-4F6E-95C0-859EA6C87ECA}" type="slidenum">
              <a:rPr lang="en-US" altLang="ko-KR" sz="800" u="none" smtClean="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612" r:id="rId1"/>
    <p:sldLayoutId id="2147490613" r:id="rId2"/>
    <p:sldLayoutId id="2147490614" r:id="rId3"/>
    <p:sldLayoutId id="2147490615" r:id="rId4"/>
    <p:sldLayoutId id="2147490616" r:id="rId5"/>
    <p:sldLayoutId id="2147490617" r:id="rId6"/>
    <p:sldLayoutId id="2147490618" r:id="rId7"/>
    <p:sldLayoutId id="2147490619" r:id="rId8"/>
    <p:sldLayoutId id="2147490620" r:id="rId9"/>
    <p:sldLayoutId id="2147490621" r:id="rId10"/>
    <p:sldLayoutId id="2147490622" r:id="rId11"/>
    <p:sldLayoutId id="2147490623" r:id="rId12"/>
    <p:sldLayoutId id="2147490624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ABInBev_A5_RGB_L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8497888" y="6075363"/>
            <a:ext cx="13700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solidFill>
                  <a:srgbClr val="000000"/>
                </a:solidFill>
                <a:ea typeface="+mn-ea"/>
                <a:cs typeface="+mn-cs"/>
              </a:defRPr>
            </a:lvl1pPr>
          </a:lstStyle>
          <a:p>
            <a:pPr>
              <a:defRPr/>
            </a:pPr>
            <a:fld id="{5BD754AC-D714-4B07-A2A8-C0AC5B1147AD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  <p:sp>
        <p:nvSpPr>
          <p:cNvPr id="6148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6151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6E4C52DD-657B-4ABA-B0BA-FB28CC7974C0}" type="slidenum">
              <a:rPr lang="en-US" altLang="ko-KR" sz="800" u="none" smtClean="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626" r:id="rId1"/>
    <p:sldLayoutId id="2147490627" r:id="rId2"/>
    <p:sldLayoutId id="2147490628" r:id="rId3"/>
    <p:sldLayoutId id="2147490629" r:id="rId4"/>
    <p:sldLayoutId id="2147490630" r:id="rId5"/>
    <p:sldLayoutId id="2147490631" r:id="rId6"/>
    <p:sldLayoutId id="2147490632" r:id="rId7"/>
    <p:sldLayoutId id="2147490633" r:id="rId8"/>
    <p:sldLayoutId id="2147490634" r:id="rId9"/>
    <p:sldLayoutId id="2147490635" r:id="rId10"/>
    <p:sldLayoutId id="2147490636" r:id="rId11"/>
    <p:sldLayoutId id="2147490637" r:id="rId12"/>
    <p:sldLayoutId id="2147490638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ABInBev_A5_RGB_L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8497888" y="6075363"/>
            <a:ext cx="13700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ea typeface="+mn-ea"/>
                <a:cs typeface="+mn-cs"/>
              </a:defRPr>
            </a:lvl1pPr>
          </a:lstStyle>
          <a:p>
            <a:pPr>
              <a:defRPr/>
            </a:pPr>
            <a:fld id="{CD6D44FA-CF6D-4A0A-A070-F5A4A63A6A3C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 dirty="0">
              <a:solidFill>
                <a:srgbClr val="000000"/>
              </a:solidFill>
            </a:endParaRPr>
          </a:p>
        </p:txBody>
      </p:sp>
      <p:sp>
        <p:nvSpPr>
          <p:cNvPr id="2052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2055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6D5F386C-F052-4F6E-95C0-859EA6C87ECA}" type="slidenum">
              <a:rPr lang="en-US" altLang="ko-KR" sz="800" u="none" smtClean="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640" r:id="rId1"/>
    <p:sldLayoutId id="2147490641" r:id="rId2"/>
    <p:sldLayoutId id="2147490642" r:id="rId3"/>
    <p:sldLayoutId id="2147490643" r:id="rId4"/>
    <p:sldLayoutId id="2147490644" r:id="rId5"/>
    <p:sldLayoutId id="2147490645" r:id="rId6"/>
    <p:sldLayoutId id="2147490646" r:id="rId7"/>
    <p:sldLayoutId id="2147490647" r:id="rId8"/>
    <p:sldLayoutId id="2147490648" r:id="rId9"/>
    <p:sldLayoutId id="2147490649" r:id="rId10"/>
    <p:sldLayoutId id="2147490650" r:id="rId11"/>
    <p:sldLayoutId id="2147490651" r:id="rId12"/>
    <p:sldLayoutId id="2147490652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ABInBev_A5_RGB_L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8497888" y="6075363"/>
            <a:ext cx="13700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solidFill>
                  <a:srgbClr val="000000"/>
                </a:solidFill>
                <a:ea typeface="+mn-ea"/>
                <a:cs typeface="+mn-cs"/>
              </a:defRPr>
            </a:lvl1pPr>
          </a:lstStyle>
          <a:p>
            <a:pPr>
              <a:defRPr/>
            </a:pPr>
            <a:fld id="{5BD754AC-D714-4B07-A2A8-C0AC5B1147AD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  <p:sp>
        <p:nvSpPr>
          <p:cNvPr id="6148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6151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6E4C52DD-657B-4ABA-B0BA-FB28CC7974C0}" type="slidenum">
              <a:rPr lang="en-US" altLang="ko-KR" sz="800" u="none" smtClean="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654" r:id="rId1"/>
    <p:sldLayoutId id="2147490655" r:id="rId2"/>
    <p:sldLayoutId id="2147490656" r:id="rId3"/>
    <p:sldLayoutId id="2147490657" r:id="rId4"/>
    <p:sldLayoutId id="2147490658" r:id="rId5"/>
    <p:sldLayoutId id="2147490659" r:id="rId6"/>
    <p:sldLayoutId id="2147490660" r:id="rId7"/>
    <p:sldLayoutId id="2147490661" r:id="rId8"/>
    <p:sldLayoutId id="2147490662" r:id="rId9"/>
    <p:sldLayoutId id="2147490663" r:id="rId10"/>
    <p:sldLayoutId id="2147490664" r:id="rId11"/>
    <p:sldLayoutId id="2147490665" r:id="rId12"/>
    <p:sldLayoutId id="2147490666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ABInBev_A5_RGB_L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8497888" y="6075363"/>
            <a:ext cx="13700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ea typeface="+mn-ea"/>
                <a:cs typeface="+mn-cs"/>
              </a:defRPr>
            </a:lvl1pPr>
          </a:lstStyle>
          <a:p>
            <a:pPr>
              <a:defRPr/>
            </a:pPr>
            <a:fld id="{CD6D44FA-CF6D-4A0A-A070-F5A4A63A6A3C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 dirty="0">
              <a:solidFill>
                <a:srgbClr val="000000"/>
              </a:solidFill>
            </a:endParaRPr>
          </a:p>
        </p:txBody>
      </p:sp>
      <p:sp>
        <p:nvSpPr>
          <p:cNvPr id="2052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2055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6D5F386C-F052-4F6E-95C0-859EA6C87ECA}" type="slidenum">
              <a:rPr lang="en-US" altLang="ko-KR" sz="800" u="none" smtClean="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668" r:id="rId1"/>
    <p:sldLayoutId id="2147490669" r:id="rId2"/>
    <p:sldLayoutId id="2147490670" r:id="rId3"/>
    <p:sldLayoutId id="2147490671" r:id="rId4"/>
    <p:sldLayoutId id="2147490672" r:id="rId5"/>
    <p:sldLayoutId id="2147490673" r:id="rId6"/>
    <p:sldLayoutId id="2147490674" r:id="rId7"/>
    <p:sldLayoutId id="2147490675" r:id="rId8"/>
    <p:sldLayoutId id="2147490676" r:id="rId9"/>
    <p:sldLayoutId id="2147490677" r:id="rId10"/>
    <p:sldLayoutId id="2147490678" r:id="rId11"/>
    <p:sldLayoutId id="2147490679" r:id="rId12"/>
    <p:sldLayoutId id="2147490680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ABInBev_A5_RGB_L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8497888" y="6075363"/>
            <a:ext cx="13700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ea typeface="+mn-ea"/>
                <a:cs typeface="+mn-cs"/>
              </a:defRPr>
            </a:lvl1pPr>
          </a:lstStyle>
          <a:p>
            <a:pPr>
              <a:defRPr/>
            </a:pPr>
            <a:fld id="{CD6D44FA-CF6D-4A0A-A070-F5A4A63A6A3C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 dirty="0">
              <a:solidFill>
                <a:srgbClr val="000000"/>
              </a:solidFill>
            </a:endParaRPr>
          </a:p>
        </p:txBody>
      </p:sp>
      <p:sp>
        <p:nvSpPr>
          <p:cNvPr id="2052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2055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6D5F386C-F052-4F6E-95C0-859EA6C87ECA}" type="slidenum">
              <a:rPr lang="en-US" altLang="ko-KR" sz="800" u="none" smtClean="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682" r:id="rId1"/>
    <p:sldLayoutId id="2147490683" r:id="rId2"/>
    <p:sldLayoutId id="2147490684" r:id="rId3"/>
    <p:sldLayoutId id="2147490685" r:id="rId4"/>
    <p:sldLayoutId id="2147490686" r:id="rId5"/>
    <p:sldLayoutId id="2147490687" r:id="rId6"/>
    <p:sldLayoutId id="2147490688" r:id="rId7"/>
    <p:sldLayoutId id="2147490689" r:id="rId8"/>
    <p:sldLayoutId id="2147490690" r:id="rId9"/>
    <p:sldLayoutId id="2147490691" r:id="rId10"/>
    <p:sldLayoutId id="2147490692" r:id="rId11"/>
    <p:sldLayoutId id="2147490693" r:id="rId12"/>
    <p:sldLayoutId id="2147490694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ABInBev_A5_RGB_L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8497888" y="6075363"/>
            <a:ext cx="13700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ea typeface="+mn-ea"/>
                <a:cs typeface="+mn-cs"/>
              </a:defRPr>
            </a:lvl1pPr>
          </a:lstStyle>
          <a:p>
            <a:pPr>
              <a:defRPr/>
            </a:pPr>
            <a:fld id="{CD6D44FA-CF6D-4A0A-A070-F5A4A63A6A3C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 dirty="0">
              <a:solidFill>
                <a:srgbClr val="000000"/>
              </a:solidFill>
            </a:endParaRPr>
          </a:p>
        </p:txBody>
      </p:sp>
      <p:sp>
        <p:nvSpPr>
          <p:cNvPr id="2052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2055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6D5F386C-F052-4F6E-95C0-859EA6C87ECA}" type="slidenum">
              <a:rPr lang="en-US" altLang="ko-KR" sz="800" u="none" smtClean="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696" r:id="rId1"/>
    <p:sldLayoutId id="2147490697" r:id="rId2"/>
    <p:sldLayoutId id="2147490698" r:id="rId3"/>
    <p:sldLayoutId id="2147490699" r:id="rId4"/>
    <p:sldLayoutId id="2147490700" r:id="rId5"/>
    <p:sldLayoutId id="2147490701" r:id="rId6"/>
    <p:sldLayoutId id="2147490702" r:id="rId7"/>
    <p:sldLayoutId id="2147490703" r:id="rId8"/>
    <p:sldLayoutId id="2147490704" r:id="rId9"/>
    <p:sldLayoutId id="2147490705" r:id="rId10"/>
    <p:sldLayoutId id="2147490706" r:id="rId11"/>
    <p:sldLayoutId id="2147490707" r:id="rId12"/>
    <p:sldLayoutId id="2147490708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그림 6" descr="0009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1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7686" t="32869" r="36821" b="59462"/>
          <a:stretch>
            <a:fillRect/>
          </a:stretch>
        </p:blipFill>
        <p:spPr bwMode="auto">
          <a:xfrm>
            <a:off x="560388" y="6454775"/>
            <a:ext cx="8713787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0" name="Oval 79"/>
          <p:cNvSpPr>
            <a:spLocks noChangeArrowheads="1"/>
          </p:cNvSpPr>
          <p:nvPr/>
        </p:nvSpPr>
        <p:spPr bwMode="auto">
          <a:xfrm>
            <a:off x="273050" y="765175"/>
            <a:ext cx="9432925" cy="5665788"/>
          </a:xfrm>
          <a:prstGeom prst="roundRect">
            <a:avLst>
              <a:gd name="adj" fmla="val 3398"/>
            </a:avLst>
          </a:prstGeom>
          <a:solidFill>
            <a:srgbClr val="FFFFFF"/>
          </a:solidFill>
          <a:ln w="9525">
            <a:solidFill>
              <a:srgbClr val="EAEAEA"/>
            </a:solidFill>
            <a:round/>
            <a:headEnd/>
            <a:tailEnd/>
          </a:ln>
        </p:spPr>
        <p:txBody>
          <a:bodyPr wrap="none" lIns="91435" tIns="45718" rIns="91435" bIns="45718" anchor="ctr"/>
          <a:lstStyle/>
          <a:p>
            <a:pPr defTabSz="912813"/>
            <a:endParaRPr lang="en-US" altLang="ko-KR" sz="3200" b="0" u="none">
              <a:solidFill>
                <a:srgbClr val="000000"/>
              </a:solidFill>
              <a:latin typeface="나눔고딕"/>
              <a:ea typeface="나눔고딕"/>
              <a:cs typeface="나눔고딕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265" r:id="rId1"/>
    <p:sldLayoutId id="2147490266" r:id="rId2"/>
    <p:sldLayoutId id="2147490267" r:id="rId3"/>
    <p:sldLayoutId id="2147490268" r:id="rId4"/>
    <p:sldLayoutId id="2147490269" r:id="rId5"/>
    <p:sldLayoutId id="2147490270" r:id="rId6"/>
    <p:sldLayoutId id="2147490271" r:id="rId7"/>
    <p:sldLayoutId id="2147490272" r:id="rId8"/>
    <p:sldLayoutId id="2147490273" r:id="rId9"/>
    <p:sldLayoutId id="2147490274" r:id="rId10"/>
    <p:sldLayoutId id="2147490275" r:id="rId11"/>
    <p:sldLayoutId id="2147490276" r:id="rId12"/>
    <p:sldLayoutId id="2147490277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57263" rtl="0" eaLnBrk="0" fontAlgn="base" latinLnBrk="1" hangingPunct="0">
        <a:spcBef>
          <a:spcPct val="0"/>
        </a:spcBef>
        <a:spcAft>
          <a:spcPct val="0"/>
        </a:spcAft>
        <a:defRPr sz="46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957263" rtl="0" eaLnBrk="0" fontAlgn="base" latinLnBrk="1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defTabSz="957263" rtl="0" eaLnBrk="0" fontAlgn="base" latinLnBrk="1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defTabSz="957263" rtl="0" eaLnBrk="0" fontAlgn="base" latinLnBrk="1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defTabSz="957263" rtl="0" eaLnBrk="0" fontAlgn="base" latinLnBrk="1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defTabSz="957263" rtl="0" fontAlgn="base" latinLnBrk="1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defTabSz="957263" rtl="0" fontAlgn="base" latinLnBrk="1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defTabSz="957263" rtl="0" fontAlgn="base" latinLnBrk="1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defTabSz="957263" rtl="0" fontAlgn="base" latinLnBrk="1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58775" indent="-358775" algn="l" defTabSz="957263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1pPr>
      <a:lvl2pPr marL="777875" indent="-298450" algn="l" defTabSz="957263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196975" indent="-238125" algn="l" defTabSz="957263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674813" indent="-238125" algn="l" defTabSz="957263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54238" indent="-238125" algn="l" defTabSz="957263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33518" indent="-239411" algn="l" defTabSz="957644" rtl="0" eaLnBrk="1" latinLnBrk="1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2340" indent="-239411" algn="l" defTabSz="957644" rtl="0" eaLnBrk="1" latinLnBrk="1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1161" indent="-239411" algn="l" defTabSz="957644" rtl="0" eaLnBrk="1" latinLnBrk="1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69983" indent="-239411" algn="l" defTabSz="957644" rtl="0" eaLnBrk="1" latinLnBrk="1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57644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822" algn="l" defTabSz="957644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644" algn="l" defTabSz="957644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465" algn="l" defTabSz="957644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286" algn="l" defTabSz="957644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107" algn="l" defTabSz="957644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2929" algn="l" defTabSz="957644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1750" algn="l" defTabSz="957644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0572" algn="l" defTabSz="957644" rtl="0" eaLnBrk="1" latinLnBrk="1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ABInBev_A5_RGB_L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8497888" y="6075363"/>
            <a:ext cx="13700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ea typeface="+mn-ea"/>
                <a:cs typeface="+mn-cs"/>
              </a:defRPr>
            </a:lvl1pPr>
          </a:lstStyle>
          <a:p>
            <a:pPr>
              <a:defRPr/>
            </a:pPr>
            <a:fld id="{CD6D44FA-CF6D-4A0A-A070-F5A4A63A6A3C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 dirty="0">
              <a:solidFill>
                <a:srgbClr val="000000"/>
              </a:solidFill>
            </a:endParaRPr>
          </a:p>
        </p:txBody>
      </p:sp>
      <p:sp>
        <p:nvSpPr>
          <p:cNvPr id="2052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2055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6D5F386C-F052-4F6E-95C0-859EA6C87ECA}" type="slidenum">
              <a:rPr lang="en-US" altLang="ko-KR" sz="800" u="none" smtClean="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710" r:id="rId1"/>
    <p:sldLayoutId id="2147490711" r:id="rId2"/>
    <p:sldLayoutId id="2147490712" r:id="rId3"/>
    <p:sldLayoutId id="2147490713" r:id="rId4"/>
    <p:sldLayoutId id="2147490714" r:id="rId5"/>
    <p:sldLayoutId id="2147490715" r:id="rId6"/>
    <p:sldLayoutId id="2147490716" r:id="rId7"/>
    <p:sldLayoutId id="2147490717" r:id="rId8"/>
    <p:sldLayoutId id="2147490718" r:id="rId9"/>
    <p:sldLayoutId id="2147490719" r:id="rId10"/>
    <p:sldLayoutId id="2147490720" r:id="rId11"/>
    <p:sldLayoutId id="2147490721" r:id="rId12"/>
    <p:sldLayoutId id="2147490722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ABInBev_A5_RGB_L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8497888" y="6075363"/>
            <a:ext cx="13700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ea typeface="+mn-ea"/>
                <a:cs typeface="+mn-cs"/>
              </a:defRPr>
            </a:lvl1pPr>
          </a:lstStyle>
          <a:p>
            <a:pPr>
              <a:defRPr/>
            </a:pPr>
            <a:fld id="{CD6D44FA-CF6D-4A0A-A070-F5A4A63A6A3C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 dirty="0">
              <a:solidFill>
                <a:srgbClr val="000000"/>
              </a:solidFill>
            </a:endParaRPr>
          </a:p>
        </p:txBody>
      </p:sp>
      <p:sp>
        <p:nvSpPr>
          <p:cNvPr id="2052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2055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6D5F386C-F052-4F6E-95C0-859EA6C87ECA}" type="slidenum">
              <a:rPr lang="en-US" altLang="ko-KR" sz="800" u="none" smtClean="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724" r:id="rId1"/>
    <p:sldLayoutId id="2147490725" r:id="rId2"/>
    <p:sldLayoutId id="2147490726" r:id="rId3"/>
    <p:sldLayoutId id="2147490727" r:id="rId4"/>
    <p:sldLayoutId id="2147490728" r:id="rId5"/>
    <p:sldLayoutId id="2147490729" r:id="rId6"/>
    <p:sldLayoutId id="2147490730" r:id="rId7"/>
    <p:sldLayoutId id="2147490731" r:id="rId8"/>
    <p:sldLayoutId id="2147490732" r:id="rId9"/>
    <p:sldLayoutId id="2147490733" r:id="rId10"/>
    <p:sldLayoutId id="2147490734" r:id="rId11"/>
    <p:sldLayoutId id="2147490735" r:id="rId12"/>
    <p:sldLayoutId id="2147490736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ABInBev_A5_RGB_L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8497888" y="6075363"/>
            <a:ext cx="13700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solidFill>
                  <a:srgbClr val="000000"/>
                </a:solidFill>
                <a:ea typeface="+mn-ea"/>
                <a:cs typeface="+mn-cs"/>
              </a:defRPr>
            </a:lvl1pPr>
          </a:lstStyle>
          <a:p>
            <a:pPr>
              <a:defRPr/>
            </a:pPr>
            <a:fld id="{5BD754AC-D714-4B07-A2A8-C0AC5B1147AD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  <p:sp>
        <p:nvSpPr>
          <p:cNvPr id="6148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6151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6E4C52DD-657B-4ABA-B0BA-FB28CC7974C0}" type="slidenum">
              <a:rPr lang="en-US" altLang="ko-KR" sz="800" u="none" smtClean="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738" r:id="rId1"/>
    <p:sldLayoutId id="2147490739" r:id="rId2"/>
    <p:sldLayoutId id="2147490740" r:id="rId3"/>
    <p:sldLayoutId id="2147490741" r:id="rId4"/>
    <p:sldLayoutId id="2147490742" r:id="rId5"/>
    <p:sldLayoutId id="2147490743" r:id="rId6"/>
    <p:sldLayoutId id="2147490744" r:id="rId7"/>
    <p:sldLayoutId id="2147490745" r:id="rId8"/>
    <p:sldLayoutId id="2147490746" r:id="rId9"/>
    <p:sldLayoutId id="2147490747" r:id="rId10"/>
    <p:sldLayoutId id="2147490748" r:id="rId11"/>
    <p:sldLayoutId id="2147490749" r:id="rId12"/>
    <p:sldLayoutId id="2147490750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ABInBev_A5_RGB_L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8497888" y="6075363"/>
            <a:ext cx="13700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solidFill>
                  <a:srgbClr val="000000"/>
                </a:solidFill>
                <a:ea typeface="+mn-ea"/>
                <a:cs typeface="+mn-cs"/>
              </a:defRPr>
            </a:lvl1pPr>
          </a:lstStyle>
          <a:p>
            <a:pPr>
              <a:defRPr/>
            </a:pPr>
            <a:fld id="{5BD754AC-D714-4B07-A2A8-C0AC5B1147AD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  <p:sp>
        <p:nvSpPr>
          <p:cNvPr id="6148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6151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6E4C52DD-657B-4ABA-B0BA-FB28CC7974C0}" type="slidenum">
              <a:rPr lang="en-US" altLang="ko-KR" sz="800" u="none" smtClean="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752" r:id="rId1"/>
    <p:sldLayoutId id="2147490753" r:id="rId2"/>
    <p:sldLayoutId id="2147490754" r:id="rId3"/>
    <p:sldLayoutId id="2147490755" r:id="rId4"/>
    <p:sldLayoutId id="2147490756" r:id="rId5"/>
    <p:sldLayoutId id="2147490757" r:id="rId6"/>
    <p:sldLayoutId id="2147490758" r:id="rId7"/>
    <p:sldLayoutId id="2147490759" r:id="rId8"/>
    <p:sldLayoutId id="2147490760" r:id="rId9"/>
    <p:sldLayoutId id="2147490761" r:id="rId10"/>
    <p:sldLayoutId id="2147490762" r:id="rId11"/>
    <p:sldLayoutId id="2147490763" r:id="rId12"/>
    <p:sldLayoutId id="2147490764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ABInBev_A5_RGB_L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8497888" y="6075363"/>
            <a:ext cx="13700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ea typeface="+mn-ea"/>
                <a:cs typeface="+mn-cs"/>
              </a:defRPr>
            </a:lvl1pPr>
          </a:lstStyle>
          <a:p>
            <a:pPr>
              <a:defRPr/>
            </a:pPr>
            <a:fld id="{CD6D44FA-CF6D-4A0A-A070-F5A4A63A6A3C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 dirty="0">
              <a:solidFill>
                <a:srgbClr val="000000"/>
              </a:solidFill>
            </a:endParaRPr>
          </a:p>
        </p:txBody>
      </p:sp>
      <p:sp>
        <p:nvSpPr>
          <p:cNvPr id="2052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2055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6D5F386C-F052-4F6E-95C0-859EA6C87ECA}" type="slidenum">
              <a:rPr lang="en-US" altLang="ko-KR" sz="800" u="none" smtClean="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766" r:id="rId1"/>
    <p:sldLayoutId id="2147490767" r:id="rId2"/>
    <p:sldLayoutId id="2147490768" r:id="rId3"/>
    <p:sldLayoutId id="2147490769" r:id="rId4"/>
    <p:sldLayoutId id="2147490770" r:id="rId5"/>
    <p:sldLayoutId id="2147490771" r:id="rId6"/>
    <p:sldLayoutId id="2147490772" r:id="rId7"/>
    <p:sldLayoutId id="2147490773" r:id="rId8"/>
    <p:sldLayoutId id="2147490774" r:id="rId9"/>
    <p:sldLayoutId id="2147490775" r:id="rId10"/>
    <p:sldLayoutId id="2147490776" r:id="rId11"/>
    <p:sldLayoutId id="2147490777" r:id="rId12"/>
    <p:sldLayoutId id="2147490778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ABInBev_A5_RGB_L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8497888" y="6075363"/>
            <a:ext cx="13700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solidFill>
                  <a:srgbClr val="000000"/>
                </a:solidFill>
                <a:ea typeface="+mn-ea"/>
                <a:cs typeface="+mn-cs"/>
              </a:defRPr>
            </a:lvl1pPr>
          </a:lstStyle>
          <a:p>
            <a:pPr>
              <a:defRPr/>
            </a:pPr>
            <a:fld id="{5B3855E2-544D-4533-B4ED-0CE335A43A63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  <p:sp>
        <p:nvSpPr>
          <p:cNvPr id="21508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21509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21510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21511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3AF354B7-E3E4-415E-A14E-97454B97F0AF}" type="slidenum">
              <a:rPr lang="en-US" altLang="ko-KR" sz="800" u="none" smtClean="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780" r:id="rId1"/>
    <p:sldLayoutId id="2147490781" r:id="rId2"/>
    <p:sldLayoutId id="2147490782" r:id="rId3"/>
    <p:sldLayoutId id="2147490783" r:id="rId4"/>
    <p:sldLayoutId id="2147490784" r:id="rId5"/>
    <p:sldLayoutId id="2147490785" r:id="rId6"/>
    <p:sldLayoutId id="2147490786" r:id="rId7"/>
    <p:sldLayoutId id="2147490787" r:id="rId8"/>
    <p:sldLayoutId id="2147490788" r:id="rId9"/>
    <p:sldLayoutId id="2147490789" r:id="rId10"/>
    <p:sldLayoutId id="2147490790" r:id="rId11"/>
    <p:sldLayoutId id="2147490791" r:id="rId12"/>
    <p:sldLayoutId id="2147490792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ABInBev_A5_RGB_L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8497888" y="6075363"/>
            <a:ext cx="13700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ea typeface="+mn-ea"/>
                <a:cs typeface="+mn-cs"/>
              </a:defRPr>
            </a:lvl1pPr>
          </a:lstStyle>
          <a:p>
            <a:pPr>
              <a:defRPr/>
            </a:pPr>
            <a:fld id="{CD6D44FA-CF6D-4A0A-A070-F5A4A63A6A3C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 dirty="0">
              <a:solidFill>
                <a:srgbClr val="000000"/>
              </a:solidFill>
            </a:endParaRPr>
          </a:p>
        </p:txBody>
      </p:sp>
      <p:sp>
        <p:nvSpPr>
          <p:cNvPr id="2052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2055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6D5F386C-F052-4F6E-95C0-859EA6C87ECA}" type="slidenum">
              <a:rPr lang="en-US" altLang="ko-KR" sz="800" u="none" smtClean="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794" r:id="rId1"/>
    <p:sldLayoutId id="2147490795" r:id="rId2"/>
    <p:sldLayoutId id="2147490796" r:id="rId3"/>
    <p:sldLayoutId id="2147490797" r:id="rId4"/>
    <p:sldLayoutId id="2147490798" r:id="rId5"/>
    <p:sldLayoutId id="2147490799" r:id="rId6"/>
    <p:sldLayoutId id="2147490800" r:id="rId7"/>
    <p:sldLayoutId id="2147490801" r:id="rId8"/>
    <p:sldLayoutId id="2147490802" r:id="rId9"/>
    <p:sldLayoutId id="2147490803" r:id="rId10"/>
    <p:sldLayoutId id="2147490804" r:id="rId11"/>
    <p:sldLayoutId id="2147490805" r:id="rId12"/>
    <p:sldLayoutId id="2147490806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ABInBev_A5_RGB_L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8497888" y="6075363"/>
            <a:ext cx="13700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ea typeface="+mn-ea"/>
                <a:cs typeface="+mn-cs"/>
              </a:defRPr>
            </a:lvl1pPr>
          </a:lstStyle>
          <a:p>
            <a:pPr>
              <a:defRPr/>
            </a:pPr>
            <a:fld id="{CD6D44FA-CF6D-4A0A-A070-F5A4A63A6A3C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 dirty="0">
              <a:solidFill>
                <a:srgbClr val="000000"/>
              </a:solidFill>
            </a:endParaRPr>
          </a:p>
        </p:txBody>
      </p:sp>
      <p:sp>
        <p:nvSpPr>
          <p:cNvPr id="2052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2055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6D5F386C-F052-4F6E-95C0-859EA6C87ECA}" type="slidenum">
              <a:rPr lang="en-US" altLang="ko-KR" sz="800" u="none" smtClean="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808" r:id="rId1"/>
    <p:sldLayoutId id="2147490809" r:id="rId2"/>
    <p:sldLayoutId id="2147490810" r:id="rId3"/>
    <p:sldLayoutId id="2147490811" r:id="rId4"/>
    <p:sldLayoutId id="2147490812" r:id="rId5"/>
    <p:sldLayoutId id="2147490813" r:id="rId6"/>
    <p:sldLayoutId id="2147490814" r:id="rId7"/>
    <p:sldLayoutId id="2147490815" r:id="rId8"/>
    <p:sldLayoutId id="2147490816" r:id="rId9"/>
    <p:sldLayoutId id="2147490817" r:id="rId10"/>
    <p:sldLayoutId id="2147490818" r:id="rId11"/>
    <p:sldLayoutId id="2147490819" r:id="rId12"/>
    <p:sldLayoutId id="2147490820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ABInBev_A5_RGB_L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8497888" y="6075363"/>
            <a:ext cx="13700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solidFill>
                  <a:srgbClr val="000000"/>
                </a:solidFill>
                <a:ea typeface="+mn-ea"/>
                <a:cs typeface="+mn-cs"/>
              </a:defRPr>
            </a:lvl1pPr>
          </a:lstStyle>
          <a:p>
            <a:pPr>
              <a:defRPr/>
            </a:pPr>
            <a:fld id="{F7D338B3-50DB-4755-A07C-B3A32041109E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  <p:sp>
        <p:nvSpPr>
          <p:cNvPr id="5124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/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5127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3D0B0537-B77E-4D55-8C0B-9C422EF1F0A9}" type="slidenum">
              <a:rPr lang="en-US" altLang="ko-KR" sz="800" u="none" smtClean="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278" r:id="rId1"/>
    <p:sldLayoutId id="2147490279" r:id="rId2"/>
    <p:sldLayoutId id="2147490280" r:id="rId3"/>
    <p:sldLayoutId id="2147490281" r:id="rId4"/>
    <p:sldLayoutId id="2147490282" r:id="rId5"/>
    <p:sldLayoutId id="2147490283" r:id="rId6"/>
    <p:sldLayoutId id="2147490284" r:id="rId7"/>
    <p:sldLayoutId id="2147490285" r:id="rId8"/>
    <p:sldLayoutId id="2147490286" r:id="rId9"/>
    <p:sldLayoutId id="2147490287" r:id="rId10"/>
    <p:sldLayoutId id="2147490288" r:id="rId11"/>
    <p:sldLayoutId id="2147490289" r:id="rId12"/>
    <p:sldLayoutId id="2147490290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ABInBev_A5_RGB_L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8497888" y="6075363"/>
            <a:ext cx="13700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solidFill>
                  <a:srgbClr val="000000"/>
                </a:solidFill>
                <a:ea typeface="+mn-ea"/>
                <a:cs typeface="+mn-cs"/>
              </a:defRPr>
            </a:lvl1pPr>
          </a:lstStyle>
          <a:p>
            <a:pPr>
              <a:defRPr/>
            </a:pPr>
            <a:fld id="{5BD754AC-D714-4B07-A2A8-C0AC5B1147AD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  <p:sp>
        <p:nvSpPr>
          <p:cNvPr id="6148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6151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6E4C52DD-657B-4ABA-B0BA-FB28CC7974C0}" type="slidenum">
              <a:rPr lang="en-US" altLang="ko-KR" sz="800" u="none" smtClean="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291" r:id="rId1"/>
    <p:sldLayoutId id="2147490292" r:id="rId2"/>
    <p:sldLayoutId id="2147490293" r:id="rId3"/>
    <p:sldLayoutId id="2147490294" r:id="rId4"/>
    <p:sldLayoutId id="2147490295" r:id="rId5"/>
    <p:sldLayoutId id="2147490296" r:id="rId6"/>
    <p:sldLayoutId id="2147490297" r:id="rId7"/>
    <p:sldLayoutId id="2147490298" r:id="rId8"/>
    <p:sldLayoutId id="2147490299" r:id="rId9"/>
    <p:sldLayoutId id="2147490300" r:id="rId10"/>
    <p:sldLayoutId id="2147490301" r:id="rId11"/>
    <p:sldLayoutId id="2147490302" r:id="rId12"/>
    <p:sldLayoutId id="2147490303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solidFill>
                  <a:srgbClr val="000000"/>
                </a:solidFill>
                <a:ea typeface="+mn-ea"/>
                <a:cs typeface="+mn-cs"/>
              </a:defRPr>
            </a:lvl1pPr>
          </a:lstStyle>
          <a:p>
            <a:pPr>
              <a:defRPr/>
            </a:pPr>
            <a:fld id="{6A14B2D3-38D3-4182-929A-A69CFC791F69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  <p:sp>
        <p:nvSpPr>
          <p:cNvPr id="7171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/>
          </a:p>
        </p:txBody>
      </p:sp>
      <p:sp>
        <p:nvSpPr>
          <p:cNvPr id="7172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7173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7174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pic>
        <p:nvPicPr>
          <p:cNvPr id="7175" name="그림 1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85442"/>
          <a:stretch>
            <a:fillRect/>
          </a:stretch>
        </p:blipFill>
        <p:spPr bwMode="auto">
          <a:xfrm>
            <a:off x="0" y="6154738"/>
            <a:ext cx="9906000" cy="703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E168D119-7CB5-4021-80E1-B922B2F89310}" type="slidenum">
              <a:rPr lang="en-US" altLang="ko-KR" sz="800" u="none" smtClean="0">
                <a:solidFill>
                  <a:srgbClr val="FFFFFF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FFFFFF"/>
              </a:solidFill>
            </a:endParaRPr>
          </a:p>
        </p:txBody>
      </p:sp>
      <p:pic>
        <p:nvPicPr>
          <p:cNvPr id="7177" name="Picture 2" descr="ABInBev_A5_RGB_LO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r="4887" b="30942"/>
          <a:stretch>
            <a:fillRect/>
          </a:stretch>
        </p:blipFill>
        <p:spPr bwMode="auto">
          <a:xfrm>
            <a:off x="7256463" y="5891213"/>
            <a:ext cx="1296987" cy="73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0304" r:id="rId1"/>
    <p:sldLayoutId id="2147490305" r:id="rId2"/>
    <p:sldLayoutId id="2147490306" r:id="rId3"/>
    <p:sldLayoutId id="2147490307" r:id="rId4"/>
    <p:sldLayoutId id="2147490308" r:id="rId5"/>
    <p:sldLayoutId id="2147490309" r:id="rId6"/>
    <p:sldLayoutId id="2147490310" r:id="rId7"/>
    <p:sldLayoutId id="2147490311" r:id="rId8"/>
    <p:sldLayoutId id="2147490312" r:id="rId9"/>
    <p:sldLayoutId id="2147490313" r:id="rId10"/>
    <p:sldLayoutId id="2147490314" r:id="rId11"/>
    <p:sldLayoutId id="2147490315" r:id="rId12"/>
    <p:sldLayoutId id="2147490316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ABInBev_A5_RGB_L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8497888" y="6075363"/>
            <a:ext cx="13700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solidFill>
                  <a:srgbClr val="000000"/>
                </a:solidFill>
                <a:ea typeface="+mn-ea"/>
                <a:cs typeface="+mn-cs"/>
              </a:defRPr>
            </a:lvl1pPr>
          </a:lstStyle>
          <a:p>
            <a:pPr>
              <a:defRPr/>
            </a:pPr>
            <a:fld id="{4C5FE317-EE8A-4F30-AE66-68BA7BBFB64D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  <p:sp>
        <p:nvSpPr>
          <p:cNvPr id="8196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/>
          </a:p>
        </p:txBody>
      </p:sp>
      <p:sp>
        <p:nvSpPr>
          <p:cNvPr id="8197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8199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4329193E-E2F7-4175-B5D9-F7B322591030}" type="slidenum">
              <a:rPr lang="en-US" altLang="ko-KR" sz="800" u="none" smtClean="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317" r:id="rId1"/>
    <p:sldLayoutId id="2147490318" r:id="rId2"/>
    <p:sldLayoutId id="2147490319" r:id="rId3"/>
    <p:sldLayoutId id="2147490320" r:id="rId4"/>
    <p:sldLayoutId id="2147490321" r:id="rId5"/>
    <p:sldLayoutId id="2147490322" r:id="rId6"/>
    <p:sldLayoutId id="2147490323" r:id="rId7"/>
    <p:sldLayoutId id="2147490324" r:id="rId8"/>
    <p:sldLayoutId id="2147490325" r:id="rId9"/>
    <p:sldLayoutId id="2147490326" r:id="rId10"/>
    <p:sldLayoutId id="2147490327" r:id="rId11"/>
    <p:sldLayoutId id="2147490328" r:id="rId12"/>
    <p:sldLayoutId id="2147490329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ABInBev_A5_RGB_L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412" b="30942"/>
          <a:stretch>
            <a:fillRect/>
          </a:stretch>
        </p:blipFill>
        <p:spPr bwMode="auto">
          <a:xfrm>
            <a:off x="8497888" y="6075363"/>
            <a:ext cx="13700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544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95838" y="6577013"/>
            <a:ext cx="266700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 u="none">
                <a:solidFill>
                  <a:srgbClr val="000000"/>
                </a:solidFill>
                <a:ea typeface="+mn-ea"/>
                <a:cs typeface="+mn-cs"/>
              </a:defRPr>
            </a:lvl1pPr>
          </a:lstStyle>
          <a:p>
            <a:pPr>
              <a:defRPr/>
            </a:pPr>
            <a:fld id="{8522BE43-1E15-4522-B335-6831BC24AB61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  <p:sp>
        <p:nvSpPr>
          <p:cNvPr id="9220" name="Line 4"/>
          <p:cNvSpPr>
            <a:spLocks noChangeShapeType="1"/>
          </p:cNvSpPr>
          <p:nvPr/>
        </p:nvSpPr>
        <p:spPr bwMode="auto">
          <a:xfrm>
            <a:off x="273050" y="569913"/>
            <a:ext cx="937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72000" tIns="0" rIns="72000" bIns="0" anchor="ctr"/>
          <a:lstStyle/>
          <a:p>
            <a:endParaRPr lang="ko-KR" altLang="en-US"/>
          </a:p>
        </p:txBody>
      </p:sp>
      <p:sp>
        <p:nvSpPr>
          <p:cNvPr id="9221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73050" y="114300"/>
            <a:ext cx="86645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Your heading her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</p:txBody>
      </p:sp>
      <p:sp>
        <p:nvSpPr>
          <p:cNvPr id="9223" name="Rectangle 7"/>
          <p:cNvSpPr>
            <a:spLocks noChangeArrowheads="1"/>
          </p:cNvSpPr>
          <p:nvPr userDrawn="1"/>
        </p:nvSpPr>
        <p:spPr bwMode="auto">
          <a:xfrm>
            <a:off x="273050" y="1177925"/>
            <a:ext cx="9372600" cy="50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72000" tIns="0" rIns="72000" bIns="0" anchor="ctr"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 userDrawn="1"/>
        </p:nvSpPr>
        <p:spPr>
          <a:xfrm>
            <a:off x="4733925" y="6586538"/>
            <a:ext cx="438150" cy="122237"/>
          </a:xfrm>
          <a:prstGeom prst="rect">
            <a:avLst/>
          </a:prstGeom>
          <a:ln/>
        </p:spPr>
        <p:txBody>
          <a:bodyPr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bg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>
              <a:defRPr/>
            </a:pPr>
            <a:fld id="{8110950D-8D6D-45BE-8787-1D4E815C5CA3}" type="slidenum">
              <a:rPr lang="en-US" altLang="ko-KR" sz="800" u="none" smtClean="0">
                <a:solidFill>
                  <a:srgbClr val="000000"/>
                </a:solidFill>
              </a:rPr>
              <a:pPr algn="ctr">
                <a:defRPr/>
              </a:pPr>
              <a:t>‹#›</a:t>
            </a:fld>
            <a:endParaRPr lang="en-US" altLang="ko-KR" sz="800" u="none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330" r:id="rId1"/>
    <p:sldLayoutId id="2147490331" r:id="rId2"/>
    <p:sldLayoutId id="2147490332" r:id="rId3"/>
    <p:sldLayoutId id="2147490333" r:id="rId4"/>
    <p:sldLayoutId id="2147490334" r:id="rId5"/>
    <p:sldLayoutId id="2147490335" r:id="rId6"/>
    <p:sldLayoutId id="2147490336" r:id="rId7"/>
    <p:sldLayoutId id="2147490337" r:id="rId8"/>
    <p:sldLayoutId id="2147490338" r:id="rId9"/>
    <p:sldLayoutId id="2147490339" r:id="rId10"/>
    <p:sldLayoutId id="2147490340" r:id="rId11"/>
    <p:sldLayoutId id="2147490341" r:id="rId12"/>
    <p:sldLayoutId id="2147490342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+mn-lt"/>
          <a:ea typeface="맑은 고딕" pitchFamily="50" charset="-127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맑은 고딕" pitchFamily="50" charset="-127"/>
          <a:cs typeface="Arial" pitchFamily="34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Calibri" pitchFamily="34" charset="0"/>
          <a:ea typeface="굴림" pitchFamily="50" charset="-127"/>
          <a:cs typeface="Arial" pitchFamily="34" charset="0"/>
        </a:defRPr>
      </a:lvl9pPr>
    </p:titleStyle>
    <p:bodyStyle>
      <a:lvl1pPr marL="342900" indent="-342900" algn="l" rtl="0" eaLnBrk="0" fontAlgn="base" latinLnBrk="1" hangingPunct="0">
        <a:lnSpc>
          <a:spcPct val="90000"/>
        </a:lnSpc>
        <a:spcBef>
          <a:spcPct val="0"/>
        </a:spcBef>
        <a:spcAft>
          <a:spcPct val="10000"/>
        </a:spcAft>
        <a:buSzPct val="90000"/>
        <a:defRPr kumimoji="1" sz="1600" b="1">
          <a:solidFill>
            <a:schemeClr val="tx1"/>
          </a:solidFill>
          <a:latin typeface="+mn-lt"/>
          <a:ea typeface="맑은 고딕" pitchFamily="50" charset="-127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SzPct val="85000"/>
        <a:buFont typeface="Webdings" pitchFamily="18" charset="2"/>
        <a:buChar char="8"/>
        <a:defRPr kumimoji="1">
          <a:solidFill>
            <a:srgbClr val="000000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→"/>
        <a:defRPr kumimoji="1" sz="1600" i="1">
          <a:solidFill>
            <a:srgbClr val="000000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ea"/>
          <a:ea typeface="+mn-ea"/>
          <a:cs typeface="굴림" pitchFamily="50" charset="-127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56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6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6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56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56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" Target="slide31.xml"/><Relationship Id="rId1" Type="http://schemas.openxmlformats.org/officeDocument/2006/relationships/slideLayout" Target="../slideLayouts/slideLayout56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56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56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" Target="slide31.xml"/><Relationship Id="rId1" Type="http://schemas.openxmlformats.org/officeDocument/2006/relationships/slideLayout" Target="../slideLayouts/slideLayout56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42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" Target="slide38.xml"/><Relationship Id="rId1" Type="http://schemas.openxmlformats.org/officeDocument/2006/relationships/slideLayout" Target="../slideLayouts/slideLayout396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slideLayout" Target="../slideLayouts/slideLayout396.xml"/><Relationship Id="rId10" Type="http://schemas.openxmlformats.org/officeDocument/2006/relationships/tags" Target="../tags/tag16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slideLayout" Target="../slideLayouts/slideLayout396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slideLayout" Target="../slideLayouts/slideLayout67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.v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5" Type="http://schemas.openxmlformats.org/officeDocument/2006/relationships/tags" Target="../tags/tag32.xml"/><Relationship Id="rId10" Type="http://schemas.openxmlformats.org/officeDocument/2006/relationships/tags" Target="../tags/tag37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oleObject" Target="../embeddings/oleObject1.bin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" Target="slide23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28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4.bin"/><Relationship Id="rId5" Type="http://schemas.openxmlformats.org/officeDocument/2006/relationships/oleObject" Target="../embeddings/oleObject3.bin"/><Relationship Id="rId4" Type="http://schemas.openxmlformats.org/officeDocument/2006/relationships/oleObject" Target="../embeddings/oleObject2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7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0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" Target="slide5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1.xml"/><Relationship Id="rId5" Type="http://schemas.openxmlformats.org/officeDocument/2006/relationships/image" Target="../media/image23.emf"/><Relationship Id="rId4" Type="http://schemas.openxmlformats.org/officeDocument/2006/relationships/image" Target="../media/image22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1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1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slide" Target="slide40.xml"/><Relationship Id="rId7" Type="http://schemas.openxmlformats.org/officeDocument/2006/relationships/oleObject" Target="../embeddings/oleObject11.bin"/><Relationship Id="rId2" Type="http://schemas.openxmlformats.org/officeDocument/2006/relationships/slideLayout" Target="../slideLayouts/slideLayout25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10.bin"/><Relationship Id="rId5" Type="http://schemas.openxmlformats.org/officeDocument/2006/relationships/oleObject" Target="../embeddings/oleObject9.bin"/><Relationship Id="rId10" Type="http://schemas.openxmlformats.org/officeDocument/2006/relationships/oleObject" Target="../embeddings/oleObject14.bin"/><Relationship Id="rId4" Type="http://schemas.openxmlformats.org/officeDocument/2006/relationships/oleObject" Target="../embeddings/oleObject8.bin"/><Relationship Id="rId9" Type="http://schemas.openxmlformats.org/officeDocument/2006/relationships/oleObject" Target="../embeddings/oleObject13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slide" Target="slide44.xml"/><Relationship Id="rId1" Type="http://schemas.openxmlformats.org/officeDocument/2006/relationships/slideLayout" Target="../slideLayouts/slideLayout25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" Target="slide44.xml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25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" Target="slide44.xml"/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258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" Target="slide44.xml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25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" Target="slide44.xml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258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258.xml"/><Relationship Id="rId5" Type="http://schemas.openxmlformats.org/officeDocument/2006/relationships/slide" Target="slide44.xml"/><Relationship Id="rId4" Type="http://schemas.openxmlformats.org/officeDocument/2006/relationships/image" Target="../media/image33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58.xml"/><Relationship Id="rId5" Type="http://schemas.openxmlformats.org/officeDocument/2006/relationships/slide" Target="slide44.xml"/><Relationship Id="rId4" Type="http://schemas.openxmlformats.org/officeDocument/2006/relationships/image" Target="../media/image36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258.xml"/><Relationship Id="rId5" Type="http://schemas.openxmlformats.org/officeDocument/2006/relationships/slide" Target="slide44.xml"/><Relationship Id="rId4" Type="http://schemas.openxmlformats.org/officeDocument/2006/relationships/image" Target="../media/image39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image" Target="../media/image40.emf"/><Relationship Id="rId1" Type="http://schemas.openxmlformats.org/officeDocument/2006/relationships/slideLayout" Target="../slideLayouts/slideLayout258.xml"/><Relationship Id="rId5" Type="http://schemas.openxmlformats.org/officeDocument/2006/relationships/slide" Target="slide44.xml"/><Relationship Id="rId4" Type="http://schemas.openxmlformats.org/officeDocument/2006/relationships/image" Target="../media/image42.emf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image" Target="../media/image43.emf"/><Relationship Id="rId1" Type="http://schemas.openxmlformats.org/officeDocument/2006/relationships/slideLayout" Target="../slideLayouts/slideLayout258.xml"/><Relationship Id="rId5" Type="http://schemas.openxmlformats.org/officeDocument/2006/relationships/slide" Target="slide44.xml"/><Relationship Id="rId4" Type="http://schemas.openxmlformats.org/officeDocument/2006/relationships/image" Target="../media/image45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258.xml"/><Relationship Id="rId5" Type="http://schemas.openxmlformats.org/officeDocument/2006/relationships/slide" Target="slide44.xml"/><Relationship Id="rId4" Type="http://schemas.openxmlformats.org/officeDocument/2006/relationships/image" Target="../media/image48.emf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image" Target="../media/image49.emf"/><Relationship Id="rId1" Type="http://schemas.openxmlformats.org/officeDocument/2006/relationships/slideLayout" Target="../slideLayouts/slideLayout258.xml"/><Relationship Id="rId5" Type="http://schemas.openxmlformats.org/officeDocument/2006/relationships/slide" Target="slide44.xml"/><Relationship Id="rId4" Type="http://schemas.openxmlformats.org/officeDocument/2006/relationships/image" Target="../media/image51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" Target="slide34.xml"/><Relationship Id="rId1" Type="http://schemas.openxmlformats.org/officeDocument/2006/relationships/slideLayout" Target="../slideLayouts/slideLayout15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" Target="slide11.xml"/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258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0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8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5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530" name="제목 3"/>
          <p:cNvSpPr>
            <a:spLocks noGrp="1"/>
          </p:cNvSpPr>
          <p:nvPr>
            <p:ph type="ctrTitle"/>
          </p:nvPr>
        </p:nvSpPr>
        <p:spPr>
          <a:xfrm>
            <a:off x="681038" y="3600450"/>
            <a:ext cx="8420100" cy="549275"/>
          </a:xfrm>
        </p:spPr>
        <p:txBody>
          <a:bodyPr/>
          <a:lstStyle/>
          <a:p>
            <a:r>
              <a:rPr lang="en-US" altLang="ko-KR" dirty="0" smtClean="0"/>
              <a:t>OB</a:t>
            </a:r>
            <a:r>
              <a:rPr lang="ko-KR" altLang="en-US" dirty="0" smtClean="0"/>
              <a:t> </a:t>
            </a:r>
            <a:r>
              <a:rPr lang="en-US" altLang="ko-KR" dirty="0" smtClean="0"/>
              <a:t>Sales Forecasting</a:t>
            </a:r>
            <a:endParaRPr lang="ko-KR" altLang="en-US" dirty="0" smtClean="0"/>
          </a:p>
        </p:txBody>
      </p:sp>
      <p:sp>
        <p:nvSpPr>
          <p:cNvPr id="278531" name="부제목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ko-KR" dirty="0" smtClean="0"/>
              <a:t>December 2014</a:t>
            </a:r>
            <a:endParaRPr lang="ko-KR" altLang="en-US" dirty="0" smtClean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8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itchFamily="50" charset="-127"/>
              </a:rPr>
              <a:t>모형결과 </a:t>
            </a:r>
            <a:r>
              <a:rPr lang="en-US" altLang="ko-KR" dirty="0" smtClean="0">
                <a:latin typeface="맑은 고딕" pitchFamily="50" charset="-127"/>
              </a:rPr>
              <a:t>– </a:t>
            </a:r>
            <a:r>
              <a:rPr lang="ko-KR" altLang="en-US" dirty="0" smtClean="0">
                <a:latin typeface="맑은 고딕" pitchFamily="50" charset="-127"/>
              </a:rPr>
              <a:t>회사전체 판매량 월별 예측 </a:t>
            </a:r>
            <a:r>
              <a:rPr lang="en-US" altLang="ko-KR" dirty="0" smtClean="0">
                <a:latin typeface="맑은 고딕" pitchFamily="50" charset="-127"/>
              </a:rPr>
              <a:t>(1) Model Fitting</a:t>
            </a:r>
          </a:p>
        </p:txBody>
      </p:sp>
      <p:sp>
        <p:nvSpPr>
          <p:cNvPr id="8" name="AutoShape 43"/>
          <p:cNvSpPr>
            <a:spLocks noChangeArrowheads="1"/>
          </p:cNvSpPr>
          <p:nvPr/>
        </p:nvSpPr>
        <p:spPr bwMode="auto">
          <a:xfrm>
            <a:off x="5001086" y="4409201"/>
            <a:ext cx="4452507" cy="1725214"/>
          </a:xfrm>
          <a:prstGeom prst="roundRect">
            <a:avLst>
              <a:gd name="adj" fmla="val 0"/>
            </a:avLst>
          </a:prstGeom>
          <a:solidFill>
            <a:srgbClr val="FDF9F9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18000" tIns="18000" rIns="18000" bIns="18000" rtlCol="0" anchor="ctr"/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 latinLnBrk="0">
              <a:lnSpc>
                <a:spcPct val="110000"/>
              </a:lnSpc>
              <a:buSzPct val="120000"/>
              <a:buFont typeface="Wingdings" pitchFamily="2" charset="2"/>
              <a:buChar char="§"/>
              <a:defRPr/>
            </a:pPr>
            <a:endParaRPr lang="ko-KR" altLang="en-US" sz="1300" u="none" kern="0" dirty="0" smtClean="0">
              <a:solidFill>
                <a:prstClr val="black">
                  <a:lumMod val="75000"/>
                  <a:lumOff val="25000"/>
                </a:prst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" name="직사각형 8"/>
          <p:cNvSpPr>
            <a:spLocks noChangeArrowheads="1"/>
          </p:cNvSpPr>
          <p:nvPr/>
        </p:nvSpPr>
        <p:spPr bwMode="auto">
          <a:xfrm>
            <a:off x="5036011" y="4679621"/>
            <a:ext cx="4249738" cy="1097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 defTabSz="912813" latinLnBrk="0">
              <a:spcBef>
                <a:spcPts val="1000"/>
              </a:spcBef>
              <a:buFont typeface="Wingdings" pitchFamily="2" charset="2"/>
              <a:buChar char="§"/>
            </a:pPr>
            <a:r>
              <a:rPr lang="ko-KR" altLang="en-US" sz="14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예측 모형 </a:t>
            </a:r>
            <a:r>
              <a:rPr lang="en-US" altLang="ko-KR" sz="14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R</a:t>
            </a:r>
            <a:r>
              <a:rPr lang="en-US" altLang="ko-KR" sz="1400" u="none" baseline="30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r>
              <a:rPr lang="en-US" altLang="ko-KR" sz="14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: 0.935,  Adjusted R</a:t>
            </a:r>
            <a:r>
              <a:rPr lang="en-US" altLang="ko-KR" sz="1400" u="none" baseline="30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r>
              <a:rPr lang="en-US" altLang="ko-KR" sz="14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:  0.931</a:t>
            </a:r>
          </a:p>
          <a:p>
            <a:pPr marL="174625" indent="-174625" defTabSz="912813" latinLnBrk="0">
              <a:spcBef>
                <a:spcPts val="1000"/>
              </a:spcBef>
              <a:buFont typeface="Wingdings" pitchFamily="2" charset="2"/>
              <a:buChar char="§"/>
            </a:pPr>
            <a:r>
              <a:rPr lang="en-US" altLang="ko-KR" sz="14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’13</a:t>
            </a:r>
            <a:r>
              <a:rPr lang="ko-KR" altLang="en-US" sz="14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년 </a:t>
            </a:r>
            <a:r>
              <a:rPr lang="en-US" altLang="ko-KR" sz="14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12</a:t>
            </a:r>
            <a:r>
              <a:rPr lang="ko-KR" altLang="en-US" sz="14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월</a:t>
            </a:r>
            <a:r>
              <a:rPr lang="en-US" altLang="ko-KR" sz="14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~’14</a:t>
            </a:r>
            <a:r>
              <a:rPr lang="ko-KR" altLang="en-US" sz="14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년 </a:t>
            </a:r>
            <a:r>
              <a:rPr lang="en-US" altLang="ko-KR" sz="14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11</a:t>
            </a:r>
            <a:r>
              <a:rPr lang="ko-KR" altLang="en-US" sz="14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월</a:t>
            </a:r>
            <a:r>
              <a:rPr lang="en-US" altLang="ko-KR" sz="14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12</a:t>
            </a:r>
            <a:r>
              <a:rPr lang="ko-KR" altLang="en-US" sz="14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월</a:t>
            </a:r>
            <a:r>
              <a:rPr lang="en-US" altLang="ko-KR" sz="14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 </a:t>
            </a:r>
            <a:r>
              <a:rPr lang="ko-KR" altLang="en-US" sz="14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예측 정확도</a:t>
            </a:r>
            <a:r>
              <a:rPr lang="en-US" altLang="ko-KR" sz="15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5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4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- </a:t>
            </a:r>
            <a:r>
              <a:rPr kumimoji="1" lang="ko-KR" altLang="en-US" sz="1400" u="none" dirty="0" smtClean="0">
                <a:solidFill>
                  <a:srgbClr val="A50021"/>
                </a:solidFill>
                <a:latin typeface="맑은 고딕" pitchFamily="50" charset="-127"/>
                <a:ea typeface="맑은 고딕" pitchFamily="50" charset="-127"/>
              </a:rPr>
              <a:t>평균 </a:t>
            </a:r>
            <a:r>
              <a:rPr kumimoji="1" lang="en-US" altLang="ko-KR" sz="1500" u="none" dirty="0" smtClean="0">
                <a:solidFill>
                  <a:srgbClr val="A50021"/>
                </a:solidFill>
                <a:latin typeface="맑은 고딕" pitchFamily="50" charset="-127"/>
                <a:ea typeface="맑은 고딕" pitchFamily="50" charset="-127"/>
              </a:rPr>
              <a:t>98.56%</a:t>
            </a:r>
            <a:r>
              <a:rPr kumimoji="1" lang="en-US" altLang="ko-KR" sz="1400" u="none" dirty="0" smtClean="0">
                <a:solidFill>
                  <a:srgbClr val="A5002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4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4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4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- 12</a:t>
            </a:r>
            <a:r>
              <a:rPr lang="ko-KR" altLang="en-US" sz="14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월 동안 </a:t>
            </a:r>
            <a:r>
              <a:rPr lang="en-US" altLang="ko-KR" sz="14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97% </a:t>
            </a:r>
            <a:r>
              <a:rPr lang="ko-KR" altLang="en-US" sz="14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이상 정확도 유지</a:t>
            </a:r>
            <a:endParaRPr lang="en-US" altLang="ko-KR" sz="1400" u="none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" name="TextBox 23"/>
          <p:cNvSpPr txBox="1"/>
          <p:nvPr/>
        </p:nvSpPr>
        <p:spPr>
          <a:xfrm>
            <a:off x="5757663" y="1301327"/>
            <a:ext cx="693739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>
              <a:defRPr/>
            </a:pPr>
            <a:r>
              <a:rPr kumimoji="1" lang="en-US" altLang="ko-KR" sz="1200" u="none" spc="-50" dirty="0" smtClean="0">
                <a:solidFill>
                  <a:srgbClr val="990033"/>
                </a:solidFill>
                <a:latin typeface="맑은 고딕" pitchFamily="50" charset="-127"/>
                <a:ea typeface="맑은 고딕" pitchFamily="50" charset="-127"/>
              </a:rPr>
              <a:t>99.6</a:t>
            </a:r>
            <a:endParaRPr kumimoji="1" lang="ko-KR" altLang="en-US" sz="1200" u="none" spc="-50" dirty="0">
              <a:solidFill>
                <a:srgbClr val="99003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2" name="직선 연결선 11"/>
          <p:cNvCxnSpPr>
            <a:stCxn id="13" idx="6"/>
            <a:endCxn id="14" idx="2"/>
          </p:cNvCxnSpPr>
          <p:nvPr/>
        </p:nvCxnSpPr>
        <p:spPr>
          <a:xfrm>
            <a:off x="7434118" y="1615198"/>
            <a:ext cx="532303" cy="115742"/>
          </a:xfrm>
          <a:prstGeom prst="line">
            <a:avLst/>
          </a:prstGeom>
          <a:ln w="25400">
            <a:solidFill>
              <a:srgbClr val="99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타원 12"/>
          <p:cNvSpPr/>
          <p:nvPr/>
        </p:nvSpPr>
        <p:spPr>
          <a:xfrm>
            <a:off x="7317630" y="1559516"/>
            <a:ext cx="116488" cy="111363"/>
          </a:xfrm>
          <a:prstGeom prst="ellips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>
              <a:defRPr/>
            </a:pPr>
            <a:endParaRPr kumimoji="1" lang="ko-KR" altLang="en-US" sz="1200" u="none" spc="-5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" name="타원 13"/>
          <p:cNvSpPr/>
          <p:nvPr/>
        </p:nvSpPr>
        <p:spPr>
          <a:xfrm>
            <a:off x="7966421" y="1675954"/>
            <a:ext cx="117962" cy="109972"/>
          </a:xfrm>
          <a:prstGeom prst="ellips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>
              <a:defRPr/>
            </a:pPr>
            <a:endParaRPr kumimoji="1" lang="ko-KR" altLang="en-US" sz="1200" u="none" spc="-5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5" name="TextBox 16"/>
          <p:cNvSpPr txBox="1"/>
          <p:nvPr/>
        </p:nvSpPr>
        <p:spPr>
          <a:xfrm>
            <a:off x="6412271" y="1382302"/>
            <a:ext cx="644368" cy="276999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>
              <a:defRPr/>
            </a:pPr>
            <a:r>
              <a:rPr kumimoji="1" lang="en-US" altLang="ko-KR" sz="1200" u="none" spc="-50" dirty="0" smtClean="0">
                <a:solidFill>
                  <a:srgbClr val="990033"/>
                </a:solidFill>
                <a:latin typeface="맑은 고딕" pitchFamily="50" charset="-127"/>
                <a:ea typeface="맑은 고딕" pitchFamily="50" charset="-127"/>
              </a:rPr>
              <a:t>99.2</a:t>
            </a:r>
            <a:endParaRPr kumimoji="1" lang="ko-KR" altLang="en-US" sz="1200" u="none" spc="-50" dirty="0">
              <a:solidFill>
                <a:srgbClr val="99003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6" name="TextBox 17"/>
          <p:cNvSpPr txBox="1"/>
          <p:nvPr/>
        </p:nvSpPr>
        <p:spPr>
          <a:xfrm>
            <a:off x="7053691" y="1324261"/>
            <a:ext cx="644367" cy="46166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>
              <a:defRPr/>
            </a:pPr>
            <a:r>
              <a:rPr kumimoji="1" lang="en-US" altLang="ko-KR" sz="1200" u="none" spc="-50" dirty="0" smtClean="0">
                <a:solidFill>
                  <a:srgbClr val="990033"/>
                </a:solidFill>
                <a:latin typeface="맑은 고딕" pitchFamily="50" charset="-127"/>
                <a:ea typeface="맑은 고딕" pitchFamily="50" charset="-127"/>
              </a:rPr>
              <a:t>99.4</a:t>
            </a:r>
          </a:p>
          <a:p>
            <a:pPr algn="ctr" defTabSz="914400">
              <a:defRPr/>
            </a:pPr>
            <a:endParaRPr kumimoji="1" lang="ko-KR" altLang="en-US" sz="1200" u="none" spc="-50" dirty="0">
              <a:solidFill>
                <a:srgbClr val="99003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" name="TextBox 20"/>
          <p:cNvSpPr txBox="1"/>
          <p:nvPr/>
        </p:nvSpPr>
        <p:spPr>
          <a:xfrm>
            <a:off x="7703956" y="1433742"/>
            <a:ext cx="642893" cy="276999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>
              <a:defRPr/>
            </a:pPr>
            <a:r>
              <a:rPr kumimoji="1" lang="en-US" altLang="ko-KR" sz="1200" u="none" spc="-50" dirty="0" smtClean="0">
                <a:solidFill>
                  <a:srgbClr val="990033"/>
                </a:solidFill>
                <a:latin typeface="맑은 고딕" pitchFamily="50" charset="-127"/>
                <a:ea typeface="맑은 고딕" pitchFamily="50" charset="-127"/>
              </a:rPr>
              <a:t>98.1</a:t>
            </a:r>
            <a:endParaRPr kumimoji="1" lang="ko-KR" altLang="en-US" sz="1200" u="none" spc="-50" dirty="0">
              <a:solidFill>
                <a:srgbClr val="99003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" name="TextBox 23"/>
          <p:cNvSpPr txBox="1"/>
          <p:nvPr/>
        </p:nvSpPr>
        <p:spPr>
          <a:xfrm>
            <a:off x="8354223" y="1446269"/>
            <a:ext cx="644367" cy="276999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>
              <a:defRPr/>
            </a:pPr>
            <a:r>
              <a:rPr kumimoji="1" lang="en-US" altLang="ko-KR" sz="1200" u="none" spc="-50" dirty="0" smtClean="0">
                <a:solidFill>
                  <a:srgbClr val="990033"/>
                </a:solidFill>
                <a:latin typeface="맑은 고딕" pitchFamily="50" charset="-127"/>
                <a:ea typeface="맑은 고딕" pitchFamily="50" charset="-127"/>
              </a:rPr>
              <a:t>98.1</a:t>
            </a:r>
            <a:endParaRPr kumimoji="1" lang="ko-KR" altLang="en-US" sz="1200" u="none" spc="-50" dirty="0">
              <a:solidFill>
                <a:srgbClr val="990033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19" name="직선 연결선 18"/>
          <p:cNvCxnSpPr>
            <a:stCxn id="14" idx="6"/>
            <a:endCxn id="21" idx="2"/>
          </p:cNvCxnSpPr>
          <p:nvPr/>
        </p:nvCxnSpPr>
        <p:spPr>
          <a:xfrm>
            <a:off x="8084383" y="1730940"/>
            <a:ext cx="533779" cy="0"/>
          </a:xfrm>
          <a:prstGeom prst="line">
            <a:avLst/>
          </a:prstGeom>
          <a:ln w="25400">
            <a:solidFill>
              <a:srgbClr val="99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직선 연결선 19"/>
          <p:cNvCxnSpPr>
            <a:stCxn id="22" idx="6"/>
            <a:endCxn id="13" idx="2"/>
          </p:cNvCxnSpPr>
          <p:nvPr/>
        </p:nvCxnSpPr>
        <p:spPr>
          <a:xfrm flipV="1">
            <a:off x="6792700" y="1615198"/>
            <a:ext cx="524930" cy="43609"/>
          </a:xfrm>
          <a:prstGeom prst="line">
            <a:avLst/>
          </a:prstGeom>
          <a:ln w="25400">
            <a:solidFill>
              <a:srgbClr val="99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타원 20"/>
          <p:cNvSpPr/>
          <p:nvPr/>
        </p:nvSpPr>
        <p:spPr>
          <a:xfrm>
            <a:off x="8618162" y="1675954"/>
            <a:ext cx="116488" cy="109972"/>
          </a:xfrm>
          <a:prstGeom prst="ellips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>
              <a:defRPr/>
            </a:pPr>
            <a:endParaRPr kumimoji="1" lang="ko-KR" altLang="en-US" sz="1200" u="none" spc="-5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2" name="타원 21"/>
          <p:cNvSpPr/>
          <p:nvPr/>
        </p:nvSpPr>
        <p:spPr>
          <a:xfrm>
            <a:off x="6676213" y="1603125"/>
            <a:ext cx="116487" cy="111363"/>
          </a:xfrm>
          <a:prstGeom prst="ellips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>
              <a:defRPr/>
            </a:pPr>
            <a:endParaRPr kumimoji="1" lang="ko-KR" altLang="en-US" sz="1200" u="none" spc="-5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3" name="타원 22"/>
          <p:cNvSpPr/>
          <p:nvPr/>
        </p:nvSpPr>
        <p:spPr>
          <a:xfrm>
            <a:off x="6046590" y="1537572"/>
            <a:ext cx="116488" cy="109972"/>
          </a:xfrm>
          <a:prstGeom prst="ellips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>
              <a:defRPr/>
            </a:pPr>
            <a:endParaRPr kumimoji="1" lang="ko-KR" altLang="en-US" sz="1200" u="none" spc="-50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24" name="직선 연결선 23"/>
          <p:cNvCxnSpPr>
            <a:stCxn id="23" idx="6"/>
            <a:endCxn id="22" idx="2"/>
          </p:cNvCxnSpPr>
          <p:nvPr/>
        </p:nvCxnSpPr>
        <p:spPr>
          <a:xfrm>
            <a:off x="6163078" y="1592558"/>
            <a:ext cx="513135" cy="66249"/>
          </a:xfrm>
          <a:prstGeom prst="line">
            <a:avLst/>
          </a:prstGeom>
          <a:ln w="25400">
            <a:solidFill>
              <a:srgbClr val="99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Box 5"/>
          <p:cNvSpPr txBox="1">
            <a:spLocks noChangeArrowheads="1"/>
          </p:cNvSpPr>
          <p:nvPr/>
        </p:nvSpPr>
        <p:spPr bwMode="auto">
          <a:xfrm>
            <a:off x="273050" y="607750"/>
            <a:ext cx="9001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8288" indent="-268288" defTabSz="914400" eaLnBrk="0" latinLnBrk="0" hangingPunct="0">
              <a:spcBef>
                <a:spcPct val="20000"/>
              </a:spcBef>
            </a:pPr>
            <a:r>
              <a:rPr lang="ko-KR" altLang="en-US" sz="16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회사전체 판매량 예측 모형 </a:t>
            </a:r>
            <a:r>
              <a:rPr lang="en-US" altLang="ko-KR" sz="16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- </a:t>
            </a:r>
            <a:r>
              <a:rPr lang="ko-KR" altLang="en-US" sz="16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월별 예측 정확도</a:t>
            </a:r>
            <a:r>
              <a:rPr lang="en-US" altLang="ko-KR" sz="16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 </a:t>
            </a:r>
            <a:endParaRPr lang="en-US" altLang="ko-KR" sz="1600" u="none" baseline="300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7" name="Text Box 5"/>
          <p:cNvSpPr txBox="1">
            <a:spLocks noChangeArrowheads="1"/>
          </p:cNvSpPr>
          <p:nvPr/>
        </p:nvSpPr>
        <p:spPr bwMode="auto">
          <a:xfrm>
            <a:off x="324250" y="1338525"/>
            <a:ext cx="57600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latinLnBrk="0" hangingPunct="0">
              <a:spcBef>
                <a:spcPct val="20000"/>
              </a:spcBef>
            </a:pPr>
            <a:r>
              <a:rPr lang="en-US" altLang="ko-KR" sz="15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- </a:t>
            </a:r>
            <a:r>
              <a:rPr lang="ko-KR" altLang="en-US" sz="15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기간 </a:t>
            </a:r>
            <a:r>
              <a:rPr lang="en-US" altLang="ko-KR" sz="15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: 2013</a:t>
            </a:r>
            <a:r>
              <a:rPr lang="ko-KR" altLang="en-US" sz="15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년 </a:t>
            </a:r>
            <a:r>
              <a:rPr lang="en-US" altLang="ko-KR" sz="15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12</a:t>
            </a:r>
            <a:r>
              <a:rPr lang="ko-KR" altLang="en-US" sz="15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월 </a:t>
            </a:r>
            <a:r>
              <a:rPr lang="en-US" altLang="ko-KR" sz="15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~ 2014</a:t>
            </a:r>
            <a:r>
              <a:rPr lang="ko-KR" altLang="en-US" sz="15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년 </a:t>
            </a:r>
            <a:r>
              <a:rPr lang="en-US" altLang="ko-KR" sz="15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11</a:t>
            </a:r>
            <a:r>
              <a:rPr lang="ko-KR" altLang="en-US" sz="15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월</a:t>
            </a:r>
            <a:r>
              <a:rPr lang="en-US" altLang="ko-KR" sz="15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15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총 </a:t>
            </a:r>
            <a:r>
              <a:rPr lang="en-US" altLang="ko-KR" sz="15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12</a:t>
            </a:r>
            <a:r>
              <a:rPr lang="ko-KR" altLang="en-US" sz="15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월</a:t>
            </a:r>
            <a:r>
              <a:rPr lang="en-US" altLang="ko-KR" sz="15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ko-KR" altLang="en-US" sz="15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endParaRPr lang="en-US" altLang="ko-KR" sz="1600" u="none" baseline="30000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29" name="표 28"/>
          <p:cNvGraphicFramePr>
            <a:graphicFrameLocks noGrp="1"/>
          </p:cNvGraphicFramePr>
          <p:nvPr/>
        </p:nvGraphicFramePr>
        <p:xfrm>
          <a:off x="273050" y="1698948"/>
          <a:ext cx="4465637" cy="4435467"/>
        </p:xfrm>
        <a:graphic>
          <a:graphicData uri="http://schemas.openxmlformats.org/drawingml/2006/table">
            <a:tbl>
              <a:tblPr/>
              <a:tblGrid>
                <a:gridCol w="1067483"/>
                <a:gridCol w="1156440"/>
                <a:gridCol w="1209814"/>
                <a:gridCol w="1031900"/>
              </a:tblGrid>
              <a:tr h="432000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spc="-100" baseline="0" dirty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일자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spc="-100" baseline="0" dirty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실적</a:t>
                      </a:r>
                    </a:p>
                  </a:txBody>
                  <a:tcPr marL="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spc="-100" baseline="0" dirty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예측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spc="-100" baseline="0" dirty="0">
                          <a:solidFill>
                            <a:schemeClr val="bg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정확도</a:t>
                      </a:r>
                    </a:p>
                  </a:txBody>
                  <a:tcPr marL="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</a:tr>
              <a:tr h="3079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dirty="0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2</a:t>
                      </a:r>
                      <a:endParaRPr lang="en-US" altLang="ko-KR" sz="1400" b="1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4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4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3600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400" b="1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</a:tr>
              <a:tr h="3079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1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4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4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8.0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</a:tr>
              <a:tr h="3079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0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4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4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8.0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</a:tr>
              <a:tr h="3079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9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4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4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9.4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</a:tr>
              <a:tr h="3079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8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4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4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9.2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</a:tr>
              <a:tr h="3079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7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4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4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9.6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</a:tr>
              <a:tr h="3079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6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4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4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7.2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</a:tr>
              <a:tr h="3079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5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4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4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9.2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</a:tr>
              <a:tr h="3079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4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4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4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9.2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</a:tr>
              <a:tr h="3079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3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4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4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8.0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</a:tr>
              <a:tr h="3079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2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4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4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6.9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</a:tr>
              <a:tr h="3079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1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4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4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9.3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</a:tr>
              <a:tr h="30795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3-12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4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4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8.2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1" name="차트 30"/>
          <p:cNvGraphicFramePr/>
          <p:nvPr/>
        </p:nvGraphicFramePr>
        <p:xfrm>
          <a:off x="4881562" y="1500174"/>
          <a:ext cx="4714908" cy="29289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8" name="Text Box 19"/>
          <p:cNvSpPr txBox="1">
            <a:spLocks noChangeArrowheads="1"/>
          </p:cNvSpPr>
          <p:nvPr/>
        </p:nvSpPr>
        <p:spPr bwMode="auto">
          <a:xfrm>
            <a:off x="274669" y="6364423"/>
            <a:ext cx="9178925" cy="406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>
              <a:spcBef>
                <a:spcPct val="20000"/>
              </a:spcBef>
            </a:pP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</a:rPr>
              <a:t>* </a:t>
            </a:r>
            <a:r>
              <a:rPr lang="en-US" altLang="ko-KR" sz="1200" u="none" dirty="0">
                <a:solidFill>
                  <a:srgbClr val="000000"/>
                </a:solidFill>
                <a:latin typeface="맑은 고딕" pitchFamily="50" charset="-127"/>
              </a:rPr>
              <a:t>R-square : </a:t>
            </a:r>
            <a:r>
              <a:rPr lang="ko-KR" altLang="en-US" sz="1200" u="none" dirty="0">
                <a:solidFill>
                  <a:srgbClr val="000000"/>
                </a:solidFill>
                <a:latin typeface="맑은 고딕" pitchFamily="50" charset="-127"/>
              </a:rPr>
              <a:t>모델이 자료를 얼마나 잘 설명하는지를 나타내는 지표 </a:t>
            </a:r>
            <a:r>
              <a:rPr lang="en-US" altLang="ko-KR" sz="1200" u="none" dirty="0">
                <a:solidFill>
                  <a:srgbClr val="000000"/>
                </a:solidFill>
                <a:latin typeface="맑은 고딕" pitchFamily="50" charset="-127"/>
              </a:rPr>
              <a:t>(100%</a:t>
            </a:r>
            <a:r>
              <a:rPr lang="ko-KR" altLang="en-US" sz="1200" u="none" dirty="0">
                <a:solidFill>
                  <a:srgbClr val="000000"/>
                </a:solidFill>
                <a:latin typeface="맑은 고딕" pitchFamily="50" charset="-127"/>
              </a:rPr>
              <a:t>에 가까우면 모델의 설명력이 좋음</a:t>
            </a:r>
            <a:r>
              <a:rPr lang="en-US" altLang="ko-KR" sz="1200" u="none" dirty="0">
                <a:solidFill>
                  <a:srgbClr val="000000"/>
                </a:solidFill>
                <a:latin typeface="맑은 고딕" pitchFamily="50" charset="-127"/>
              </a:rPr>
              <a:t>)</a:t>
            </a:r>
          </a:p>
          <a:p>
            <a:pPr>
              <a:spcBef>
                <a:spcPct val="20000"/>
              </a:spcBef>
              <a:buFontTx/>
              <a:buChar char="-"/>
            </a:pPr>
            <a:endParaRPr lang="en-US" altLang="ko-KR" sz="1200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8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itchFamily="50" charset="-127"/>
              </a:rPr>
              <a:t>모형결과 </a:t>
            </a:r>
            <a:r>
              <a:rPr lang="en-US" altLang="ko-KR" dirty="0" smtClean="0">
                <a:latin typeface="맑은 고딕" pitchFamily="50" charset="-127"/>
              </a:rPr>
              <a:t>– </a:t>
            </a:r>
            <a:r>
              <a:rPr lang="ko-KR" altLang="en-US" dirty="0" smtClean="0">
                <a:latin typeface="맑은 고딕" pitchFamily="50" charset="-127"/>
              </a:rPr>
              <a:t>회사전체 판매량 </a:t>
            </a:r>
            <a:r>
              <a:rPr lang="ko-KR" altLang="en-US" dirty="0" err="1" smtClean="0">
                <a:latin typeface="맑은 고딕" pitchFamily="50" charset="-127"/>
              </a:rPr>
              <a:t>주별</a:t>
            </a:r>
            <a:r>
              <a:rPr lang="ko-KR" altLang="en-US" dirty="0" smtClean="0">
                <a:latin typeface="맑은 고딕" pitchFamily="50" charset="-127"/>
              </a:rPr>
              <a:t> 예측 </a:t>
            </a:r>
            <a:r>
              <a:rPr lang="en-US" altLang="ko-KR" dirty="0" smtClean="0">
                <a:latin typeface="맑은 고딕" pitchFamily="50" charset="-127"/>
              </a:rPr>
              <a:t>(1) Model Fitting</a:t>
            </a:r>
          </a:p>
        </p:txBody>
      </p:sp>
      <p:sp>
        <p:nvSpPr>
          <p:cNvPr id="291843" name="Text Box 16"/>
          <p:cNvSpPr txBox="1">
            <a:spLocks noChangeArrowheads="1"/>
          </p:cNvSpPr>
          <p:nvPr/>
        </p:nvSpPr>
        <p:spPr bwMode="auto">
          <a:xfrm>
            <a:off x="210057" y="607750"/>
            <a:ext cx="719931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>
              <a:spcBef>
                <a:spcPct val="20000"/>
              </a:spcBef>
            </a:pPr>
            <a:r>
              <a:rPr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 회사전체 </a:t>
            </a:r>
            <a:r>
              <a:rPr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판매량 </a:t>
            </a:r>
            <a:r>
              <a:rPr lang="ko-KR" altLang="en-US" sz="1600" u="none" dirty="0" err="1">
                <a:solidFill>
                  <a:srgbClr val="000000"/>
                </a:solidFill>
                <a:latin typeface="맑은 고딕" pitchFamily="50" charset="-127"/>
              </a:rPr>
              <a:t>주별</a:t>
            </a:r>
            <a:r>
              <a:rPr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 예측 </a:t>
            </a:r>
            <a:r>
              <a:rPr lang="en-US" altLang="ko-KR" sz="1600" u="none" dirty="0">
                <a:solidFill>
                  <a:srgbClr val="000000"/>
                </a:solidFill>
                <a:latin typeface="맑은 고딕" pitchFamily="50" charset="-127"/>
              </a:rPr>
              <a:t>(</a:t>
            </a:r>
            <a:r>
              <a:rPr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2014-08-24 </a:t>
            </a:r>
            <a:r>
              <a:rPr lang="en-US" altLang="ko-KR" sz="1600" u="none" dirty="0">
                <a:solidFill>
                  <a:srgbClr val="000000"/>
                </a:solidFill>
                <a:latin typeface="맑은 고딕" pitchFamily="50" charset="-127"/>
              </a:rPr>
              <a:t>~ </a:t>
            </a:r>
            <a:r>
              <a:rPr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2014-12-21)</a:t>
            </a:r>
            <a:endParaRPr lang="en-US" altLang="ko-KR" sz="1600" u="none" baseline="3000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graphicFrame>
        <p:nvGraphicFramePr>
          <p:cNvPr id="8" name="표 7"/>
          <p:cNvGraphicFramePr>
            <a:graphicFrameLocks noGrp="1"/>
          </p:cNvGraphicFramePr>
          <p:nvPr/>
        </p:nvGraphicFramePr>
        <p:xfrm>
          <a:off x="306349" y="1249680"/>
          <a:ext cx="9302789" cy="2179320"/>
        </p:xfrm>
        <a:graphic>
          <a:graphicData uri="http://schemas.openxmlformats.org/drawingml/2006/table">
            <a:tbl>
              <a:tblPr/>
              <a:tblGrid>
                <a:gridCol w="709949"/>
                <a:gridCol w="954760"/>
                <a:gridCol w="954760"/>
                <a:gridCol w="954760"/>
                <a:gridCol w="954760"/>
                <a:gridCol w="954760"/>
                <a:gridCol w="954760"/>
                <a:gridCol w="954760"/>
                <a:gridCol w="954760"/>
                <a:gridCol w="954760"/>
              </a:tblGrid>
              <a:tr h="188128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2-21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2-14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2-07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1-30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1-23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1-16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1-09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1-02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0-26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188128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실적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8128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예측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8128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오차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8128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정확도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00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00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8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7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8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00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8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00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9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</a:tr>
              <a:tr h="143863">
                <a:tc>
                  <a:txBody>
                    <a:bodyPr/>
                    <a:lstStyle/>
                    <a:p>
                      <a:pPr algn="l" rtl="0" fontAlgn="ctr"/>
                      <a:endParaRPr lang="ko-KR" altLang="en-US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8128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3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0-19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0-12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0-05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9-28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9-21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9-14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9-07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8-31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8-24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188128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실적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8128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예측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8128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오차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8128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정확도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8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6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9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8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00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5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7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00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8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" name="차트 9"/>
          <p:cNvGraphicFramePr/>
          <p:nvPr/>
        </p:nvGraphicFramePr>
        <p:xfrm>
          <a:off x="306349" y="3643314"/>
          <a:ext cx="6804660" cy="2552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AutoShape 43"/>
          <p:cNvSpPr>
            <a:spLocks noChangeArrowheads="1"/>
          </p:cNvSpPr>
          <p:nvPr/>
        </p:nvSpPr>
        <p:spPr bwMode="auto">
          <a:xfrm>
            <a:off x="7111009" y="4071942"/>
            <a:ext cx="2463817" cy="1461098"/>
          </a:xfrm>
          <a:prstGeom prst="roundRect">
            <a:avLst>
              <a:gd name="adj" fmla="val 0"/>
            </a:avLst>
          </a:prstGeom>
          <a:solidFill>
            <a:srgbClr val="FDF9F9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18000" tIns="18000" rIns="18000" bIns="18000" rtlCol="0" anchor="ctr"/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 defTabSz="912813" latinLnBrk="0">
              <a:spcBef>
                <a:spcPts val="1000"/>
              </a:spcBef>
              <a:buFont typeface="Wingdings" pitchFamily="2" charset="2"/>
              <a:buChar char="§"/>
            </a:pPr>
            <a:r>
              <a:rPr lang="ko-KR" altLang="en-US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예측모형 </a:t>
            </a: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R</a:t>
            </a:r>
            <a:r>
              <a:rPr lang="en-US" altLang="ko-KR" sz="1200" u="none" baseline="30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: 0.935,  </a:t>
            </a:r>
            <a:b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Adjusted R</a:t>
            </a:r>
            <a:r>
              <a:rPr lang="en-US" altLang="ko-KR" sz="1200" u="none" baseline="30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:  0.931</a:t>
            </a:r>
          </a:p>
          <a:p>
            <a:pPr marL="174625" indent="-174625" defTabSz="912813" latinLnBrk="0">
              <a:spcBef>
                <a:spcPts val="1000"/>
              </a:spcBef>
              <a:buFont typeface="Wingdings" pitchFamily="2" charset="2"/>
              <a:buChar char="§"/>
            </a:pP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’14</a:t>
            </a:r>
            <a:r>
              <a:rPr lang="ko-KR" altLang="en-US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년 </a:t>
            </a: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8</a:t>
            </a:r>
            <a:r>
              <a:rPr lang="ko-KR" altLang="en-US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월</a:t>
            </a: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~’14</a:t>
            </a:r>
            <a:r>
              <a:rPr lang="ko-KR" altLang="en-US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년 </a:t>
            </a: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11</a:t>
            </a:r>
            <a:r>
              <a:rPr lang="ko-KR" altLang="en-US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월</a:t>
            </a: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4</a:t>
            </a:r>
            <a:r>
              <a:rPr lang="ko-KR" altLang="en-US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월</a:t>
            </a: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 </a:t>
            </a:r>
            <a:b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예측 정확도</a:t>
            </a:r>
            <a:r>
              <a:rPr lang="en-US" altLang="ko-KR" sz="14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4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- </a:t>
            </a:r>
            <a:r>
              <a:rPr kumimoji="1" lang="ko-KR" altLang="en-US" sz="1200" u="none" dirty="0" smtClean="0">
                <a:solidFill>
                  <a:srgbClr val="A50021"/>
                </a:solidFill>
                <a:latin typeface="맑은 고딕" pitchFamily="50" charset="-127"/>
                <a:ea typeface="맑은 고딕" pitchFamily="50" charset="-127"/>
              </a:rPr>
              <a:t>평균 </a:t>
            </a:r>
            <a:r>
              <a:rPr kumimoji="1" lang="en-US" altLang="ko-KR" sz="1400" u="none" dirty="0" smtClean="0">
                <a:solidFill>
                  <a:srgbClr val="A50021"/>
                </a:solidFill>
                <a:latin typeface="맑은 고딕" pitchFamily="50" charset="-127"/>
                <a:ea typeface="맑은 고딕" pitchFamily="50" charset="-127"/>
              </a:rPr>
              <a:t>98%</a:t>
            </a:r>
            <a:r>
              <a:rPr kumimoji="1" lang="en-US" altLang="ko-KR" sz="1200" u="none" dirty="0" smtClean="0">
                <a:solidFill>
                  <a:srgbClr val="A5002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endParaRPr lang="en-US" altLang="ko-KR" sz="1200" u="none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" name="Text Box 19"/>
          <p:cNvSpPr txBox="1">
            <a:spLocks noChangeArrowheads="1"/>
          </p:cNvSpPr>
          <p:nvPr/>
        </p:nvSpPr>
        <p:spPr bwMode="auto">
          <a:xfrm>
            <a:off x="238125" y="6364423"/>
            <a:ext cx="9178925" cy="406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>
              <a:spcBef>
                <a:spcPct val="20000"/>
              </a:spcBef>
            </a:pP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</a:rPr>
              <a:t>* </a:t>
            </a:r>
            <a:r>
              <a:rPr lang="en-US" altLang="ko-KR" sz="1200" u="none" dirty="0">
                <a:solidFill>
                  <a:srgbClr val="000000"/>
                </a:solidFill>
                <a:latin typeface="맑은 고딕" pitchFamily="50" charset="-127"/>
              </a:rPr>
              <a:t>R-square : </a:t>
            </a:r>
            <a:r>
              <a:rPr lang="ko-KR" altLang="en-US" sz="1200" u="none" dirty="0">
                <a:solidFill>
                  <a:srgbClr val="000000"/>
                </a:solidFill>
                <a:latin typeface="맑은 고딕" pitchFamily="50" charset="-127"/>
              </a:rPr>
              <a:t>모델이 자료를 얼마나 잘 설명하는지를 나타내는 지표 </a:t>
            </a:r>
            <a:r>
              <a:rPr lang="en-US" altLang="ko-KR" sz="1200" u="none" dirty="0">
                <a:solidFill>
                  <a:srgbClr val="000000"/>
                </a:solidFill>
                <a:latin typeface="맑은 고딕" pitchFamily="50" charset="-127"/>
              </a:rPr>
              <a:t>(100%</a:t>
            </a:r>
            <a:r>
              <a:rPr lang="ko-KR" altLang="en-US" sz="1200" u="none" dirty="0">
                <a:solidFill>
                  <a:srgbClr val="000000"/>
                </a:solidFill>
                <a:latin typeface="맑은 고딕" pitchFamily="50" charset="-127"/>
              </a:rPr>
              <a:t>에 가까우면 모델의 설명력이 좋음</a:t>
            </a:r>
            <a:r>
              <a:rPr lang="en-US" altLang="ko-KR" sz="1200" u="none" dirty="0">
                <a:solidFill>
                  <a:srgbClr val="000000"/>
                </a:solidFill>
                <a:latin typeface="맑은 고딕" pitchFamily="50" charset="-127"/>
              </a:rPr>
              <a:t>)</a:t>
            </a:r>
          </a:p>
          <a:p>
            <a:pPr>
              <a:spcBef>
                <a:spcPct val="20000"/>
              </a:spcBef>
              <a:buFontTx/>
              <a:buChar char="-"/>
            </a:pPr>
            <a:endParaRPr lang="en-US" altLang="ko-KR" sz="1200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86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itchFamily="50" charset="-127"/>
              </a:rPr>
              <a:t>모형결과 </a:t>
            </a:r>
            <a:r>
              <a:rPr lang="en-US" altLang="ko-KR" dirty="0" smtClean="0">
                <a:latin typeface="맑은 고딕" pitchFamily="50" charset="-127"/>
              </a:rPr>
              <a:t>– </a:t>
            </a:r>
            <a:r>
              <a:rPr lang="ko-KR" altLang="en-US" dirty="0" smtClean="0">
                <a:latin typeface="맑은 고딕" pitchFamily="50" charset="-127"/>
              </a:rPr>
              <a:t>회사전체 판매량 </a:t>
            </a:r>
            <a:r>
              <a:rPr lang="ko-KR" altLang="en-US" dirty="0" err="1" smtClean="0">
                <a:latin typeface="맑은 고딕" pitchFamily="50" charset="-127"/>
              </a:rPr>
              <a:t>주별</a:t>
            </a:r>
            <a:r>
              <a:rPr lang="ko-KR" altLang="en-US" dirty="0" smtClean="0">
                <a:latin typeface="맑은 고딕" pitchFamily="50" charset="-127"/>
              </a:rPr>
              <a:t> 예측 </a:t>
            </a:r>
            <a:r>
              <a:rPr lang="en-US" altLang="ko-KR" dirty="0" smtClean="0">
                <a:latin typeface="맑은 고딕" pitchFamily="50" charset="-127"/>
              </a:rPr>
              <a:t>(2) Trend</a:t>
            </a:r>
          </a:p>
        </p:txBody>
      </p:sp>
      <p:sp>
        <p:nvSpPr>
          <p:cNvPr id="292868" name="Text Box 19"/>
          <p:cNvSpPr txBox="1">
            <a:spLocks noChangeArrowheads="1"/>
          </p:cNvSpPr>
          <p:nvPr/>
        </p:nvSpPr>
        <p:spPr bwMode="auto">
          <a:xfrm>
            <a:off x="301625" y="1337284"/>
            <a:ext cx="371475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>
              <a:spcBef>
                <a:spcPct val="20000"/>
              </a:spcBef>
              <a:buFont typeface="Arial" pitchFamily="34" charset="0"/>
              <a:buChar char="•"/>
            </a:pPr>
            <a:r>
              <a:rPr lang="ko-KR" altLang="en-US" u="none" dirty="0">
                <a:solidFill>
                  <a:srgbClr val="000000"/>
                </a:solidFill>
                <a:latin typeface="맑은 고딕" pitchFamily="50" charset="-127"/>
              </a:rPr>
              <a:t> 회사전체 </a:t>
            </a:r>
            <a:r>
              <a:rPr lang="ko-KR" altLang="en-US" u="none" dirty="0" err="1">
                <a:solidFill>
                  <a:srgbClr val="000000"/>
                </a:solidFill>
                <a:latin typeface="맑은 고딕" pitchFamily="50" charset="-127"/>
              </a:rPr>
              <a:t>트렌드</a:t>
            </a:r>
            <a:r>
              <a:rPr lang="ko-KR" altLang="en-US" u="none" dirty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lang="en-US" altLang="ko-KR" u="none" dirty="0">
                <a:solidFill>
                  <a:srgbClr val="000000"/>
                </a:solidFill>
                <a:latin typeface="맑은 고딕" pitchFamily="50" charset="-127"/>
              </a:rPr>
              <a:t>(</a:t>
            </a:r>
            <a:r>
              <a:rPr lang="en-US" altLang="ko-KR" u="none" dirty="0" smtClean="0">
                <a:solidFill>
                  <a:srgbClr val="000000"/>
                </a:solidFill>
                <a:latin typeface="맑은 고딕" pitchFamily="50" charset="-127"/>
              </a:rPr>
              <a:t>2013.01~2014.11 </a:t>
            </a:r>
            <a:r>
              <a:rPr lang="ko-KR" altLang="en-US" u="none" dirty="0">
                <a:solidFill>
                  <a:srgbClr val="000000"/>
                </a:solidFill>
                <a:latin typeface="맑은 고딕" pitchFamily="50" charset="-127"/>
              </a:rPr>
              <a:t>일별</a:t>
            </a:r>
            <a:r>
              <a:rPr lang="en-US" altLang="ko-KR" u="none" dirty="0">
                <a:solidFill>
                  <a:srgbClr val="000000"/>
                </a:solidFill>
                <a:latin typeface="맑은 고딕" pitchFamily="50" charset="-127"/>
              </a:rPr>
              <a:t>) </a:t>
            </a:r>
          </a:p>
        </p:txBody>
      </p:sp>
      <p:sp>
        <p:nvSpPr>
          <p:cNvPr id="292869" name="Text Box 19"/>
          <p:cNvSpPr txBox="1">
            <a:spLocks noChangeArrowheads="1"/>
          </p:cNvSpPr>
          <p:nvPr/>
        </p:nvSpPr>
        <p:spPr bwMode="auto">
          <a:xfrm>
            <a:off x="301625" y="3929672"/>
            <a:ext cx="371475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>
              <a:spcBef>
                <a:spcPct val="20000"/>
              </a:spcBef>
              <a:buFont typeface="Arial" pitchFamily="34" charset="0"/>
              <a:buChar char="•"/>
            </a:pPr>
            <a:r>
              <a:rPr lang="ko-KR" altLang="en-US" u="none" dirty="0">
                <a:solidFill>
                  <a:srgbClr val="000000"/>
                </a:solidFill>
                <a:latin typeface="맑은 고딕" pitchFamily="50" charset="-127"/>
              </a:rPr>
              <a:t> 회사전체 </a:t>
            </a:r>
            <a:r>
              <a:rPr lang="ko-KR" altLang="en-US" u="none" dirty="0" err="1">
                <a:solidFill>
                  <a:srgbClr val="000000"/>
                </a:solidFill>
                <a:latin typeface="맑은 고딕" pitchFamily="50" charset="-127"/>
              </a:rPr>
              <a:t>트렌드</a:t>
            </a:r>
            <a:r>
              <a:rPr lang="ko-KR" altLang="en-US" u="none" dirty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lang="en-US" altLang="ko-KR" u="none" dirty="0">
                <a:solidFill>
                  <a:srgbClr val="000000"/>
                </a:solidFill>
                <a:latin typeface="맑은 고딕" pitchFamily="50" charset="-127"/>
              </a:rPr>
              <a:t>(</a:t>
            </a:r>
            <a:r>
              <a:rPr lang="en-US" altLang="ko-KR" u="none" dirty="0" smtClean="0">
                <a:solidFill>
                  <a:srgbClr val="000000"/>
                </a:solidFill>
                <a:latin typeface="맑은 고딕" pitchFamily="50" charset="-127"/>
              </a:rPr>
              <a:t>2013.01~2014.11, </a:t>
            </a:r>
            <a:r>
              <a:rPr lang="ko-KR" altLang="en-US" u="none" dirty="0" err="1">
                <a:solidFill>
                  <a:srgbClr val="000000"/>
                </a:solidFill>
                <a:latin typeface="맑은 고딕" pitchFamily="50" charset="-127"/>
              </a:rPr>
              <a:t>주별</a:t>
            </a:r>
            <a:r>
              <a:rPr lang="en-US" altLang="ko-KR" u="none" dirty="0">
                <a:solidFill>
                  <a:srgbClr val="000000"/>
                </a:solidFill>
                <a:latin typeface="맑은 고딕" pitchFamily="50" charset="-127"/>
              </a:rPr>
              <a:t>) </a:t>
            </a:r>
          </a:p>
        </p:txBody>
      </p:sp>
      <p:sp>
        <p:nvSpPr>
          <p:cNvPr id="292870" name="Rectangle 3"/>
          <p:cNvSpPr txBox="1">
            <a:spLocks noChangeArrowheads="1"/>
          </p:cNvSpPr>
          <p:nvPr/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회사전체 판매량의 경우</a:t>
            </a:r>
            <a:r>
              <a:rPr kumimoji="1" lang="en-US" altLang="ko-KR" sz="1600" u="none" dirty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산출된 통계적 알고리즘에 의한 </a:t>
            </a:r>
            <a:r>
              <a:rPr kumimoji="1" lang="ko-KR" altLang="en-US" sz="1600" u="none" dirty="0" err="1">
                <a:solidFill>
                  <a:srgbClr val="000000"/>
                </a:solidFill>
                <a:latin typeface="맑은 고딕" pitchFamily="50" charset="-127"/>
              </a:rPr>
              <a:t>예측값과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 실제 판매량의 </a:t>
            </a:r>
            <a:endParaRPr kumimoji="1" lang="en-US" altLang="ko-KR" sz="1600" u="none" dirty="0" smtClean="0">
              <a:solidFill>
                <a:srgbClr val="000000"/>
              </a:solidFill>
              <a:latin typeface="맑은 고딕" pitchFamily="50" charset="-127"/>
            </a:endParaRPr>
          </a:p>
          <a:p>
            <a:pPr eaLnBrk="1" hangingPunct="1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설명계수</a:t>
            </a:r>
            <a:r>
              <a:rPr kumimoji="1" lang="en-US" altLang="ko-KR" sz="1600" u="none" dirty="0">
                <a:solidFill>
                  <a:srgbClr val="000000"/>
                </a:solidFill>
                <a:latin typeface="맑은 고딕" pitchFamily="50" charset="-127"/>
              </a:rPr>
              <a:t>(Adjusted R²)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는 </a:t>
            </a:r>
            <a:r>
              <a:rPr kumimoji="1" lang="en-US" altLang="ko-KR" sz="1600" u="none" dirty="0">
                <a:solidFill>
                  <a:srgbClr val="FF0000"/>
                </a:solidFill>
                <a:latin typeface="맑은 고딕" pitchFamily="50" charset="-127"/>
              </a:rPr>
              <a:t>93%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로 실제 판매량을 효과적으로 설명하고 있음</a:t>
            </a:r>
            <a:endParaRPr kumimoji="1" lang="en-US" altLang="ko-KR" sz="1600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16" name="왼쪽 중괄호 15"/>
          <p:cNvSpPr/>
          <p:nvPr/>
        </p:nvSpPr>
        <p:spPr>
          <a:xfrm flipH="1">
            <a:off x="7810520" y="3202597"/>
            <a:ext cx="147638" cy="295275"/>
          </a:xfrm>
          <a:prstGeom prst="leftBrac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ko-KR" altLang="en-US" sz="900" dirty="0">
              <a:solidFill>
                <a:srgbClr val="00206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" name="왼쪽 중괄호 16"/>
          <p:cNvSpPr/>
          <p:nvPr/>
        </p:nvSpPr>
        <p:spPr>
          <a:xfrm flipH="1">
            <a:off x="7810520" y="2523276"/>
            <a:ext cx="147638" cy="444500"/>
          </a:xfrm>
          <a:prstGeom prst="leftBrac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ko-KR" altLang="en-US" sz="9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" name="TextBox 10"/>
          <p:cNvSpPr txBox="1">
            <a:spLocks noChangeArrowheads="1"/>
          </p:cNvSpPr>
          <p:nvPr/>
        </p:nvSpPr>
        <p:spPr bwMode="auto">
          <a:xfrm>
            <a:off x="7901008" y="2691551"/>
            <a:ext cx="415925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ko-KR" altLang="en-US" sz="900" u="none" dirty="0">
                <a:solidFill>
                  <a:srgbClr val="002060"/>
                </a:solidFill>
                <a:latin typeface="맑은 고딕" pitchFamily="50" charset="-127"/>
              </a:rPr>
              <a:t>주중</a:t>
            </a:r>
          </a:p>
        </p:txBody>
      </p:sp>
      <p:sp>
        <p:nvSpPr>
          <p:cNvPr id="19" name="TextBox 11"/>
          <p:cNvSpPr txBox="1">
            <a:spLocks noChangeArrowheads="1"/>
          </p:cNvSpPr>
          <p:nvPr/>
        </p:nvSpPr>
        <p:spPr bwMode="auto">
          <a:xfrm>
            <a:off x="7907358" y="3245459"/>
            <a:ext cx="415925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ko-KR" altLang="en-US" sz="900" u="none" dirty="0">
                <a:solidFill>
                  <a:srgbClr val="002060"/>
                </a:solidFill>
                <a:latin typeface="맑은 고딕" pitchFamily="50" charset="-127"/>
              </a:rPr>
              <a:t>주말</a:t>
            </a:r>
          </a:p>
        </p:txBody>
      </p:sp>
      <p:graphicFrame>
        <p:nvGraphicFramePr>
          <p:cNvPr id="14" name="차트 13"/>
          <p:cNvGraphicFramePr>
            <a:graphicFrameLocks/>
          </p:cNvGraphicFramePr>
          <p:nvPr/>
        </p:nvGraphicFramePr>
        <p:xfrm>
          <a:off x="380968" y="4212251"/>
          <a:ext cx="9072626" cy="18599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0" name="차트 19"/>
          <p:cNvGraphicFramePr/>
          <p:nvPr/>
        </p:nvGraphicFramePr>
        <p:xfrm>
          <a:off x="380968" y="1640483"/>
          <a:ext cx="9072626" cy="22145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AutoShape 52"/>
          <p:cNvSpPr>
            <a:spLocks noChangeArrowheads="1"/>
          </p:cNvSpPr>
          <p:nvPr/>
        </p:nvSpPr>
        <p:spPr bwMode="auto">
          <a:xfrm rot="10800000">
            <a:off x="6738951" y="5303972"/>
            <a:ext cx="2736850" cy="526732"/>
          </a:xfrm>
          <a:prstGeom prst="rightArrow">
            <a:avLst>
              <a:gd name="adj1" fmla="val 48657"/>
              <a:gd name="adj2" fmla="val 37186"/>
            </a:avLst>
          </a:prstGeom>
          <a:gradFill flip="none" rotWithShape="1">
            <a:gsLst>
              <a:gs pos="0">
                <a:schemeClr val="bg1">
                  <a:lumMod val="50000"/>
                  <a:tint val="66000"/>
                  <a:satMod val="160000"/>
                </a:schemeClr>
              </a:gs>
              <a:gs pos="50000">
                <a:schemeClr val="bg1">
                  <a:lumMod val="50000"/>
                  <a:tint val="44500"/>
                  <a:satMod val="160000"/>
                </a:schemeClr>
              </a:gs>
              <a:gs pos="100000">
                <a:schemeClr val="bg1">
                  <a:lumMod val="50000"/>
                  <a:tint val="23500"/>
                  <a:satMod val="160000"/>
                </a:schemeClr>
              </a:gs>
            </a:gsLst>
            <a:lin ang="10800000" scaled="1"/>
            <a:tileRect/>
          </a:gradFill>
          <a:ln w="1270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ko-KR" altLang="en-US" sz="1300" u="none" dirty="0" smtClean="0">
              <a:solidFill>
                <a:srgbClr val="000000"/>
              </a:solidFill>
              <a:ea typeface="맑은 고딕" pitchFamily="50" charset="-127"/>
            </a:endParaRPr>
          </a:p>
        </p:txBody>
      </p:sp>
      <p:sp>
        <p:nvSpPr>
          <p:cNvPr id="40" name="AutoShape 52"/>
          <p:cNvSpPr>
            <a:spLocks noChangeArrowheads="1"/>
          </p:cNvSpPr>
          <p:nvPr/>
        </p:nvSpPr>
        <p:spPr bwMode="auto">
          <a:xfrm rot="10800000">
            <a:off x="6738950" y="3143248"/>
            <a:ext cx="2736850" cy="526732"/>
          </a:xfrm>
          <a:prstGeom prst="rightArrow">
            <a:avLst>
              <a:gd name="adj1" fmla="val 48657"/>
              <a:gd name="adj2" fmla="val 37186"/>
            </a:avLst>
          </a:prstGeom>
          <a:gradFill flip="none" rotWithShape="1">
            <a:gsLst>
              <a:gs pos="0">
                <a:schemeClr val="bg1">
                  <a:lumMod val="50000"/>
                  <a:tint val="66000"/>
                  <a:satMod val="160000"/>
                </a:schemeClr>
              </a:gs>
              <a:gs pos="50000">
                <a:schemeClr val="bg1">
                  <a:lumMod val="50000"/>
                  <a:tint val="44500"/>
                  <a:satMod val="160000"/>
                </a:schemeClr>
              </a:gs>
              <a:gs pos="100000">
                <a:schemeClr val="bg1">
                  <a:lumMod val="50000"/>
                  <a:tint val="23500"/>
                  <a:satMod val="160000"/>
                </a:schemeClr>
              </a:gs>
            </a:gsLst>
            <a:lin ang="10800000" scaled="1"/>
            <a:tileRect/>
          </a:gradFill>
          <a:ln w="1270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ko-KR" altLang="en-US" sz="1300" u="none" dirty="0" smtClean="0">
              <a:solidFill>
                <a:srgbClr val="000000"/>
              </a:solidFill>
              <a:ea typeface="맑은 고딕" pitchFamily="50" charset="-127"/>
            </a:endParaRPr>
          </a:p>
        </p:txBody>
      </p:sp>
      <p:sp>
        <p:nvSpPr>
          <p:cNvPr id="39" name="AutoShape 52"/>
          <p:cNvSpPr>
            <a:spLocks noChangeArrowheads="1"/>
          </p:cNvSpPr>
          <p:nvPr/>
        </p:nvSpPr>
        <p:spPr bwMode="auto">
          <a:xfrm rot="10800000">
            <a:off x="6738950" y="4160964"/>
            <a:ext cx="2736850" cy="526732"/>
          </a:xfrm>
          <a:prstGeom prst="rightArrow">
            <a:avLst>
              <a:gd name="adj1" fmla="val 48657"/>
              <a:gd name="adj2" fmla="val 37186"/>
            </a:avLst>
          </a:prstGeom>
          <a:gradFill flip="none" rotWithShape="1">
            <a:gsLst>
              <a:gs pos="0">
                <a:schemeClr val="bg1">
                  <a:lumMod val="50000"/>
                  <a:tint val="66000"/>
                  <a:satMod val="160000"/>
                </a:schemeClr>
              </a:gs>
              <a:gs pos="50000">
                <a:schemeClr val="bg1">
                  <a:lumMod val="50000"/>
                  <a:tint val="44500"/>
                  <a:satMod val="160000"/>
                </a:schemeClr>
              </a:gs>
              <a:gs pos="100000">
                <a:schemeClr val="bg1">
                  <a:lumMod val="50000"/>
                  <a:tint val="23500"/>
                  <a:satMod val="160000"/>
                </a:schemeClr>
              </a:gs>
            </a:gsLst>
            <a:lin ang="10800000" scaled="1"/>
            <a:tileRect/>
          </a:gradFill>
          <a:ln w="1270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ko-KR" altLang="en-US" sz="1300" u="none" dirty="0" smtClean="0">
              <a:solidFill>
                <a:srgbClr val="000000"/>
              </a:solidFill>
              <a:ea typeface="맑은 고딕" pitchFamily="50" charset="-127"/>
            </a:endParaRPr>
          </a:p>
        </p:txBody>
      </p:sp>
      <p:sp>
        <p:nvSpPr>
          <p:cNvPr id="293891" name="Rectangle 3"/>
          <p:cNvSpPr txBox="1">
            <a:spLocks noChangeArrowheads="1"/>
          </p:cNvSpPr>
          <p:nvPr/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 latinLnBrk="1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회사전체 판매량의 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회귀 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식은 기온</a:t>
            </a: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눈</a:t>
            </a:r>
            <a:r>
              <a:rPr kumimoji="1" lang="en-US" altLang="ko-KR" sz="1600" u="none" dirty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비</a:t>
            </a: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일자</a:t>
            </a: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설명변수로 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표현됨</a:t>
            </a:r>
            <a:endParaRPr kumimoji="1" lang="en-US" altLang="ko-KR" sz="1600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380968" y="1165224"/>
            <a:ext cx="7358114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u="none" dirty="0" smtClean="0">
                <a:solidFill>
                  <a:srgbClr val="000000"/>
                </a:solidFill>
              </a:rPr>
              <a:t>Y = 200,883.68		</a:t>
            </a:r>
          </a:p>
          <a:p>
            <a:endParaRPr lang="en-US" altLang="ko-KR" u="none" dirty="0" smtClean="0">
              <a:solidFill>
                <a:srgbClr val="000000"/>
              </a:solidFill>
            </a:endParaRPr>
          </a:p>
          <a:p>
            <a:r>
              <a:rPr lang="en-US" altLang="ko-KR" u="none" dirty="0" smtClean="0">
                <a:solidFill>
                  <a:srgbClr val="FF9933"/>
                </a:solidFill>
              </a:rPr>
              <a:t>-</a:t>
            </a:r>
            <a:r>
              <a:rPr lang="en-US" altLang="ko-KR" u="none" dirty="0" smtClean="0">
                <a:solidFill>
                  <a:srgbClr val="B9B9E7">
                    <a:lumMod val="75000"/>
                  </a:srgbClr>
                </a:solidFill>
              </a:rPr>
              <a:t> </a:t>
            </a:r>
            <a:r>
              <a:rPr lang="en-US" altLang="ko-KR" u="none" dirty="0" smtClean="0">
                <a:solidFill>
                  <a:srgbClr val="FF9933"/>
                </a:solidFill>
              </a:rPr>
              <a:t>513.55</a:t>
            </a:r>
            <a:r>
              <a:rPr lang="en-US" altLang="ko-KR" u="none" dirty="0" smtClean="0">
                <a:solidFill>
                  <a:srgbClr val="B9B9E7">
                    <a:lumMod val="75000"/>
                  </a:srgbClr>
                </a:solidFill>
              </a:rPr>
              <a:t> </a:t>
            </a:r>
            <a:r>
              <a:rPr lang="en-US" altLang="ko-KR" u="none" dirty="0" smtClean="0">
                <a:solidFill>
                  <a:srgbClr val="000000"/>
                </a:solidFill>
              </a:rPr>
              <a:t>* </a:t>
            </a:r>
            <a:r>
              <a:rPr lang="ko-KR" altLang="en-US" u="none" dirty="0" smtClean="0">
                <a:solidFill>
                  <a:srgbClr val="000000"/>
                </a:solidFill>
              </a:rPr>
              <a:t>평균기온</a:t>
            </a:r>
            <a:r>
              <a:rPr lang="en-US" altLang="ko-KR" u="none" dirty="0" smtClean="0">
                <a:solidFill>
                  <a:srgbClr val="000000"/>
                </a:solidFill>
              </a:rPr>
              <a:t>_T0_mav + </a:t>
            </a:r>
            <a:r>
              <a:rPr lang="en-US" altLang="ko-KR" u="none" dirty="0" smtClean="0">
                <a:solidFill>
                  <a:srgbClr val="FF9933"/>
                </a:solidFill>
              </a:rPr>
              <a:t>589.87</a:t>
            </a:r>
            <a:r>
              <a:rPr lang="en-US" altLang="ko-KR" u="none" dirty="0" smtClean="0">
                <a:solidFill>
                  <a:srgbClr val="000000"/>
                </a:solidFill>
              </a:rPr>
              <a:t> * </a:t>
            </a:r>
            <a:r>
              <a:rPr lang="ko-KR" altLang="en-US" u="none" dirty="0" smtClean="0">
                <a:solidFill>
                  <a:srgbClr val="000000"/>
                </a:solidFill>
              </a:rPr>
              <a:t>평균기온</a:t>
            </a:r>
            <a:r>
              <a:rPr lang="en-US" altLang="ko-KR" u="none" dirty="0" smtClean="0">
                <a:solidFill>
                  <a:srgbClr val="000000"/>
                </a:solidFill>
              </a:rPr>
              <a:t>_T2 + </a:t>
            </a:r>
            <a:r>
              <a:rPr lang="en-US" altLang="ko-KR" u="none" dirty="0" smtClean="0">
                <a:solidFill>
                  <a:srgbClr val="FF9933"/>
                </a:solidFill>
              </a:rPr>
              <a:t>507.57</a:t>
            </a:r>
            <a:r>
              <a:rPr lang="en-US" altLang="ko-KR" u="none" dirty="0" smtClean="0">
                <a:solidFill>
                  <a:srgbClr val="000000"/>
                </a:solidFill>
              </a:rPr>
              <a:t> * </a:t>
            </a:r>
            <a:r>
              <a:rPr lang="ko-KR" altLang="en-US" u="none" dirty="0" smtClean="0">
                <a:solidFill>
                  <a:srgbClr val="000000"/>
                </a:solidFill>
              </a:rPr>
              <a:t>평균기온</a:t>
            </a:r>
            <a:r>
              <a:rPr lang="en-US" altLang="ko-KR" u="none" dirty="0" smtClean="0">
                <a:solidFill>
                  <a:srgbClr val="000000"/>
                </a:solidFill>
              </a:rPr>
              <a:t>_T3</a:t>
            </a: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+ </a:t>
            </a:r>
            <a:r>
              <a:rPr lang="en-US" altLang="ko-KR" u="none" dirty="0" smtClean="0">
                <a:solidFill>
                  <a:srgbClr val="FF9933"/>
                </a:solidFill>
              </a:rPr>
              <a:t>1,118.13</a:t>
            </a:r>
            <a:r>
              <a:rPr lang="en-US" altLang="ko-KR" u="none" dirty="0" smtClean="0">
                <a:solidFill>
                  <a:srgbClr val="000000"/>
                </a:solidFill>
              </a:rPr>
              <a:t> * </a:t>
            </a:r>
            <a:r>
              <a:rPr lang="ko-KR" altLang="en-US" u="none" dirty="0" smtClean="0">
                <a:solidFill>
                  <a:srgbClr val="000000"/>
                </a:solidFill>
              </a:rPr>
              <a:t>평균기온</a:t>
            </a:r>
            <a:r>
              <a:rPr lang="en-US" altLang="ko-KR" u="none" dirty="0" smtClean="0">
                <a:solidFill>
                  <a:srgbClr val="000000"/>
                </a:solidFill>
              </a:rPr>
              <a:t>_4days_T0 + </a:t>
            </a:r>
            <a:r>
              <a:rPr lang="en-US" altLang="ko-KR" u="none" dirty="0" smtClean="0">
                <a:solidFill>
                  <a:srgbClr val="FF9933"/>
                </a:solidFill>
              </a:rPr>
              <a:t>914.39</a:t>
            </a:r>
            <a:r>
              <a:rPr lang="en-US" altLang="ko-KR" u="none" dirty="0" smtClean="0">
                <a:solidFill>
                  <a:srgbClr val="000000"/>
                </a:solidFill>
              </a:rPr>
              <a:t> * </a:t>
            </a:r>
            <a:r>
              <a:rPr lang="ko-KR" altLang="en-US" u="none" dirty="0" smtClean="0">
                <a:solidFill>
                  <a:srgbClr val="000000"/>
                </a:solidFill>
              </a:rPr>
              <a:t>최대기온</a:t>
            </a:r>
            <a:r>
              <a:rPr lang="en-US" altLang="ko-KR" u="none" dirty="0" smtClean="0">
                <a:solidFill>
                  <a:srgbClr val="000000"/>
                </a:solidFill>
              </a:rPr>
              <a:t>_T0 </a:t>
            </a:r>
            <a:r>
              <a:rPr lang="en-US" altLang="ko-KR" u="none" dirty="0" smtClean="0">
                <a:solidFill>
                  <a:srgbClr val="FF9933"/>
                </a:solidFill>
              </a:rPr>
              <a:t>- 1,866.13</a:t>
            </a:r>
            <a:r>
              <a:rPr lang="en-US" altLang="ko-KR" u="none" dirty="0" smtClean="0">
                <a:solidFill>
                  <a:srgbClr val="000000"/>
                </a:solidFill>
              </a:rPr>
              <a:t> * </a:t>
            </a:r>
            <a:r>
              <a:rPr lang="ko-KR" altLang="en-US" u="none" dirty="0" smtClean="0">
                <a:solidFill>
                  <a:srgbClr val="000000"/>
                </a:solidFill>
              </a:rPr>
              <a:t>최대기온</a:t>
            </a:r>
            <a:r>
              <a:rPr lang="en-US" altLang="ko-KR" u="none" dirty="0" smtClean="0">
                <a:solidFill>
                  <a:srgbClr val="000000"/>
                </a:solidFill>
              </a:rPr>
              <a:t>_T2	</a:t>
            </a:r>
          </a:p>
          <a:p>
            <a:r>
              <a:rPr lang="en-US" altLang="ko-KR" u="none" dirty="0" smtClean="0">
                <a:solidFill>
                  <a:srgbClr val="FF9933"/>
                </a:solidFill>
              </a:rPr>
              <a:t>- 5,382.05 </a:t>
            </a:r>
            <a:r>
              <a:rPr lang="en-US" altLang="ko-KR" u="none" dirty="0" smtClean="0">
                <a:solidFill>
                  <a:srgbClr val="000000"/>
                </a:solidFill>
              </a:rPr>
              <a:t>* </a:t>
            </a:r>
            <a:r>
              <a:rPr lang="ko-KR" altLang="en-US" u="none" dirty="0" smtClean="0">
                <a:solidFill>
                  <a:srgbClr val="000000"/>
                </a:solidFill>
              </a:rPr>
              <a:t>눈</a:t>
            </a:r>
            <a:r>
              <a:rPr lang="en-US" altLang="ko-KR" u="none" dirty="0" smtClean="0">
                <a:solidFill>
                  <a:srgbClr val="000000"/>
                </a:solidFill>
              </a:rPr>
              <a:t>_T0 + </a:t>
            </a:r>
            <a:r>
              <a:rPr lang="en-US" altLang="ko-KR" u="none" dirty="0" smtClean="0">
                <a:solidFill>
                  <a:srgbClr val="FF9933"/>
                </a:solidFill>
              </a:rPr>
              <a:t>104.48</a:t>
            </a:r>
            <a:r>
              <a:rPr lang="en-US" altLang="ko-KR" u="none" dirty="0" smtClean="0">
                <a:solidFill>
                  <a:srgbClr val="000000"/>
                </a:solidFill>
              </a:rPr>
              <a:t> * </a:t>
            </a:r>
            <a:r>
              <a:rPr lang="ko-KR" altLang="en-US" u="none" dirty="0" smtClean="0">
                <a:solidFill>
                  <a:srgbClr val="000000"/>
                </a:solidFill>
              </a:rPr>
              <a:t>비</a:t>
            </a:r>
            <a:r>
              <a:rPr lang="en-US" altLang="ko-KR" u="none" dirty="0" smtClean="0">
                <a:solidFill>
                  <a:srgbClr val="000000"/>
                </a:solidFill>
              </a:rPr>
              <a:t>_T4 + …		</a:t>
            </a:r>
          </a:p>
          <a:p>
            <a:pPr>
              <a:buFontTx/>
              <a:buChar char="-"/>
            </a:pPr>
            <a:endParaRPr lang="en-US" altLang="ko-KR" u="none" dirty="0" smtClean="0">
              <a:solidFill>
                <a:srgbClr val="000000"/>
              </a:solidFill>
            </a:endParaRP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+ </a:t>
            </a:r>
            <a:r>
              <a:rPr lang="en-US" altLang="ko-KR" u="none" dirty="0" smtClean="0">
                <a:solidFill>
                  <a:srgbClr val="FF9933"/>
                </a:solidFill>
              </a:rPr>
              <a:t>104.58</a:t>
            </a:r>
            <a:r>
              <a:rPr lang="en-US" altLang="ko-KR" u="none" dirty="0" smtClean="0">
                <a:solidFill>
                  <a:srgbClr val="000000"/>
                </a:solidFill>
              </a:rPr>
              <a:t> * DAY_SEQ	</a:t>
            </a:r>
          </a:p>
          <a:p>
            <a:endParaRPr lang="en-US" altLang="ko-KR" u="none" dirty="0" smtClean="0">
              <a:solidFill>
                <a:srgbClr val="000000"/>
              </a:solidFill>
            </a:endParaRPr>
          </a:p>
          <a:p>
            <a:r>
              <a:rPr lang="en-US" altLang="ko-KR" u="none" dirty="0" smtClean="0">
                <a:solidFill>
                  <a:srgbClr val="FF9933"/>
                </a:solidFill>
              </a:rPr>
              <a:t>- 46,425.36 </a:t>
            </a:r>
            <a:r>
              <a:rPr lang="en-US" altLang="ko-KR" u="none" dirty="0" smtClean="0">
                <a:solidFill>
                  <a:srgbClr val="000000"/>
                </a:solidFill>
              </a:rPr>
              <a:t>* </a:t>
            </a:r>
            <a:r>
              <a:rPr lang="en-US" altLang="ko-KR" u="none" dirty="0" err="1" smtClean="0">
                <a:solidFill>
                  <a:srgbClr val="000000"/>
                </a:solidFill>
              </a:rPr>
              <a:t>Claim_Effect</a:t>
            </a:r>
            <a:r>
              <a:rPr lang="en-US" altLang="ko-KR" u="none" dirty="0" smtClean="0">
                <a:solidFill>
                  <a:srgbClr val="000000"/>
                </a:solidFill>
              </a:rPr>
              <a:t> </a:t>
            </a:r>
          </a:p>
          <a:p>
            <a:r>
              <a:rPr lang="en-US" altLang="ko-KR" u="none" dirty="0" smtClean="0">
                <a:solidFill>
                  <a:srgbClr val="FF9933"/>
                </a:solidFill>
              </a:rPr>
              <a:t>- 111,098.49 </a:t>
            </a:r>
            <a:r>
              <a:rPr lang="en-US" altLang="ko-KR" u="none" dirty="0" smtClean="0">
                <a:solidFill>
                  <a:srgbClr val="000000"/>
                </a:solidFill>
              </a:rPr>
              <a:t>* </a:t>
            </a:r>
            <a:r>
              <a:rPr lang="ko-KR" altLang="en-US" u="none" dirty="0" err="1" smtClean="0">
                <a:solidFill>
                  <a:srgbClr val="000000"/>
                </a:solidFill>
              </a:rPr>
              <a:t>가격인상이후효과</a:t>
            </a:r>
            <a:endParaRPr lang="en-US" altLang="ko-KR" u="none" dirty="0" smtClean="0">
              <a:solidFill>
                <a:srgbClr val="000000"/>
              </a:solidFill>
            </a:endParaRP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+ </a:t>
            </a:r>
            <a:r>
              <a:rPr lang="en-US" altLang="ko-KR" u="none" dirty="0" smtClean="0">
                <a:solidFill>
                  <a:srgbClr val="FF9933"/>
                </a:solidFill>
              </a:rPr>
              <a:t>220,985.18</a:t>
            </a:r>
            <a:r>
              <a:rPr lang="en-US" altLang="ko-KR" u="none" dirty="0" smtClean="0">
                <a:solidFill>
                  <a:srgbClr val="000000"/>
                </a:solidFill>
              </a:rPr>
              <a:t> * </a:t>
            </a:r>
            <a:r>
              <a:rPr lang="ko-KR" altLang="en-US" u="none" dirty="0" smtClean="0">
                <a:solidFill>
                  <a:srgbClr val="000000"/>
                </a:solidFill>
              </a:rPr>
              <a:t>가격인상이전효과</a:t>
            </a:r>
            <a:r>
              <a:rPr lang="en-US" altLang="ko-KR" u="none" dirty="0" smtClean="0">
                <a:solidFill>
                  <a:srgbClr val="000000"/>
                </a:solidFill>
              </a:rPr>
              <a:t>	</a:t>
            </a: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+ </a:t>
            </a:r>
            <a:r>
              <a:rPr lang="en-US" altLang="ko-KR" u="none" dirty="0" smtClean="0">
                <a:solidFill>
                  <a:srgbClr val="FF9933"/>
                </a:solidFill>
              </a:rPr>
              <a:t>81,015.82</a:t>
            </a:r>
            <a:r>
              <a:rPr lang="en-US" altLang="ko-KR" u="none" dirty="0" smtClean="0">
                <a:solidFill>
                  <a:srgbClr val="000000"/>
                </a:solidFill>
              </a:rPr>
              <a:t> * </a:t>
            </a:r>
            <a:r>
              <a:rPr lang="ko-KR" altLang="en-US" u="none" dirty="0" smtClean="0">
                <a:solidFill>
                  <a:srgbClr val="000000"/>
                </a:solidFill>
              </a:rPr>
              <a:t>가격인상효과</a:t>
            </a:r>
            <a:r>
              <a:rPr lang="en-US" altLang="ko-KR" u="none" dirty="0" smtClean="0">
                <a:solidFill>
                  <a:srgbClr val="000000"/>
                </a:solidFill>
              </a:rPr>
              <a:t>				</a:t>
            </a:r>
          </a:p>
          <a:p>
            <a:endParaRPr lang="en-US" altLang="ko-KR" u="none" dirty="0" smtClean="0">
              <a:solidFill>
                <a:srgbClr val="000000"/>
              </a:solidFill>
            </a:endParaRPr>
          </a:p>
          <a:p>
            <a:r>
              <a:rPr lang="en-US" altLang="ko-KR" u="none" dirty="0" smtClean="0">
                <a:solidFill>
                  <a:srgbClr val="FF9933"/>
                </a:solidFill>
              </a:rPr>
              <a:t>- 26,424.15</a:t>
            </a:r>
            <a:r>
              <a:rPr lang="en-US" altLang="ko-KR" u="none" dirty="0" smtClean="0">
                <a:solidFill>
                  <a:srgbClr val="000000"/>
                </a:solidFill>
              </a:rPr>
              <a:t> * 1</a:t>
            </a:r>
            <a:r>
              <a:rPr lang="ko-KR" altLang="en-US" u="none" dirty="0" smtClean="0">
                <a:solidFill>
                  <a:srgbClr val="000000"/>
                </a:solidFill>
              </a:rPr>
              <a:t>월 </a:t>
            </a:r>
            <a:r>
              <a:rPr lang="en-US" altLang="ko-KR" u="none" dirty="0" smtClean="0">
                <a:solidFill>
                  <a:srgbClr val="FF9933"/>
                </a:solidFill>
              </a:rPr>
              <a:t>- 11342.18 </a:t>
            </a:r>
            <a:r>
              <a:rPr lang="en-US" altLang="ko-KR" u="none" dirty="0" smtClean="0">
                <a:solidFill>
                  <a:srgbClr val="000000"/>
                </a:solidFill>
              </a:rPr>
              <a:t>* 2</a:t>
            </a:r>
            <a:r>
              <a:rPr lang="ko-KR" altLang="en-US" u="none" dirty="0" smtClean="0">
                <a:solidFill>
                  <a:srgbClr val="000000"/>
                </a:solidFill>
              </a:rPr>
              <a:t>월 </a:t>
            </a:r>
            <a:r>
              <a:rPr lang="en-US" altLang="ko-KR" u="none" dirty="0" smtClean="0">
                <a:solidFill>
                  <a:srgbClr val="000000"/>
                </a:solidFill>
              </a:rPr>
              <a:t>+ </a:t>
            </a:r>
            <a:r>
              <a:rPr lang="en-US" altLang="ko-KR" u="none" dirty="0" smtClean="0">
                <a:solidFill>
                  <a:srgbClr val="FF9933"/>
                </a:solidFill>
              </a:rPr>
              <a:t>357.83</a:t>
            </a:r>
            <a:r>
              <a:rPr lang="en-US" altLang="ko-KR" u="none" dirty="0" smtClean="0">
                <a:solidFill>
                  <a:srgbClr val="000000"/>
                </a:solidFill>
              </a:rPr>
              <a:t> * 3</a:t>
            </a:r>
            <a:r>
              <a:rPr lang="ko-KR" altLang="en-US" u="none" dirty="0" smtClean="0">
                <a:solidFill>
                  <a:srgbClr val="000000"/>
                </a:solidFill>
              </a:rPr>
              <a:t>월 </a:t>
            </a:r>
            <a:r>
              <a:rPr lang="en-US" altLang="ko-KR" u="none" dirty="0" smtClean="0">
                <a:solidFill>
                  <a:srgbClr val="FF9933"/>
                </a:solidFill>
              </a:rPr>
              <a:t>- 3054.19 </a:t>
            </a:r>
            <a:r>
              <a:rPr lang="en-US" altLang="ko-KR" u="none" dirty="0" smtClean="0">
                <a:solidFill>
                  <a:srgbClr val="000000"/>
                </a:solidFill>
              </a:rPr>
              <a:t>* 4</a:t>
            </a:r>
            <a:r>
              <a:rPr lang="ko-KR" altLang="en-US" u="none" dirty="0" smtClean="0">
                <a:solidFill>
                  <a:srgbClr val="000000"/>
                </a:solidFill>
              </a:rPr>
              <a:t>월 </a:t>
            </a:r>
            <a:r>
              <a:rPr lang="en-US" altLang="ko-KR" u="none" dirty="0" smtClean="0">
                <a:solidFill>
                  <a:srgbClr val="000000"/>
                </a:solidFill>
              </a:rPr>
              <a:t>+ …</a:t>
            </a:r>
            <a:r>
              <a:rPr lang="ko-KR" altLang="en-US" u="none" dirty="0" smtClean="0">
                <a:solidFill>
                  <a:srgbClr val="000000"/>
                </a:solidFill>
              </a:rPr>
              <a:t>	</a:t>
            </a:r>
            <a:endParaRPr lang="en-US" altLang="ko-KR" u="none" dirty="0" smtClean="0">
              <a:solidFill>
                <a:srgbClr val="000000"/>
              </a:solidFill>
            </a:endParaRPr>
          </a:p>
          <a:p>
            <a:r>
              <a:rPr lang="en-US" altLang="ko-KR" u="none" dirty="0" smtClean="0">
                <a:solidFill>
                  <a:srgbClr val="FF9933"/>
                </a:solidFill>
              </a:rPr>
              <a:t>- 229,428.52 </a:t>
            </a:r>
            <a:r>
              <a:rPr lang="en-US" altLang="ko-KR" u="none" dirty="0" smtClean="0">
                <a:solidFill>
                  <a:srgbClr val="000000"/>
                </a:solidFill>
              </a:rPr>
              <a:t>* MON </a:t>
            </a:r>
            <a:r>
              <a:rPr lang="en-US" altLang="ko-KR" u="none" dirty="0" smtClean="0">
                <a:solidFill>
                  <a:srgbClr val="FF9933"/>
                </a:solidFill>
              </a:rPr>
              <a:t>- 232,261.53 </a:t>
            </a:r>
            <a:r>
              <a:rPr lang="en-US" altLang="ko-KR" u="none" dirty="0" smtClean="0">
                <a:solidFill>
                  <a:srgbClr val="000000"/>
                </a:solidFill>
              </a:rPr>
              <a:t>* TUE </a:t>
            </a:r>
            <a:r>
              <a:rPr lang="en-US" altLang="ko-KR" u="none" dirty="0" smtClean="0">
                <a:solidFill>
                  <a:srgbClr val="FF9933"/>
                </a:solidFill>
              </a:rPr>
              <a:t>- 269,582.66 </a:t>
            </a:r>
            <a:r>
              <a:rPr lang="en-US" altLang="ko-KR" u="none" dirty="0" smtClean="0">
                <a:solidFill>
                  <a:srgbClr val="000000"/>
                </a:solidFill>
              </a:rPr>
              <a:t>* WED </a:t>
            </a:r>
          </a:p>
          <a:p>
            <a:r>
              <a:rPr lang="en-US" altLang="ko-KR" u="none" dirty="0" smtClean="0">
                <a:solidFill>
                  <a:srgbClr val="FF9933"/>
                </a:solidFill>
              </a:rPr>
              <a:t>- 242,812.73 </a:t>
            </a:r>
            <a:r>
              <a:rPr lang="en-US" altLang="ko-KR" u="none" dirty="0" smtClean="0">
                <a:solidFill>
                  <a:srgbClr val="000000"/>
                </a:solidFill>
              </a:rPr>
              <a:t>* THU </a:t>
            </a:r>
            <a:r>
              <a:rPr lang="en-US" altLang="ko-KR" u="none" dirty="0" smtClean="0">
                <a:solidFill>
                  <a:srgbClr val="FF9933"/>
                </a:solidFill>
              </a:rPr>
              <a:t>- 221,593.73 </a:t>
            </a:r>
            <a:r>
              <a:rPr lang="en-US" altLang="ko-KR" u="none" dirty="0" smtClean="0">
                <a:solidFill>
                  <a:srgbClr val="000000"/>
                </a:solidFill>
              </a:rPr>
              <a:t>* FRI	</a:t>
            </a: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+ </a:t>
            </a:r>
            <a:r>
              <a:rPr lang="en-US" altLang="ko-KR" u="none" dirty="0" smtClean="0">
                <a:solidFill>
                  <a:srgbClr val="FF9933"/>
                </a:solidFill>
              </a:rPr>
              <a:t>231,077.62</a:t>
            </a:r>
            <a:r>
              <a:rPr lang="en-US" altLang="ko-KR" u="none" dirty="0" smtClean="0">
                <a:solidFill>
                  <a:srgbClr val="000000"/>
                </a:solidFill>
              </a:rPr>
              <a:t> * WORKING_DAY + …</a:t>
            </a:r>
          </a:p>
          <a:p>
            <a:endParaRPr lang="en-US" altLang="ko-KR" u="none" dirty="0" smtClean="0">
              <a:solidFill>
                <a:srgbClr val="000000"/>
              </a:solidFill>
            </a:endParaRPr>
          </a:p>
          <a:p>
            <a:r>
              <a:rPr lang="en-US" altLang="ko-KR" u="none" dirty="0" smtClean="0">
                <a:solidFill>
                  <a:srgbClr val="FF9933"/>
                </a:solidFill>
              </a:rPr>
              <a:t>- 13,771.96 </a:t>
            </a:r>
            <a:r>
              <a:rPr lang="en-US" altLang="ko-KR" u="none" dirty="0" smtClean="0">
                <a:solidFill>
                  <a:srgbClr val="000000"/>
                </a:solidFill>
              </a:rPr>
              <a:t>* </a:t>
            </a:r>
            <a:r>
              <a:rPr lang="ko-KR" altLang="en-US" u="none" dirty="0" err="1" smtClean="0">
                <a:solidFill>
                  <a:srgbClr val="000000"/>
                </a:solidFill>
              </a:rPr>
              <a:t>추석이후효과</a:t>
            </a:r>
            <a:r>
              <a:rPr lang="en-US" altLang="ko-KR" u="none" dirty="0" smtClean="0">
                <a:solidFill>
                  <a:srgbClr val="000000"/>
                </a:solidFill>
              </a:rPr>
              <a:t> + </a:t>
            </a:r>
            <a:r>
              <a:rPr lang="en-US" altLang="ko-KR" u="none" dirty="0" smtClean="0">
                <a:solidFill>
                  <a:srgbClr val="FF9933"/>
                </a:solidFill>
              </a:rPr>
              <a:t>67,060.1</a:t>
            </a:r>
            <a:r>
              <a:rPr lang="en-US" altLang="ko-KR" u="none" dirty="0" smtClean="0">
                <a:solidFill>
                  <a:srgbClr val="000000"/>
                </a:solidFill>
              </a:rPr>
              <a:t> * </a:t>
            </a:r>
            <a:r>
              <a:rPr lang="ko-KR" altLang="en-US" u="none" dirty="0" smtClean="0">
                <a:solidFill>
                  <a:srgbClr val="000000"/>
                </a:solidFill>
              </a:rPr>
              <a:t>추석이전효과</a:t>
            </a:r>
            <a:r>
              <a:rPr lang="en-US" altLang="ko-KR" u="none" dirty="0" smtClean="0">
                <a:solidFill>
                  <a:srgbClr val="000000"/>
                </a:solidFill>
              </a:rPr>
              <a:t> </a:t>
            </a: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+ </a:t>
            </a:r>
            <a:r>
              <a:rPr lang="en-US" altLang="ko-KR" u="none" dirty="0" smtClean="0">
                <a:solidFill>
                  <a:srgbClr val="FF9933"/>
                </a:solidFill>
              </a:rPr>
              <a:t>66,915.62</a:t>
            </a:r>
            <a:r>
              <a:rPr lang="en-US" altLang="ko-KR" u="none" dirty="0" smtClean="0">
                <a:solidFill>
                  <a:srgbClr val="000000"/>
                </a:solidFill>
              </a:rPr>
              <a:t> * </a:t>
            </a:r>
            <a:r>
              <a:rPr lang="ko-KR" altLang="en-US" u="none" dirty="0" smtClean="0">
                <a:solidFill>
                  <a:srgbClr val="000000"/>
                </a:solidFill>
              </a:rPr>
              <a:t>추석효과</a:t>
            </a:r>
            <a:r>
              <a:rPr lang="en-US" altLang="ko-KR" u="none" dirty="0" smtClean="0">
                <a:solidFill>
                  <a:srgbClr val="000000"/>
                </a:solidFill>
              </a:rPr>
              <a:t> </a:t>
            </a:r>
            <a:r>
              <a:rPr lang="en-US" altLang="ko-KR" u="none" dirty="0" smtClean="0">
                <a:solidFill>
                  <a:srgbClr val="FF9933"/>
                </a:solidFill>
              </a:rPr>
              <a:t>- 23,645.68</a:t>
            </a:r>
            <a:r>
              <a:rPr lang="en-US" altLang="ko-KR" u="none" dirty="0" smtClean="0">
                <a:solidFill>
                  <a:srgbClr val="000000"/>
                </a:solidFill>
              </a:rPr>
              <a:t> * </a:t>
            </a:r>
            <a:r>
              <a:rPr lang="ko-KR" altLang="en-US" u="none" dirty="0" err="1" smtClean="0">
                <a:solidFill>
                  <a:srgbClr val="000000"/>
                </a:solidFill>
              </a:rPr>
              <a:t>설날이후효과</a:t>
            </a:r>
            <a:endParaRPr lang="en-US" altLang="ko-KR" u="none" dirty="0" smtClean="0">
              <a:solidFill>
                <a:srgbClr val="000000"/>
              </a:solidFill>
            </a:endParaRP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+ </a:t>
            </a:r>
            <a:r>
              <a:rPr lang="en-US" altLang="ko-KR" u="none" dirty="0" smtClean="0">
                <a:solidFill>
                  <a:srgbClr val="FF9933"/>
                </a:solidFill>
              </a:rPr>
              <a:t>28,704.86</a:t>
            </a:r>
            <a:r>
              <a:rPr lang="en-US" altLang="ko-KR" u="none" dirty="0" smtClean="0">
                <a:solidFill>
                  <a:srgbClr val="000000"/>
                </a:solidFill>
              </a:rPr>
              <a:t> * </a:t>
            </a:r>
            <a:r>
              <a:rPr lang="ko-KR" altLang="en-US" u="none" dirty="0" smtClean="0">
                <a:solidFill>
                  <a:srgbClr val="000000"/>
                </a:solidFill>
              </a:rPr>
              <a:t>설날이전효과</a:t>
            </a:r>
            <a:r>
              <a:rPr lang="en-US" altLang="ko-KR" u="none" dirty="0" smtClean="0">
                <a:solidFill>
                  <a:srgbClr val="000000"/>
                </a:solidFill>
              </a:rPr>
              <a:t>+ </a:t>
            </a:r>
            <a:r>
              <a:rPr lang="en-US" altLang="ko-KR" u="none" dirty="0" smtClean="0">
                <a:solidFill>
                  <a:srgbClr val="FF9933"/>
                </a:solidFill>
              </a:rPr>
              <a:t>2,599.82</a:t>
            </a:r>
            <a:r>
              <a:rPr lang="en-US" altLang="ko-KR" u="none" dirty="0" smtClean="0">
                <a:solidFill>
                  <a:srgbClr val="000000"/>
                </a:solidFill>
              </a:rPr>
              <a:t> * </a:t>
            </a:r>
            <a:r>
              <a:rPr lang="ko-KR" altLang="en-US" u="none" dirty="0" err="1" smtClean="0">
                <a:solidFill>
                  <a:srgbClr val="000000"/>
                </a:solidFill>
              </a:rPr>
              <a:t>크리스마스이후효과</a:t>
            </a:r>
            <a:endParaRPr lang="en-US" altLang="ko-KR" u="none" dirty="0" smtClean="0">
              <a:solidFill>
                <a:srgbClr val="000000"/>
              </a:solidFill>
            </a:endParaRP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+ </a:t>
            </a:r>
            <a:r>
              <a:rPr lang="en-US" altLang="ko-KR" u="none" dirty="0" smtClean="0">
                <a:solidFill>
                  <a:srgbClr val="FF9933"/>
                </a:solidFill>
              </a:rPr>
              <a:t>16,159.88</a:t>
            </a:r>
            <a:r>
              <a:rPr lang="en-US" altLang="ko-KR" u="none" dirty="0" smtClean="0">
                <a:solidFill>
                  <a:srgbClr val="000000"/>
                </a:solidFill>
              </a:rPr>
              <a:t> * </a:t>
            </a:r>
            <a:r>
              <a:rPr lang="ko-KR" altLang="en-US" u="none" dirty="0" smtClean="0">
                <a:solidFill>
                  <a:srgbClr val="000000"/>
                </a:solidFill>
              </a:rPr>
              <a:t>크리스마스이전효과</a:t>
            </a:r>
            <a:r>
              <a:rPr lang="en-US" altLang="ko-KR" u="none" dirty="0" smtClean="0">
                <a:solidFill>
                  <a:srgbClr val="000000"/>
                </a:solidFill>
              </a:rPr>
              <a:t>	+ </a:t>
            </a:r>
            <a:r>
              <a:rPr lang="en-US" altLang="ko-KR" u="none" dirty="0" smtClean="0">
                <a:solidFill>
                  <a:srgbClr val="FF9933"/>
                </a:solidFill>
              </a:rPr>
              <a:t>18,141.81</a:t>
            </a:r>
            <a:r>
              <a:rPr lang="en-US" altLang="ko-KR" u="none" dirty="0" smtClean="0">
                <a:solidFill>
                  <a:srgbClr val="000000"/>
                </a:solidFill>
              </a:rPr>
              <a:t> * </a:t>
            </a:r>
            <a:r>
              <a:rPr lang="ko-KR" altLang="en-US" u="none" dirty="0" smtClean="0">
                <a:solidFill>
                  <a:srgbClr val="000000"/>
                </a:solidFill>
              </a:rPr>
              <a:t>한글날효과 </a:t>
            </a:r>
            <a:r>
              <a:rPr lang="en-US" altLang="ko-KR" u="none" dirty="0" smtClean="0">
                <a:solidFill>
                  <a:srgbClr val="000000"/>
                </a:solidFill>
              </a:rPr>
              <a:t>+ …</a:t>
            </a:r>
            <a:endParaRPr lang="ko-KR" altLang="en-US" u="none" dirty="0">
              <a:solidFill>
                <a:srgbClr val="000000"/>
              </a:solidFill>
            </a:endParaRPr>
          </a:p>
        </p:txBody>
      </p:sp>
      <p:sp>
        <p:nvSpPr>
          <p:cNvPr id="17" name="AutoShape 52"/>
          <p:cNvSpPr>
            <a:spLocks noChangeArrowheads="1"/>
          </p:cNvSpPr>
          <p:nvPr/>
        </p:nvSpPr>
        <p:spPr bwMode="auto">
          <a:xfrm rot="10800000">
            <a:off x="6738951" y="1679030"/>
            <a:ext cx="2736850" cy="526732"/>
          </a:xfrm>
          <a:prstGeom prst="rightArrow">
            <a:avLst>
              <a:gd name="adj1" fmla="val 48657"/>
              <a:gd name="adj2" fmla="val 37186"/>
            </a:avLst>
          </a:prstGeom>
          <a:gradFill flip="none" rotWithShape="1">
            <a:gsLst>
              <a:gs pos="0">
                <a:schemeClr val="bg1">
                  <a:lumMod val="50000"/>
                  <a:tint val="66000"/>
                  <a:satMod val="160000"/>
                </a:schemeClr>
              </a:gs>
              <a:gs pos="50000">
                <a:schemeClr val="bg1">
                  <a:lumMod val="50000"/>
                  <a:tint val="44500"/>
                  <a:satMod val="160000"/>
                </a:schemeClr>
              </a:gs>
              <a:gs pos="100000">
                <a:schemeClr val="bg1">
                  <a:lumMod val="50000"/>
                  <a:tint val="23500"/>
                  <a:satMod val="160000"/>
                </a:schemeClr>
              </a:gs>
            </a:gsLst>
            <a:lin ang="10800000" scaled="1"/>
            <a:tileRect/>
          </a:gradFill>
          <a:ln w="1270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ko-KR" altLang="en-US" sz="1300" u="none" dirty="0" smtClean="0">
              <a:solidFill>
                <a:srgbClr val="000000"/>
              </a:solidFill>
              <a:ea typeface="맑은 고딕" pitchFamily="50" charset="-127"/>
            </a:endParaRPr>
          </a:p>
        </p:txBody>
      </p:sp>
      <p:sp>
        <p:nvSpPr>
          <p:cNvPr id="30" name="Text Box 40"/>
          <p:cNvSpPr txBox="1">
            <a:spLocks noChangeArrowheads="1"/>
          </p:cNvSpPr>
          <p:nvPr/>
        </p:nvSpPr>
        <p:spPr bwMode="auto">
          <a:xfrm>
            <a:off x="7083794" y="5389476"/>
            <a:ext cx="2664000" cy="308739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>
            <a:spAutoFit/>
          </a:bodyPr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41338" indent="-541338" defTabSz="914400" eaLnBrk="0" latinLnBrk="0" hangingPunct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: 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휴일</a:t>
            </a: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,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명절의 영향</a:t>
            </a:r>
            <a:endParaRPr lang="en-US" altLang="ko-KR" sz="1300" u="none" dirty="0">
              <a:solidFill>
                <a:srgbClr val="A50021"/>
              </a:solidFill>
              <a:latin typeface="맑은 고딕"/>
              <a:ea typeface="맑은 고딕"/>
            </a:endParaRPr>
          </a:p>
        </p:txBody>
      </p:sp>
      <p:sp>
        <p:nvSpPr>
          <p:cNvPr id="31" name="Text Box 40"/>
          <p:cNvSpPr txBox="1">
            <a:spLocks noChangeArrowheads="1"/>
          </p:cNvSpPr>
          <p:nvPr/>
        </p:nvSpPr>
        <p:spPr bwMode="auto">
          <a:xfrm>
            <a:off x="7087369" y="4252877"/>
            <a:ext cx="2664000" cy="332399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>
            <a:spAutoFit/>
          </a:bodyPr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latinLnBrk="0" hangingPunct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: 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월</a:t>
            </a: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/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요일</a:t>
            </a: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/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근무일</a:t>
            </a: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/</a:t>
            </a:r>
            <a:r>
              <a:rPr lang="ko-KR" altLang="en-US" sz="1300" u="none" dirty="0" smtClean="0">
                <a:solidFill>
                  <a:srgbClr val="A50021"/>
                </a:solidFill>
                <a:latin typeface="맑은 고딕"/>
                <a:ea typeface="맑은 고딕"/>
              </a:rPr>
              <a:t>결제일의 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영향</a:t>
            </a:r>
            <a:endParaRPr lang="en-US" altLang="ko-KR" sz="1300" u="none" dirty="0">
              <a:solidFill>
                <a:srgbClr val="A50021"/>
              </a:solidFill>
              <a:latin typeface="맑은 고딕"/>
              <a:ea typeface="맑은 고딕"/>
            </a:endParaRPr>
          </a:p>
        </p:txBody>
      </p:sp>
      <p:sp>
        <p:nvSpPr>
          <p:cNvPr id="32" name="Text Box 40"/>
          <p:cNvSpPr txBox="1">
            <a:spLocks noChangeArrowheads="1"/>
          </p:cNvSpPr>
          <p:nvPr/>
        </p:nvSpPr>
        <p:spPr bwMode="auto">
          <a:xfrm>
            <a:off x="7090570" y="3250120"/>
            <a:ext cx="2664000" cy="308739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>
            <a:spAutoFit/>
          </a:bodyPr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41338" indent="-541338" defTabSz="914400" eaLnBrk="0" latinLnBrk="0" hangingPunct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: Special Event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의 영향</a:t>
            </a:r>
            <a:endParaRPr lang="en-US" altLang="ko-KR" sz="1300" u="none" dirty="0">
              <a:solidFill>
                <a:srgbClr val="A50021"/>
              </a:solidFill>
              <a:latin typeface="맑은 고딕"/>
              <a:ea typeface="맑은 고딕"/>
            </a:endParaRPr>
          </a:p>
        </p:txBody>
      </p:sp>
      <p:sp>
        <p:nvSpPr>
          <p:cNvPr id="34" name="Text Box 40"/>
          <p:cNvSpPr txBox="1">
            <a:spLocks noChangeArrowheads="1"/>
          </p:cNvSpPr>
          <p:nvPr/>
        </p:nvSpPr>
        <p:spPr bwMode="auto">
          <a:xfrm>
            <a:off x="7078544" y="1262873"/>
            <a:ext cx="2664000" cy="308739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>
            <a:spAutoFit/>
          </a:bodyPr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41338" indent="-541338" defTabSz="914400" eaLnBrk="0" latinLnBrk="0" hangingPunct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: BASE</a:t>
            </a:r>
          </a:p>
        </p:txBody>
      </p:sp>
      <p:sp>
        <p:nvSpPr>
          <p:cNvPr id="35" name="Text Box 40"/>
          <p:cNvSpPr txBox="1">
            <a:spLocks noChangeArrowheads="1"/>
          </p:cNvSpPr>
          <p:nvPr/>
        </p:nvSpPr>
        <p:spPr bwMode="auto">
          <a:xfrm>
            <a:off x="7074829" y="1772833"/>
            <a:ext cx="2664000" cy="308739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>
            <a:spAutoFit/>
          </a:bodyPr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41338" indent="-541338" defTabSz="914400" eaLnBrk="0" latinLnBrk="0" hangingPunct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: 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기온의 영향</a:t>
            </a:r>
            <a:endParaRPr lang="en-US" altLang="ko-KR" sz="1300" u="none" dirty="0">
              <a:solidFill>
                <a:srgbClr val="A50021"/>
              </a:solidFill>
              <a:latin typeface="맑은 고딕"/>
              <a:ea typeface="맑은 고딕"/>
            </a:endParaRPr>
          </a:p>
        </p:txBody>
      </p:sp>
      <p:sp>
        <p:nvSpPr>
          <p:cNvPr id="38" name="AutoShape 52"/>
          <p:cNvSpPr>
            <a:spLocks noChangeArrowheads="1"/>
          </p:cNvSpPr>
          <p:nvPr/>
        </p:nvSpPr>
        <p:spPr bwMode="auto">
          <a:xfrm rot="10800000">
            <a:off x="6738950" y="2402202"/>
            <a:ext cx="2736850" cy="526732"/>
          </a:xfrm>
          <a:prstGeom prst="rightArrow">
            <a:avLst>
              <a:gd name="adj1" fmla="val 48657"/>
              <a:gd name="adj2" fmla="val 37186"/>
            </a:avLst>
          </a:prstGeom>
          <a:gradFill flip="none" rotWithShape="1">
            <a:gsLst>
              <a:gs pos="0">
                <a:schemeClr val="bg1">
                  <a:lumMod val="50000"/>
                  <a:tint val="66000"/>
                  <a:satMod val="160000"/>
                </a:schemeClr>
              </a:gs>
              <a:gs pos="50000">
                <a:schemeClr val="bg1">
                  <a:lumMod val="50000"/>
                  <a:tint val="44500"/>
                  <a:satMod val="160000"/>
                </a:schemeClr>
              </a:gs>
              <a:gs pos="100000">
                <a:schemeClr val="bg1">
                  <a:lumMod val="50000"/>
                  <a:tint val="23500"/>
                  <a:satMod val="160000"/>
                </a:schemeClr>
              </a:gs>
            </a:gsLst>
            <a:lin ang="10800000" scaled="1"/>
            <a:tileRect/>
          </a:gradFill>
          <a:ln w="1270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ko-KR" altLang="en-US" sz="1300" u="none" dirty="0" smtClean="0">
              <a:solidFill>
                <a:srgbClr val="000000"/>
              </a:solidFill>
              <a:ea typeface="맑은 고딕" pitchFamily="50" charset="-127"/>
            </a:endParaRPr>
          </a:p>
        </p:txBody>
      </p:sp>
      <p:sp>
        <p:nvSpPr>
          <p:cNvPr id="33" name="Text Box 40"/>
          <p:cNvSpPr txBox="1">
            <a:spLocks noChangeArrowheads="1"/>
          </p:cNvSpPr>
          <p:nvPr/>
        </p:nvSpPr>
        <p:spPr bwMode="auto">
          <a:xfrm>
            <a:off x="7085461" y="2500306"/>
            <a:ext cx="2664000" cy="308739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>
            <a:spAutoFit/>
          </a:bodyPr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41338" indent="-541338" defTabSz="914400" eaLnBrk="0" latinLnBrk="0" hangingPunct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: 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일</a:t>
            </a: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/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년</a:t>
            </a: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Trend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의 영향</a:t>
            </a:r>
            <a:endParaRPr lang="en-US" altLang="ko-KR" sz="1300" u="none" dirty="0">
              <a:solidFill>
                <a:srgbClr val="A50021"/>
              </a:solidFill>
              <a:latin typeface="맑은 고딕"/>
              <a:ea typeface="맑은 고딕"/>
            </a:endParaRPr>
          </a:p>
        </p:txBody>
      </p:sp>
      <p:grpSp>
        <p:nvGrpSpPr>
          <p:cNvPr id="2" name="그룹 52"/>
          <p:cNvGrpSpPr>
            <a:grpSpLocks noChangeAspect="1"/>
          </p:cNvGrpSpPr>
          <p:nvPr/>
        </p:nvGrpSpPr>
        <p:grpSpPr>
          <a:xfrm rot="538037">
            <a:off x="8745342" y="971371"/>
            <a:ext cx="979200" cy="307777"/>
            <a:chOff x="-162410" y="2120401"/>
            <a:chExt cx="1491428" cy="461717"/>
          </a:xfrm>
        </p:grpSpPr>
        <p:sp>
          <p:nvSpPr>
            <p:cNvPr id="19" name="Line 17"/>
            <p:cNvSpPr>
              <a:spLocks noChangeShapeType="1"/>
            </p:cNvSpPr>
            <p:nvPr/>
          </p:nvSpPr>
          <p:spPr bwMode="auto">
            <a:xfrm flipV="1">
              <a:off x="-142612" y="2132856"/>
              <a:ext cx="1440000" cy="0"/>
            </a:xfrm>
            <a:prstGeom prst="line">
              <a:avLst/>
            </a:prstGeom>
            <a:noFill/>
            <a:ln w="25400" cmpd="tri">
              <a:solidFill>
                <a:sysClr val="windowText" lastClr="000000">
                  <a:lumMod val="65000"/>
                  <a:lumOff val="35000"/>
                </a:sys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2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u="none" kern="0" spc="-1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맑은 고딕" pitchFamily="50" charset="-127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 flipV="1">
              <a:off x="-142612" y="2564904"/>
              <a:ext cx="1440000" cy="0"/>
            </a:xfrm>
            <a:prstGeom prst="line">
              <a:avLst/>
            </a:prstGeom>
            <a:noFill/>
            <a:ln w="25400" cmpd="tri">
              <a:solidFill>
                <a:sysClr val="windowText" lastClr="000000">
                  <a:lumMod val="65000"/>
                  <a:lumOff val="35000"/>
                </a:sys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2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u="none" kern="0" spc="-1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맑은 고딕" pitchFamily="50" charset="-127"/>
              </a:endParaRPr>
            </a:p>
          </p:txBody>
        </p:sp>
        <p:sp>
          <p:nvSpPr>
            <p:cNvPr id="21" name="Text Box 16"/>
            <p:cNvSpPr txBox="1">
              <a:spLocks noChangeArrowheads="1"/>
            </p:cNvSpPr>
            <p:nvPr/>
          </p:nvSpPr>
          <p:spPr bwMode="auto">
            <a:xfrm>
              <a:off x="-162410" y="2120401"/>
              <a:ext cx="1491428" cy="46171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anchor="ctr">
              <a:spAutoFit/>
            </a:bodyPr>
            <a:lstStyle/>
            <a:p>
              <a:pPr algn="ctr" defTabSz="762000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ko-KR" u="none" kern="0" spc="-100" dirty="0" smtClean="0">
                  <a:solidFill>
                    <a:sysClr val="windowText" lastClr="000000">
                      <a:lumMod val="65000"/>
                      <a:lumOff val="35000"/>
                    </a:sysClr>
                  </a:solidFill>
                  <a:latin typeface="맑은 고딕" pitchFamily="50" charset="-127"/>
                </a:rPr>
                <a:t>Illustrative</a:t>
              </a:r>
              <a:endParaRPr lang="ko-KR" altLang="en-US" u="none" kern="0" spc="-1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맑은 고딕" pitchFamily="50" charset="-127"/>
              </a:endParaRPr>
            </a:p>
          </p:txBody>
        </p:sp>
      </p:grpSp>
      <p:sp>
        <p:nvSpPr>
          <p:cNvPr id="22" name="직사각형 21"/>
          <p:cNvSpPr/>
          <p:nvPr/>
        </p:nvSpPr>
        <p:spPr bwMode="auto">
          <a:xfrm>
            <a:off x="7739082" y="114300"/>
            <a:ext cx="2000264" cy="782637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altLang="ko-KR" sz="2000" u="none" dirty="0" smtClean="0">
                <a:solidFill>
                  <a:srgbClr val="FFFFFF"/>
                </a:solidFill>
              </a:rPr>
              <a:t>version 1</a:t>
            </a:r>
          </a:p>
        </p:txBody>
      </p:sp>
      <p:sp>
        <p:nvSpPr>
          <p:cNvPr id="25" name="Rectangle 2"/>
          <p:cNvSpPr>
            <a:spLocks noGrp="1" noChangeArrowheads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dirty="0" smtClean="0">
                <a:latin typeface="맑은 고딕" pitchFamily="50" charset="-127"/>
              </a:rPr>
              <a:t>모형결과 </a:t>
            </a:r>
            <a:r>
              <a:rPr lang="en-US" altLang="ko-KR" dirty="0" smtClean="0">
                <a:latin typeface="맑은 고딕" pitchFamily="50" charset="-127"/>
              </a:rPr>
              <a:t>– </a:t>
            </a:r>
            <a:r>
              <a:rPr lang="ko-KR" altLang="en-US" dirty="0" smtClean="0">
                <a:latin typeface="맑은 고딕" pitchFamily="50" charset="-127"/>
              </a:rPr>
              <a:t>회사전체 판매량 </a:t>
            </a:r>
            <a:r>
              <a:rPr lang="ko-KR" altLang="en-US" dirty="0" err="1" smtClean="0">
                <a:latin typeface="맑은 고딕" pitchFamily="50" charset="-127"/>
              </a:rPr>
              <a:t>주별</a:t>
            </a:r>
            <a:r>
              <a:rPr lang="ko-KR" altLang="en-US" dirty="0" smtClean="0">
                <a:latin typeface="맑은 고딕" pitchFamily="50" charset="-127"/>
              </a:rPr>
              <a:t> 예측 </a:t>
            </a:r>
            <a:r>
              <a:rPr lang="en-US" altLang="ko-KR" dirty="0" smtClean="0">
                <a:latin typeface="맑은 고딕" pitchFamily="50" charset="-127"/>
              </a:rPr>
              <a:t>(3) Regression Equation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891" name="Rectangle 3"/>
          <p:cNvSpPr txBox="1">
            <a:spLocks noChangeArrowheads="1"/>
          </p:cNvSpPr>
          <p:nvPr/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 latinLnBrk="1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회사전체 판매량의 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회귀 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식은 기온</a:t>
            </a: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눈</a:t>
            </a:r>
            <a:r>
              <a:rPr kumimoji="1" lang="en-US" altLang="ko-KR" sz="1600" u="none" dirty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비</a:t>
            </a: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일자</a:t>
            </a: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설명변수로 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표현됨</a:t>
            </a:r>
            <a:endParaRPr kumimoji="1" lang="en-US" altLang="ko-KR" sz="1600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grpSp>
        <p:nvGrpSpPr>
          <p:cNvPr id="2" name="그룹 52"/>
          <p:cNvGrpSpPr>
            <a:grpSpLocks noChangeAspect="1"/>
          </p:cNvGrpSpPr>
          <p:nvPr/>
        </p:nvGrpSpPr>
        <p:grpSpPr>
          <a:xfrm rot="538037">
            <a:off x="8745342" y="971371"/>
            <a:ext cx="979200" cy="307777"/>
            <a:chOff x="-162410" y="2120401"/>
            <a:chExt cx="1491428" cy="461717"/>
          </a:xfrm>
        </p:grpSpPr>
        <p:sp>
          <p:nvSpPr>
            <p:cNvPr id="19" name="Line 17"/>
            <p:cNvSpPr>
              <a:spLocks noChangeShapeType="1"/>
            </p:cNvSpPr>
            <p:nvPr/>
          </p:nvSpPr>
          <p:spPr bwMode="auto">
            <a:xfrm flipV="1">
              <a:off x="-142612" y="2132856"/>
              <a:ext cx="1440000" cy="0"/>
            </a:xfrm>
            <a:prstGeom prst="line">
              <a:avLst/>
            </a:prstGeom>
            <a:noFill/>
            <a:ln w="25400" cmpd="tri">
              <a:solidFill>
                <a:sysClr val="windowText" lastClr="000000">
                  <a:lumMod val="65000"/>
                  <a:lumOff val="35000"/>
                </a:sys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2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u="none" kern="0" spc="-1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맑은 고딕" pitchFamily="50" charset="-127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 flipV="1">
              <a:off x="-142612" y="2564904"/>
              <a:ext cx="1440000" cy="0"/>
            </a:xfrm>
            <a:prstGeom prst="line">
              <a:avLst/>
            </a:prstGeom>
            <a:noFill/>
            <a:ln w="25400" cmpd="tri">
              <a:solidFill>
                <a:sysClr val="windowText" lastClr="000000">
                  <a:lumMod val="65000"/>
                  <a:lumOff val="35000"/>
                </a:sys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2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u="none" kern="0" spc="-1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맑은 고딕" pitchFamily="50" charset="-127"/>
              </a:endParaRPr>
            </a:p>
          </p:txBody>
        </p:sp>
        <p:sp>
          <p:nvSpPr>
            <p:cNvPr id="21" name="Text Box 16"/>
            <p:cNvSpPr txBox="1">
              <a:spLocks noChangeArrowheads="1"/>
            </p:cNvSpPr>
            <p:nvPr/>
          </p:nvSpPr>
          <p:spPr bwMode="auto">
            <a:xfrm>
              <a:off x="-162410" y="2120401"/>
              <a:ext cx="1491428" cy="46171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anchor="ctr">
              <a:spAutoFit/>
            </a:bodyPr>
            <a:lstStyle/>
            <a:p>
              <a:pPr algn="ctr" defTabSz="762000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ko-KR" u="none" kern="0" spc="-100" dirty="0" smtClean="0">
                  <a:solidFill>
                    <a:sysClr val="windowText" lastClr="000000">
                      <a:lumMod val="65000"/>
                      <a:lumOff val="35000"/>
                    </a:sysClr>
                  </a:solidFill>
                  <a:latin typeface="맑은 고딕" pitchFamily="50" charset="-127"/>
                </a:rPr>
                <a:t>Illustrative</a:t>
              </a:r>
              <a:endParaRPr lang="ko-KR" altLang="en-US" u="none" kern="0" spc="-1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맑은 고딕" pitchFamily="50" charset="-127"/>
              </a:endParaRPr>
            </a:p>
          </p:txBody>
        </p:sp>
      </p:grpSp>
      <p:sp>
        <p:nvSpPr>
          <p:cNvPr id="22" name="직사각형 21"/>
          <p:cNvSpPr/>
          <p:nvPr/>
        </p:nvSpPr>
        <p:spPr bwMode="auto">
          <a:xfrm>
            <a:off x="7739082" y="114300"/>
            <a:ext cx="2000264" cy="782637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altLang="ko-KR" sz="2000" u="none" dirty="0" smtClean="0">
                <a:solidFill>
                  <a:srgbClr val="FFFFFF"/>
                </a:solidFill>
              </a:rPr>
              <a:t>version 2</a:t>
            </a:r>
          </a:p>
        </p:txBody>
      </p:sp>
      <p:sp>
        <p:nvSpPr>
          <p:cNvPr id="25" name="Rectangle 2"/>
          <p:cNvSpPr>
            <a:spLocks noGrp="1" noChangeArrowheads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dirty="0" smtClean="0">
                <a:latin typeface="맑은 고딕" pitchFamily="50" charset="-127"/>
              </a:rPr>
              <a:t>모형결과 </a:t>
            </a:r>
            <a:r>
              <a:rPr lang="en-US" altLang="ko-KR" dirty="0" smtClean="0">
                <a:latin typeface="맑은 고딕" pitchFamily="50" charset="-127"/>
              </a:rPr>
              <a:t>– </a:t>
            </a:r>
            <a:r>
              <a:rPr lang="ko-KR" altLang="en-US" dirty="0" smtClean="0">
                <a:latin typeface="맑은 고딕" pitchFamily="50" charset="-127"/>
              </a:rPr>
              <a:t>회사전체 판매량 </a:t>
            </a:r>
            <a:r>
              <a:rPr lang="ko-KR" altLang="en-US" dirty="0" err="1" smtClean="0">
                <a:latin typeface="맑은 고딕" pitchFamily="50" charset="-127"/>
              </a:rPr>
              <a:t>주별</a:t>
            </a:r>
            <a:r>
              <a:rPr lang="ko-KR" altLang="en-US" dirty="0" smtClean="0">
                <a:latin typeface="맑은 고딕" pitchFamily="50" charset="-127"/>
              </a:rPr>
              <a:t> 예측 </a:t>
            </a:r>
            <a:r>
              <a:rPr lang="en-US" altLang="ko-KR" dirty="0" smtClean="0">
                <a:latin typeface="맑은 고딕" pitchFamily="50" charset="-127"/>
              </a:rPr>
              <a:t>(3) Regression Equation</a:t>
            </a:r>
          </a:p>
        </p:txBody>
      </p:sp>
      <p:graphicFrame>
        <p:nvGraphicFramePr>
          <p:cNvPr id="24" name="표 23"/>
          <p:cNvGraphicFramePr>
            <a:graphicFrameLocks noGrp="1"/>
          </p:cNvGraphicFramePr>
          <p:nvPr/>
        </p:nvGraphicFramePr>
        <p:xfrm>
          <a:off x="1516286" y="1719636"/>
          <a:ext cx="3384000" cy="3535680"/>
        </p:xfrm>
        <a:graphic>
          <a:graphicData uri="http://schemas.openxmlformats.org/drawingml/2006/table">
            <a:tbl>
              <a:tblPr/>
              <a:tblGrid>
                <a:gridCol w="1332000"/>
                <a:gridCol w="2052000"/>
              </a:tblGrid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200,883.68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300" b="1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(513.55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평균온도</a:t>
                      </a:r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_</a:t>
                      </a:r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0_mav</a:t>
                      </a: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589.87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평균온도</a:t>
                      </a:r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_</a:t>
                      </a:r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2</a:t>
                      </a: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507.57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평균온도</a:t>
                      </a:r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_</a:t>
                      </a:r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3</a:t>
                      </a: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,118.13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평균온도</a:t>
                      </a:r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_4</a:t>
                      </a:r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days_T0</a:t>
                      </a: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914.39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최대온도</a:t>
                      </a:r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_</a:t>
                      </a:r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0</a:t>
                      </a: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(1,866.13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최대온도</a:t>
                      </a:r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_</a:t>
                      </a:r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2</a:t>
                      </a: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(5,382.05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눈</a:t>
                      </a:r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_</a:t>
                      </a:r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0</a:t>
                      </a: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04.48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비</a:t>
                      </a:r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_</a:t>
                      </a:r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4</a:t>
                      </a: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3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︙</a:t>
                      </a:r>
                      <a:endParaRPr lang="en-US" altLang="ko-KR" sz="1300" b="1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104.58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DAY_SEQ</a:t>
                      </a: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(46,425.36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Claim_Effect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(111,098.49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가격인상이후효과</a:t>
                      </a:r>
                      <a:endParaRPr lang="ko-KR" altLang="en-US" sz="1300" b="1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20,985.18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가격인상이전효과</a:t>
                      </a: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81,015.82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가격인상효과</a:t>
                      </a: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3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︙</a:t>
                      </a:r>
                      <a:endParaRPr lang="en-US" altLang="ko-KR" sz="1300" b="1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aphicFrame>
        <p:nvGraphicFramePr>
          <p:cNvPr id="26" name="표 25"/>
          <p:cNvGraphicFramePr>
            <a:graphicFrameLocks noGrp="1"/>
          </p:cNvGraphicFramePr>
          <p:nvPr/>
        </p:nvGraphicFramePr>
        <p:xfrm>
          <a:off x="6016880" y="1719636"/>
          <a:ext cx="3384000" cy="4490556"/>
        </p:xfrm>
        <a:graphic>
          <a:graphicData uri="http://schemas.openxmlformats.org/drawingml/2006/table">
            <a:tbl>
              <a:tblPr/>
              <a:tblGrid>
                <a:gridCol w="1332000"/>
                <a:gridCol w="2052000"/>
              </a:tblGrid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(26,424.15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</a:t>
                      </a: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(11,342.18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</a:t>
                      </a: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357.83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</a:t>
                      </a: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(3,054.19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4</a:t>
                      </a:r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</a:t>
                      </a: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3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︙</a:t>
                      </a:r>
                      <a:endParaRPr lang="en-US" altLang="ko-KR" sz="1300" b="1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300" b="1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(229,428.52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MON</a:t>
                      </a: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(232,261.53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UE</a:t>
                      </a: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(269,582.66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ED</a:t>
                      </a: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(242,812.73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HU</a:t>
                      </a: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(221,593.73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FRI</a:t>
                      </a: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231,077.62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ORKING_DAY</a:t>
                      </a: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3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︙</a:t>
                      </a:r>
                      <a:endParaRPr lang="en-US" altLang="ko-KR" sz="1300" b="1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(13,771.96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추석이후효과</a:t>
                      </a:r>
                      <a:endParaRPr lang="ko-KR" altLang="en-US" sz="1300" b="1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67,060.10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추석이전효과</a:t>
                      </a: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66,915.62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추석효과</a:t>
                      </a: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(23,645.68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설날이후효과</a:t>
                      </a:r>
                      <a:endParaRPr lang="ko-KR" altLang="en-US" sz="1300" b="1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8,704.86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설날이전효과</a:t>
                      </a: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2,599.82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크리스마스이후효과</a:t>
                      </a:r>
                      <a:endParaRPr lang="ko-KR" altLang="en-US" sz="1300" b="1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/>
                        </a:rPr>
                        <a:t>16,159.88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크리스마스이전효과</a:t>
                      </a: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18,141.81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한글날효과</a:t>
                      </a: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3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︙</a:t>
                      </a:r>
                      <a:endParaRPr lang="en-US" altLang="ko-KR" sz="1300" b="1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27" name="직사각형 26"/>
          <p:cNvSpPr/>
          <p:nvPr/>
        </p:nvSpPr>
        <p:spPr bwMode="auto">
          <a:xfrm>
            <a:off x="503413" y="1958390"/>
            <a:ext cx="973128" cy="1945006"/>
          </a:xfrm>
          <a:prstGeom prst="rect">
            <a:avLst/>
          </a:prstGeom>
          <a:solidFill>
            <a:srgbClr val="FF0000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762000" eaLnBrk="0" hangingPunct="0">
              <a:spcBef>
                <a:spcPct val="20000"/>
              </a:spcBef>
              <a:buSzPct val="80000"/>
              <a:buFont typeface="Wingdings" pitchFamily="2" charset="2"/>
              <a:buNone/>
              <a:defRPr/>
            </a:pPr>
            <a:r>
              <a:rPr lang="ko-KR" altLang="en-US" sz="1300" u="none" dirty="0" smtClean="0">
                <a:solidFill>
                  <a:srgbClr val="FFFFFF"/>
                </a:solidFill>
                <a:latin typeface="맑은 고딕" pitchFamily="50" charset="-127"/>
              </a:rPr>
              <a:t>기온</a:t>
            </a:r>
            <a:endParaRPr lang="en-US" altLang="ko-KR" sz="1300" u="none" dirty="0" smtClean="0">
              <a:solidFill>
                <a:srgbClr val="FFFFFF"/>
              </a:solidFill>
              <a:latin typeface="맑은 고딕" pitchFamily="50" charset="-127"/>
            </a:endParaRPr>
          </a:p>
        </p:txBody>
      </p:sp>
      <p:sp>
        <p:nvSpPr>
          <p:cNvPr id="28" name="직사각형 27"/>
          <p:cNvSpPr/>
          <p:nvPr/>
        </p:nvSpPr>
        <p:spPr bwMode="auto">
          <a:xfrm>
            <a:off x="503747" y="3937681"/>
            <a:ext cx="973128" cy="201291"/>
          </a:xfrm>
          <a:prstGeom prst="rect">
            <a:avLst/>
          </a:prstGeom>
          <a:solidFill>
            <a:srgbClr val="FF9933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ctr"/>
            <a:r>
              <a:rPr lang="ko-KR" altLang="en-US" sz="1300" u="none" dirty="0" smtClean="0">
                <a:solidFill>
                  <a:srgbClr val="000000"/>
                </a:solidFill>
                <a:latin typeface="맑은 고딕" pitchFamily="50" charset="-127"/>
              </a:rPr>
              <a:t>일</a:t>
            </a:r>
            <a:r>
              <a:rPr lang="en-US" altLang="ko-KR" sz="1300" u="none" dirty="0" smtClean="0">
                <a:solidFill>
                  <a:srgbClr val="000000"/>
                </a:solidFill>
                <a:latin typeface="맑은 고딕" pitchFamily="50" charset="-127"/>
              </a:rPr>
              <a:t>/</a:t>
            </a:r>
            <a:r>
              <a:rPr lang="ko-KR" altLang="en-US" sz="1300" u="none" dirty="0" smtClean="0">
                <a:solidFill>
                  <a:srgbClr val="000000"/>
                </a:solidFill>
                <a:latin typeface="맑은 고딕" pitchFamily="50" charset="-127"/>
              </a:rPr>
              <a:t>년 </a:t>
            </a:r>
            <a:r>
              <a:rPr lang="en-US" altLang="ko-KR" sz="1300" u="none" dirty="0" smtClean="0">
                <a:solidFill>
                  <a:srgbClr val="000000"/>
                </a:solidFill>
                <a:latin typeface="맑은 고딕" pitchFamily="50" charset="-127"/>
              </a:rPr>
              <a:t>Trend</a:t>
            </a:r>
            <a:endParaRPr lang="en-US" altLang="ko-KR" sz="1300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29" name="직사각형 28"/>
          <p:cNvSpPr/>
          <p:nvPr/>
        </p:nvSpPr>
        <p:spPr bwMode="auto">
          <a:xfrm>
            <a:off x="505058" y="4173267"/>
            <a:ext cx="973128" cy="1082049"/>
          </a:xfrm>
          <a:prstGeom prst="rect">
            <a:avLst/>
          </a:prstGeom>
          <a:solidFill>
            <a:srgbClr val="FFCC00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ctr"/>
            <a:r>
              <a:rPr lang="en-US" altLang="ko-KR" sz="1300" u="none" dirty="0" smtClean="0">
                <a:solidFill>
                  <a:srgbClr val="000000"/>
                </a:solidFill>
                <a:latin typeface="맑은 고딕" pitchFamily="50" charset="-127"/>
              </a:rPr>
              <a:t>Special </a:t>
            </a:r>
          </a:p>
          <a:p>
            <a:pPr algn="ctr" fontAlgn="ctr"/>
            <a:r>
              <a:rPr lang="en-US" altLang="ko-KR" sz="1300" u="none" dirty="0" smtClean="0">
                <a:solidFill>
                  <a:srgbClr val="000000"/>
                </a:solidFill>
                <a:latin typeface="맑은 고딕" pitchFamily="50" charset="-127"/>
              </a:rPr>
              <a:t>Event</a:t>
            </a:r>
          </a:p>
        </p:txBody>
      </p:sp>
      <p:sp>
        <p:nvSpPr>
          <p:cNvPr id="36" name="직사각형 35"/>
          <p:cNvSpPr/>
          <p:nvPr/>
        </p:nvSpPr>
        <p:spPr bwMode="auto">
          <a:xfrm>
            <a:off x="5013272" y="4308232"/>
            <a:ext cx="973128" cy="1912248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ctr"/>
            <a:r>
              <a:rPr lang="ko-KR" altLang="en-US" sz="1300" u="none" dirty="0" smtClean="0">
                <a:solidFill>
                  <a:srgbClr val="000000"/>
                </a:solidFill>
                <a:latin typeface="맑은 고딕" pitchFamily="50" charset="-127"/>
              </a:rPr>
              <a:t>휴일</a:t>
            </a:r>
            <a:r>
              <a:rPr lang="en-US" altLang="ko-KR" sz="1300" u="none" dirty="0" smtClean="0">
                <a:solidFill>
                  <a:srgbClr val="000000"/>
                </a:solidFill>
                <a:latin typeface="맑은 고딕" pitchFamily="50" charset="-127"/>
              </a:rPr>
              <a:t>/</a:t>
            </a:r>
            <a:r>
              <a:rPr lang="ko-KR" altLang="en-US" sz="1300" u="none" dirty="0" smtClean="0">
                <a:solidFill>
                  <a:srgbClr val="000000"/>
                </a:solidFill>
                <a:latin typeface="맑은 고딕" pitchFamily="50" charset="-127"/>
              </a:rPr>
              <a:t>명절</a:t>
            </a:r>
            <a:endParaRPr lang="en-US" altLang="ko-KR" sz="1300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37" name="직사각형 36"/>
          <p:cNvSpPr/>
          <p:nvPr/>
        </p:nvSpPr>
        <p:spPr bwMode="auto">
          <a:xfrm>
            <a:off x="5013272" y="1733206"/>
            <a:ext cx="973128" cy="2538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ctr"/>
            <a:r>
              <a:rPr lang="ko-KR" altLang="en-US" sz="1300" u="none" dirty="0" smtClean="0">
                <a:solidFill>
                  <a:srgbClr val="000000"/>
                </a:solidFill>
                <a:latin typeface="맑은 고딕"/>
                <a:ea typeface="맑은 고딕"/>
              </a:rPr>
              <a:t>월</a:t>
            </a:r>
            <a:r>
              <a:rPr lang="en-US" altLang="ko-KR" sz="1300" u="none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300" u="none" dirty="0" smtClean="0">
                <a:solidFill>
                  <a:srgbClr val="000000"/>
                </a:solidFill>
                <a:latin typeface="맑은 고딕"/>
                <a:ea typeface="맑은 고딕"/>
              </a:rPr>
              <a:t>요일</a:t>
            </a:r>
            <a:r>
              <a:rPr lang="en-US" altLang="ko-KR" sz="1300" u="none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</a:p>
          <a:p>
            <a:pPr algn="ctr" fontAlgn="ctr"/>
            <a:r>
              <a:rPr lang="ko-KR" altLang="en-US" sz="1300" u="none" dirty="0" smtClean="0">
                <a:solidFill>
                  <a:srgbClr val="000000"/>
                </a:solidFill>
                <a:latin typeface="맑은 고딕"/>
                <a:ea typeface="맑은 고딕"/>
              </a:rPr>
              <a:t>근무일</a:t>
            </a:r>
            <a:r>
              <a:rPr lang="en-US" altLang="ko-KR" sz="1300" u="none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</a:p>
          <a:p>
            <a:pPr algn="ctr" fontAlgn="ctr"/>
            <a:r>
              <a:rPr lang="ko-KR" altLang="en-US" sz="1300" u="none" dirty="0" smtClean="0">
                <a:solidFill>
                  <a:srgbClr val="000000"/>
                </a:solidFill>
                <a:latin typeface="맑은 고딕"/>
                <a:ea typeface="맑은 고딕"/>
              </a:rPr>
              <a:t>결제일</a:t>
            </a:r>
            <a:endParaRPr lang="en-US" altLang="ko-KR" sz="1300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503413" y="1719636"/>
            <a:ext cx="973128" cy="205703"/>
          </a:xfrm>
          <a:prstGeom prst="rect">
            <a:avLst/>
          </a:prstGeom>
          <a:solidFill>
            <a:srgbClr val="A50021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762000" eaLnBrk="0" hangingPunct="0">
              <a:spcBef>
                <a:spcPct val="20000"/>
              </a:spcBef>
              <a:buSzPct val="80000"/>
              <a:buFont typeface="Wingdings" pitchFamily="2" charset="2"/>
              <a:buNone/>
              <a:defRPr/>
            </a:pPr>
            <a:r>
              <a:rPr lang="en-US" altLang="ko-KR" sz="1300" u="none" dirty="0" smtClean="0">
                <a:solidFill>
                  <a:srgbClr val="FFFFFF"/>
                </a:solidFill>
                <a:latin typeface="맑은 고딕" pitchFamily="50" charset="-127"/>
              </a:rPr>
              <a:t>BASE</a:t>
            </a:r>
          </a:p>
        </p:txBody>
      </p:sp>
      <p:cxnSp>
        <p:nvCxnSpPr>
          <p:cNvPr id="50" name="직선 연결선 49"/>
          <p:cNvCxnSpPr/>
          <p:nvPr/>
        </p:nvCxnSpPr>
        <p:spPr bwMode="auto">
          <a:xfrm>
            <a:off x="503412" y="1684386"/>
            <a:ext cx="4428000" cy="870"/>
          </a:xfrm>
          <a:prstGeom prst="line">
            <a:avLst/>
          </a:prstGeom>
          <a:solidFill>
            <a:schemeClr val="accent1"/>
          </a:solidFill>
          <a:ln>
            <a:solidFill>
              <a:schemeClr val="tx1"/>
            </a:solidFill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3" name="TextBox 52"/>
          <p:cNvSpPr txBox="1"/>
          <p:nvPr/>
        </p:nvSpPr>
        <p:spPr>
          <a:xfrm>
            <a:off x="1952604" y="1426346"/>
            <a:ext cx="518091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00" u="none" dirty="0" smtClean="0">
                <a:solidFill>
                  <a:srgbClr val="000000"/>
                </a:solidFill>
              </a:rPr>
              <a:t>계수</a:t>
            </a:r>
            <a:endParaRPr lang="ko-KR" altLang="en-US" sz="1300" u="none" dirty="0">
              <a:solidFill>
                <a:srgbClr val="000000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3506215" y="1426346"/>
            <a:ext cx="684803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00" u="none" dirty="0" err="1" smtClean="0">
                <a:solidFill>
                  <a:srgbClr val="000000"/>
                </a:solidFill>
              </a:rPr>
              <a:t>변수명</a:t>
            </a:r>
            <a:endParaRPr lang="ko-KR" altLang="en-US" sz="1300" u="none" dirty="0">
              <a:solidFill>
                <a:srgbClr val="000000"/>
              </a:solidFill>
            </a:endParaRPr>
          </a:p>
        </p:txBody>
      </p:sp>
      <p:cxnSp>
        <p:nvCxnSpPr>
          <p:cNvPr id="55" name="직선 연결선 54"/>
          <p:cNvCxnSpPr/>
          <p:nvPr/>
        </p:nvCxnSpPr>
        <p:spPr bwMode="auto">
          <a:xfrm>
            <a:off x="5008010" y="1686776"/>
            <a:ext cx="4428000" cy="870"/>
          </a:xfrm>
          <a:prstGeom prst="line">
            <a:avLst/>
          </a:prstGeom>
          <a:solidFill>
            <a:schemeClr val="accent1"/>
          </a:solidFill>
          <a:ln>
            <a:solidFill>
              <a:schemeClr val="tx1"/>
            </a:solidFill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6" name="TextBox 55"/>
          <p:cNvSpPr txBox="1"/>
          <p:nvPr/>
        </p:nvSpPr>
        <p:spPr>
          <a:xfrm>
            <a:off x="6457202" y="1428736"/>
            <a:ext cx="518091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00" u="none" dirty="0" smtClean="0">
                <a:solidFill>
                  <a:srgbClr val="000000"/>
                </a:solidFill>
              </a:rPr>
              <a:t>계수</a:t>
            </a:r>
            <a:endParaRPr lang="ko-KR" altLang="en-US" sz="1300" u="none" dirty="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8010813" y="1428736"/>
            <a:ext cx="684803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00" u="none" dirty="0" err="1" smtClean="0">
                <a:solidFill>
                  <a:srgbClr val="000000"/>
                </a:solidFill>
              </a:rPr>
              <a:t>변수명</a:t>
            </a:r>
            <a:endParaRPr lang="ko-KR" altLang="en-US" sz="1300" u="none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8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itchFamily="50" charset="-127"/>
              </a:rPr>
              <a:t>모형결과 </a:t>
            </a:r>
            <a:r>
              <a:rPr lang="en-US" altLang="ko-KR" dirty="0" smtClean="0">
                <a:latin typeface="맑은 고딕" pitchFamily="50" charset="-127"/>
              </a:rPr>
              <a:t>– Cass Bottle </a:t>
            </a:r>
            <a:r>
              <a:rPr lang="ko-KR" altLang="en-US" dirty="0" smtClean="0">
                <a:latin typeface="맑은 고딕" pitchFamily="50" charset="-127"/>
              </a:rPr>
              <a:t>판매량 </a:t>
            </a:r>
            <a:r>
              <a:rPr lang="ko-KR" altLang="en-US" dirty="0" err="1" smtClean="0">
                <a:latin typeface="맑은 고딕" pitchFamily="50" charset="-127"/>
              </a:rPr>
              <a:t>주별</a:t>
            </a:r>
            <a:r>
              <a:rPr lang="ko-KR" altLang="en-US" dirty="0" smtClean="0">
                <a:latin typeface="맑은 고딕" pitchFamily="50" charset="-127"/>
              </a:rPr>
              <a:t> 예측 </a:t>
            </a:r>
            <a:r>
              <a:rPr lang="en-US" altLang="ko-KR" dirty="0" smtClean="0">
                <a:latin typeface="맑은 고딕" pitchFamily="50" charset="-127"/>
              </a:rPr>
              <a:t>(1) Model Fitting</a:t>
            </a:r>
          </a:p>
        </p:txBody>
      </p:sp>
      <p:sp>
        <p:nvSpPr>
          <p:cNvPr id="291843" name="Text Box 16"/>
          <p:cNvSpPr txBox="1">
            <a:spLocks noChangeArrowheads="1"/>
          </p:cNvSpPr>
          <p:nvPr/>
        </p:nvSpPr>
        <p:spPr bwMode="auto">
          <a:xfrm>
            <a:off x="210057" y="607750"/>
            <a:ext cx="719931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>
              <a:spcBef>
                <a:spcPct val="20000"/>
              </a:spcBef>
            </a:pPr>
            <a:r>
              <a:rPr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 Cass Bottle </a:t>
            </a:r>
            <a:r>
              <a:rPr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판매량 </a:t>
            </a:r>
            <a:r>
              <a:rPr lang="ko-KR" altLang="en-US" sz="1600" u="none" dirty="0" err="1">
                <a:solidFill>
                  <a:srgbClr val="000000"/>
                </a:solidFill>
                <a:latin typeface="맑은 고딕" pitchFamily="50" charset="-127"/>
              </a:rPr>
              <a:t>주별</a:t>
            </a:r>
            <a:r>
              <a:rPr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 예측 </a:t>
            </a:r>
            <a:r>
              <a:rPr lang="en-US" altLang="ko-KR" sz="1600" u="none" dirty="0">
                <a:solidFill>
                  <a:srgbClr val="000000"/>
                </a:solidFill>
                <a:latin typeface="맑은 고딕" pitchFamily="50" charset="-127"/>
              </a:rPr>
              <a:t>(</a:t>
            </a:r>
            <a:r>
              <a:rPr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2014-08-24 </a:t>
            </a:r>
            <a:r>
              <a:rPr lang="en-US" altLang="ko-KR" sz="1600" u="none" dirty="0">
                <a:solidFill>
                  <a:srgbClr val="000000"/>
                </a:solidFill>
                <a:latin typeface="맑은 고딕" pitchFamily="50" charset="-127"/>
              </a:rPr>
              <a:t>~ </a:t>
            </a:r>
            <a:r>
              <a:rPr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2014-12-21)</a:t>
            </a:r>
            <a:endParaRPr lang="en-US" altLang="ko-KR" sz="1600" u="none" baseline="3000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graphicFrame>
        <p:nvGraphicFramePr>
          <p:cNvPr id="8" name="표 7"/>
          <p:cNvGraphicFramePr>
            <a:graphicFrameLocks noGrp="1"/>
          </p:cNvGraphicFramePr>
          <p:nvPr/>
        </p:nvGraphicFramePr>
        <p:xfrm>
          <a:off x="306349" y="1249680"/>
          <a:ext cx="9302789" cy="2179320"/>
        </p:xfrm>
        <a:graphic>
          <a:graphicData uri="http://schemas.openxmlformats.org/drawingml/2006/table">
            <a:tbl>
              <a:tblPr/>
              <a:tblGrid>
                <a:gridCol w="709949"/>
                <a:gridCol w="954760"/>
                <a:gridCol w="954760"/>
                <a:gridCol w="954760"/>
                <a:gridCol w="954760"/>
                <a:gridCol w="954760"/>
                <a:gridCol w="954760"/>
                <a:gridCol w="954760"/>
                <a:gridCol w="954760"/>
                <a:gridCol w="954760"/>
              </a:tblGrid>
              <a:tr h="188128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2-21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2-14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2-07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1-30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1-23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1-16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1-09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1-02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0-26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188128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실적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8128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예측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8128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오차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8128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정확도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0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7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00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9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6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8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8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5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6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</a:tr>
              <a:tr h="143863">
                <a:tc>
                  <a:txBody>
                    <a:bodyPr/>
                    <a:lstStyle/>
                    <a:p>
                      <a:pPr algn="l" rtl="0" fontAlgn="ctr"/>
                      <a:endParaRPr lang="ko-KR" altLang="en-US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8128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0-19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0-12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0-05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9-28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9-21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9-14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9-07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8-31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8-24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188128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실적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8128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예측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8128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오차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8128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정확도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6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1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00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9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7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6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4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00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4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</a:tr>
            </a:tbl>
          </a:graphicData>
        </a:graphic>
      </p:graphicFrame>
      <p:sp>
        <p:nvSpPr>
          <p:cNvPr id="12" name="AutoShape 43"/>
          <p:cNvSpPr>
            <a:spLocks noChangeArrowheads="1"/>
          </p:cNvSpPr>
          <p:nvPr/>
        </p:nvSpPr>
        <p:spPr bwMode="auto">
          <a:xfrm>
            <a:off x="7111009" y="4071942"/>
            <a:ext cx="2463817" cy="1461098"/>
          </a:xfrm>
          <a:prstGeom prst="roundRect">
            <a:avLst>
              <a:gd name="adj" fmla="val 0"/>
            </a:avLst>
          </a:prstGeom>
          <a:solidFill>
            <a:srgbClr val="FDF9F9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18000" tIns="18000" rIns="18000" bIns="18000" rtlCol="0" anchor="ctr"/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 defTabSz="912813" latinLnBrk="0">
              <a:spcBef>
                <a:spcPts val="1000"/>
              </a:spcBef>
              <a:buFont typeface="Wingdings" pitchFamily="2" charset="2"/>
              <a:buChar char="§"/>
            </a:pPr>
            <a:r>
              <a:rPr lang="ko-KR" altLang="en-US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예측모형 </a:t>
            </a: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R</a:t>
            </a:r>
            <a:r>
              <a:rPr lang="en-US" altLang="ko-KR" sz="1200" u="none" baseline="30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: 0.924,  </a:t>
            </a:r>
            <a:b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Adjusted R</a:t>
            </a:r>
            <a:r>
              <a:rPr lang="en-US" altLang="ko-KR" sz="1200" u="none" baseline="30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:  0.916</a:t>
            </a:r>
          </a:p>
          <a:p>
            <a:pPr marL="174625" indent="-174625" defTabSz="912813" latinLnBrk="0">
              <a:spcBef>
                <a:spcPts val="1000"/>
              </a:spcBef>
              <a:buFont typeface="Wingdings" pitchFamily="2" charset="2"/>
              <a:buChar char="§"/>
            </a:pP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’14</a:t>
            </a:r>
            <a:r>
              <a:rPr lang="ko-KR" altLang="en-US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년 </a:t>
            </a: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8</a:t>
            </a:r>
            <a:r>
              <a:rPr lang="ko-KR" altLang="en-US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월</a:t>
            </a: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~’14</a:t>
            </a:r>
            <a:r>
              <a:rPr lang="ko-KR" altLang="en-US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년 </a:t>
            </a: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11</a:t>
            </a:r>
            <a:r>
              <a:rPr lang="ko-KR" altLang="en-US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월</a:t>
            </a: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4</a:t>
            </a:r>
            <a:r>
              <a:rPr lang="ko-KR" altLang="en-US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월</a:t>
            </a: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 </a:t>
            </a:r>
            <a:b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예측 정확도</a:t>
            </a:r>
            <a:r>
              <a:rPr lang="en-US" altLang="ko-KR" sz="14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4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- </a:t>
            </a:r>
            <a:r>
              <a:rPr kumimoji="1" lang="ko-KR" altLang="en-US" sz="1200" u="none" dirty="0" smtClean="0">
                <a:solidFill>
                  <a:srgbClr val="A50021"/>
                </a:solidFill>
                <a:latin typeface="맑은 고딕" pitchFamily="50" charset="-127"/>
                <a:ea typeface="맑은 고딕" pitchFamily="50" charset="-127"/>
              </a:rPr>
              <a:t>평균 </a:t>
            </a:r>
            <a:r>
              <a:rPr kumimoji="1" lang="en-US" altLang="ko-KR" sz="1400" u="none" dirty="0" smtClean="0">
                <a:solidFill>
                  <a:srgbClr val="A50021"/>
                </a:solidFill>
                <a:latin typeface="맑은 고딕" pitchFamily="50" charset="-127"/>
                <a:ea typeface="맑은 고딕" pitchFamily="50" charset="-127"/>
              </a:rPr>
              <a:t>96%</a:t>
            </a:r>
            <a:r>
              <a:rPr kumimoji="1" lang="en-US" altLang="ko-KR" sz="1200" u="none" dirty="0" smtClean="0">
                <a:solidFill>
                  <a:srgbClr val="A5002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endParaRPr lang="en-US" altLang="ko-KR" sz="1200" u="none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9" name="차트 8"/>
          <p:cNvGraphicFramePr/>
          <p:nvPr/>
        </p:nvGraphicFramePr>
        <p:xfrm>
          <a:off x="309530" y="3643314"/>
          <a:ext cx="6786610" cy="2552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직사각형 10"/>
          <p:cNvSpPr/>
          <p:nvPr/>
        </p:nvSpPr>
        <p:spPr>
          <a:xfrm>
            <a:off x="1059078" y="1170552"/>
            <a:ext cx="928694" cy="1142918"/>
          </a:xfrm>
          <a:prstGeom prst="rect">
            <a:avLst/>
          </a:prstGeom>
          <a:solidFill>
            <a:srgbClr val="FFFF00">
              <a:alpha val="20000"/>
            </a:srgbClr>
          </a:solidFill>
          <a:ln w="3175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defRPr/>
            </a:pPr>
            <a:endParaRPr kumimoji="1" lang="ko-KR" altLang="en-US" sz="1800" b="0" u="none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2015250" y="2357520"/>
            <a:ext cx="928694" cy="1142918"/>
          </a:xfrm>
          <a:prstGeom prst="rect">
            <a:avLst/>
          </a:prstGeom>
          <a:solidFill>
            <a:srgbClr val="FFFF00">
              <a:alpha val="20000"/>
            </a:srgbClr>
          </a:solidFill>
          <a:ln w="3175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defRPr/>
            </a:pPr>
            <a:endParaRPr kumimoji="1" lang="ko-KR" altLang="en-US" sz="1800" b="0" u="none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" name="Text Box 19"/>
          <p:cNvSpPr txBox="1">
            <a:spLocks noChangeArrowheads="1"/>
          </p:cNvSpPr>
          <p:nvPr/>
        </p:nvSpPr>
        <p:spPr bwMode="auto">
          <a:xfrm>
            <a:off x="238125" y="6347798"/>
            <a:ext cx="9178925" cy="406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>
              <a:spcBef>
                <a:spcPct val="20000"/>
              </a:spcBef>
            </a:pP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</a:rPr>
              <a:t>* </a:t>
            </a:r>
            <a:r>
              <a:rPr lang="en-US" altLang="ko-KR" sz="1200" u="none" dirty="0">
                <a:solidFill>
                  <a:srgbClr val="000000"/>
                </a:solidFill>
                <a:latin typeface="맑은 고딕" pitchFamily="50" charset="-127"/>
              </a:rPr>
              <a:t>R-square : </a:t>
            </a:r>
            <a:r>
              <a:rPr lang="ko-KR" altLang="en-US" sz="1200" u="none" dirty="0">
                <a:solidFill>
                  <a:srgbClr val="000000"/>
                </a:solidFill>
                <a:latin typeface="맑은 고딕" pitchFamily="50" charset="-127"/>
              </a:rPr>
              <a:t>모델이 자료를 얼마나 잘 설명하는지를 나타내는 지표 </a:t>
            </a:r>
            <a:r>
              <a:rPr lang="en-US" altLang="ko-KR" sz="1200" u="none" dirty="0">
                <a:solidFill>
                  <a:srgbClr val="000000"/>
                </a:solidFill>
                <a:latin typeface="맑은 고딕" pitchFamily="50" charset="-127"/>
              </a:rPr>
              <a:t>(100%</a:t>
            </a:r>
            <a:r>
              <a:rPr lang="ko-KR" altLang="en-US" sz="1200" u="none" dirty="0">
                <a:solidFill>
                  <a:srgbClr val="000000"/>
                </a:solidFill>
                <a:latin typeface="맑은 고딕" pitchFamily="50" charset="-127"/>
              </a:rPr>
              <a:t>에 가까우면 모델의 설명력이 좋음</a:t>
            </a:r>
            <a:r>
              <a:rPr lang="en-US" altLang="ko-KR" sz="1200" u="none" dirty="0">
                <a:solidFill>
                  <a:srgbClr val="000000"/>
                </a:solidFill>
                <a:latin typeface="맑은 고딕" pitchFamily="50" charset="-127"/>
              </a:rPr>
              <a:t>)</a:t>
            </a:r>
          </a:p>
          <a:p>
            <a:pPr>
              <a:spcBef>
                <a:spcPct val="20000"/>
              </a:spcBef>
              <a:buFontTx/>
              <a:buChar char="-"/>
            </a:pPr>
            <a:endParaRPr lang="en-US" altLang="ko-KR" sz="1200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86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itchFamily="50" charset="-127"/>
              </a:rPr>
              <a:t>모형결과 </a:t>
            </a:r>
            <a:r>
              <a:rPr lang="en-US" altLang="ko-KR" dirty="0" smtClean="0">
                <a:latin typeface="맑은 고딕" pitchFamily="50" charset="-127"/>
              </a:rPr>
              <a:t>- Cass Bottle</a:t>
            </a:r>
            <a:r>
              <a:rPr lang="ko-KR" altLang="en-US" dirty="0" smtClean="0">
                <a:latin typeface="맑은 고딕" pitchFamily="50" charset="-127"/>
              </a:rPr>
              <a:t> 판매량 </a:t>
            </a:r>
            <a:r>
              <a:rPr lang="ko-KR" altLang="en-US" dirty="0" err="1" smtClean="0">
                <a:latin typeface="맑은 고딕" pitchFamily="50" charset="-127"/>
              </a:rPr>
              <a:t>주별</a:t>
            </a:r>
            <a:r>
              <a:rPr lang="ko-KR" altLang="en-US" dirty="0" smtClean="0">
                <a:latin typeface="맑은 고딕" pitchFamily="50" charset="-127"/>
              </a:rPr>
              <a:t> 예측 </a:t>
            </a:r>
            <a:r>
              <a:rPr lang="en-US" altLang="ko-KR" dirty="0" smtClean="0">
                <a:latin typeface="맑은 고딕" pitchFamily="50" charset="-127"/>
              </a:rPr>
              <a:t>(2) Trend</a:t>
            </a:r>
          </a:p>
        </p:txBody>
      </p:sp>
      <p:sp>
        <p:nvSpPr>
          <p:cNvPr id="292868" name="Text Box 19"/>
          <p:cNvSpPr txBox="1">
            <a:spLocks noChangeArrowheads="1"/>
          </p:cNvSpPr>
          <p:nvPr/>
        </p:nvSpPr>
        <p:spPr bwMode="auto">
          <a:xfrm>
            <a:off x="301624" y="1340307"/>
            <a:ext cx="400843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>
              <a:spcBef>
                <a:spcPct val="20000"/>
              </a:spcBef>
              <a:buFont typeface="Arial" pitchFamily="34" charset="0"/>
              <a:buChar char="•"/>
            </a:pPr>
            <a:r>
              <a:rPr lang="ko-KR" altLang="en-US" u="none" dirty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lang="en-US" altLang="ko-KR" u="none" dirty="0" smtClean="0">
                <a:solidFill>
                  <a:srgbClr val="000000"/>
                </a:solidFill>
                <a:latin typeface="맑은 고딕" pitchFamily="50" charset="-127"/>
              </a:rPr>
              <a:t>Cass Bottle</a:t>
            </a:r>
            <a:r>
              <a:rPr lang="ko-KR" altLang="en-US" u="none" dirty="0" smtClean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lang="ko-KR" altLang="en-US" u="none" dirty="0" err="1">
                <a:solidFill>
                  <a:srgbClr val="000000"/>
                </a:solidFill>
                <a:latin typeface="맑은 고딕" pitchFamily="50" charset="-127"/>
              </a:rPr>
              <a:t>트렌드</a:t>
            </a:r>
            <a:r>
              <a:rPr lang="ko-KR" altLang="en-US" u="none" dirty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lang="en-US" altLang="ko-KR" u="none" dirty="0">
                <a:solidFill>
                  <a:srgbClr val="000000"/>
                </a:solidFill>
                <a:latin typeface="맑은 고딕" pitchFamily="50" charset="-127"/>
              </a:rPr>
              <a:t>(</a:t>
            </a:r>
            <a:r>
              <a:rPr lang="en-US" altLang="ko-KR" u="none" dirty="0" smtClean="0">
                <a:solidFill>
                  <a:srgbClr val="000000"/>
                </a:solidFill>
                <a:latin typeface="맑은 고딕" pitchFamily="50" charset="-127"/>
              </a:rPr>
              <a:t>2013.01~2014.11 </a:t>
            </a:r>
            <a:r>
              <a:rPr lang="ko-KR" altLang="en-US" u="none" dirty="0">
                <a:solidFill>
                  <a:srgbClr val="000000"/>
                </a:solidFill>
                <a:latin typeface="맑은 고딕" pitchFamily="50" charset="-127"/>
              </a:rPr>
              <a:t>일별</a:t>
            </a:r>
            <a:r>
              <a:rPr lang="en-US" altLang="ko-KR" u="none" dirty="0">
                <a:solidFill>
                  <a:srgbClr val="000000"/>
                </a:solidFill>
                <a:latin typeface="맑은 고딕" pitchFamily="50" charset="-127"/>
              </a:rPr>
              <a:t>) </a:t>
            </a:r>
          </a:p>
        </p:txBody>
      </p:sp>
      <p:sp>
        <p:nvSpPr>
          <p:cNvPr id="292869" name="Text Box 19"/>
          <p:cNvSpPr txBox="1">
            <a:spLocks noChangeArrowheads="1"/>
          </p:cNvSpPr>
          <p:nvPr/>
        </p:nvSpPr>
        <p:spPr bwMode="auto">
          <a:xfrm>
            <a:off x="301625" y="3932695"/>
            <a:ext cx="400843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>
              <a:spcBef>
                <a:spcPct val="20000"/>
              </a:spcBef>
              <a:buFont typeface="Arial" pitchFamily="34" charset="0"/>
              <a:buChar char="•"/>
            </a:pPr>
            <a:r>
              <a:rPr lang="ko-KR" altLang="en-US" u="none" dirty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lang="en-US" altLang="ko-KR" u="none" dirty="0" smtClean="0">
                <a:solidFill>
                  <a:srgbClr val="000000"/>
                </a:solidFill>
                <a:latin typeface="맑은 고딕" pitchFamily="50" charset="-127"/>
              </a:rPr>
              <a:t>Cass Bottle</a:t>
            </a:r>
            <a:r>
              <a:rPr lang="ko-KR" altLang="en-US" u="none" dirty="0" smtClean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lang="ko-KR" altLang="en-US" u="none" dirty="0" err="1">
                <a:solidFill>
                  <a:srgbClr val="000000"/>
                </a:solidFill>
                <a:latin typeface="맑은 고딕" pitchFamily="50" charset="-127"/>
              </a:rPr>
              <a:t>트렌드</a:t>
            </a:r>
            <a:r>
              <a:rPr lang="ko-KR" altLang="en-US" u="none" dirty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lang="en-US" altLang="ko-KR" u="none" dirty="0">
                <a:solidFill>
                  <a:srgbClr val="000000"/>
                </a:solidFill>
                <a:latin typeface="맑은 고딕" pitchFamily="50" charset="-127"/>
              </a:rPr>
              <a:t>(</a:t>
            </a:r>
            <a:r>
              <a:rPr lang="en-US" altLang="ko-KR" u="none" dirty="0" smtClean="0">
                <a:solidFill>
                  <a:srgbClr val="000000"/>
                </a:solidFill>
                <a:latin typeface="맑은 고딕" pitchFamily="50" charset="-127"/>
              </a:rPr>
              <a:t>2013.01~2014.11, </a:t>
            </a:r>
            <a:r>
              <a:rPr lang="ko-KR" altLang="en-US" u="none" dirty="0" err="1">
                <a:solidFill>
                  <a:srgbClr val="000000"/>
                </a:solidFill>
                <a:latin typeface="맑은 고딕" pitchFamily="50" charset="-127"/>
              </a:rPr>
              <a:t>주별</a:t>
            </a:r>
            <a:r>
              <a:rPr lang="en-US" altLang="ko-KR" u="none" dirty="0">
                <a:solidFill>
                  <a:srgbClr val="000000"/>
                </a:solidFill>
                <a:latin typeface="맑은 고딕" pitchFamily="50" charset="-127"/>
              </a:rPr>
              <a:t>) </a:t>
            </a:r>
          </a:p>
        </p:txBody>
      </p:sp>
      <p:sp>
        <p:nvSpPr>
          <p:cNvPr id="292870" name="Rectangle 3"/>
          <p:cNvSpPr txBox="1">
            <a:spLocks noChangeArrowheads="1"/>
          </p:cNvSpPr>
          <p:nvPr/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Cass Bottle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판매량의 경우</a:t>
            </a:r>
            <a:r>
              <a:rPr kumimoji="1" lang="en-US" altLang="ko-KR" sz="1600" u="none" dirty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산출된 통계적 알고리즘에 의한 </a:t>
            </a:r>
            <a:r>
              <a:rPr kumimoji="1" lang="ko-KR" altLang="en-US" sz="1600" u="none" dirty="0" err="1">
                <a:solidFill>
                  <a:srgbClr val="000000"/>
                </a:solidFill>
                <a:latin typeface="맑은 고딕" pitchFamily="50" charset="-127"/>
              </a:rPr>
              <a:t>예측값과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 실제 판매량의 설명계수</a:t>
            </a:r>
            <a:r>
              <a:rPr kumimoji="1" lang="en-US" altLang="ko-KR" sz="1600" u="none" dirty="0">
                <a:solidFill>
                  <a:srgbClr val="000000"/>
                </a:solidFill>
                <a:latin typeface="맑은 고딕" pitchFamily="50" charset="-127"/>
              </a:rPr>
              <a:t>(Adjusted R²)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는 </a:t>
            </a:r>
            <a:r>
              <a:rPr kumimoji="1" lang="en-US" altLang="ko-KR" sz="1600" u="none" dirty="0" smtClean="0">
                <a:solidFill>
                  <a:srgbClr val="FF0000"/>
                </a:solidFill>
                <a:latin typeface="맑은 고딕" pitchFamily="50" charset="-127"/>
              </a:rPr>
              <a:t>92%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로 실제 판매량을 효과적으로 설명하고 있음</a:t>
            </a:r>
            <a:endParaRPr kumimoji="1" lang="en-US" altLang="ko-KR" sz="1600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16" name="왼쪽 중괄호 15"/>
          <p:cNvSpPr/>
          <p:nvPr/>
        </p:nvSpPr>
        <p:spPr>
          <a:xfrm flipH="1">
            <a:off x="7810520" y="3062287"/>
            <a:ext cx="147638" cy="295275"/>
          </a:xfrm>
          <a:prstGeom prst="leftBrac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ko-KR" altLang="en-US" sz="900" dirty="0">
              <a:solidFill>
                <a:srgbClr val="00206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" name="왼쪽 중괄호 16"/>
          <p:cNvSpPr/>
          <p:nvPr/>
        </p:nvSpPr>
        <p:spPr>
          <a:xfrm flipH="1">
            <a:off x="7810520" y="2382966"/>
            <a:ext cx="147638" cy="444500"/>
          </a:xfrm>
          <a:prstGeom prst="leftBrac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ko-KR" altLang="en-US" sz="9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" name="TextBox 10"/>
          <p:cNvSpPr txBox="1">
            <a:spLocks noChangeArrowheads="1"/>
          </p:cNvSpPr>
          <p:nvPr/>
        </p:nvSpPr>
        <p:spPr bwMode="auto">
          <a:xfrm>
            <a:off x="7901008" y="2551241"/>
            <a:ext cx="415925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ko-KR" altLang="en-US" sz="900" u="none" dirty="0">
                <a:solidFill>
                  <a:srgbClr val="002060"/>
                </a:solidFill>
                <a:latin typeface="맑은 고딕" pitchFamily="50" charset="-127"/>
              </a:rPr>
              <a:t>주중</a:t>
            </a:r>
          </a:p>
        </p:txBody>
      </p:sp>
      <p:sp>
        <p:nvSpPr>
          <p:cNvPr id="19" name="TextBox 11"/>
          <p:cNvSpPr txBox="1">
            <a:spLocks noChangeArrowheads="1"/>
          </p:cNvSpPr>
          <p:nvPr/>
        </p:nvSpPr>
        <p:spPr bwMode="auto">
          <a:xfrm>
            <a:off x="7907358" y="3105149"/>
            <a:ext cx="415925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ko-KR" altLang="en-US" sz="900" u="none" dirty="0">
                <a:solidFill>
                  <a:srgbClr val="002060"/>
                </a:solidFill>
                <a:latin typeface="맑은 고딕" pitchFamily="50" charset="-127"/>
              </a:rPr>
              <a:t>주말</a:t>
            </a:r>
          </a:p>
        </p:txBody>
      </p:sp>
      <p:graphicFrame>
        <p:nvGraphicFramePr>
          <p:cNvPr id="15" name="차트 14"/>
          <p:cNvGraphicFramePr/>
          <p:nvPr/>
        </p:nvGraphicFramePr>
        <p:xfrm>
          <a:off x="380968" y="4214817"/>
          <a:ext cx="9036082" cy="18573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2" name="차트 21"/>
          <p:cNvGraphicFramePr/>
          <p:nvPr/>
        </p:nvGraphicFramePr>
        <p:xfrm>
          <a:off x="452406" y="1643050"/>
          <a:ext cx="8964644" cy="21431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AutoShape 52"/>
          <p:cNvSpPr>
            <a:spLocks noChangeArrowheads="1"/>
          </p:cNvSpPr>
          <p:nvPr/>
        </p:nvSpPr>
        <p:spPr bwMode="auto">
          <a:xfrm rot="10800000">
            <a:off x="6738951" y="5608119"/>
            <a:ext cx="2736850" cy="526732"/>
          </a:xfrm>
          <a:prstGeom prst="rightArrow">
            <a:avLst>
              <a:gd name="adj1" fmla="val 48657"/>
              <a:gd name="adj2" fmla="val 37186"/>
            </a:avLst>
          </a:prstGeom>
          <a:gradFill flip="none" rotWithShape="1">
            <a:gsLst>
              <a:gs pos="0">
                <a:schemeClr val="bg1">
                  <a:lumMod val="50000"/>
                  <a:tint val="66000"/>
                  <a:satMod val="160000"/>
                </a:schemeClr>
              </a:gs>
              <a:gs pos="50000">
                <a:schemeClr val="bg1">
                  <a:lumMod val="50000"/>
                  <a:tint val="44500"/>
                  <a:satMod val="160000"/>
                </a:schemeClr>
              </a:gs>
              <a:gs pos="100000">
                <a:schemeClr val="bg1">
                  <a:lumMod val="50000"/>
                  <a:tint val="23500"/>
                  <a:satMod val="160000"/>
                </a:schemeClr>
              </a:gs>
            </a:gsLst>
            <a:lin ang="10800000" scaled="1"/>
            <a:tileRect/>
          </a:gradFill>
          <a:ln w="1270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ko-KR" altLang="en-US" sz="1300" u="none" dirty="0" smtClean="0">
              <a:solidFill>
                <a:srgbClr val="000000"/>
              </a:solidFill>
              <a:ea typeface="맑은 고딕" pitchFamily="50" charset="-127"/>
            </a:endParaRPr>
          </a:p>
        </p:txBody>
      </p:sp>
      <p:sp>
        <p:nvSpPr>
          <p:cNvPr id="40" name="AutoShape 52"/>
          <p:cNvSpPr>
            <a:spLocks noChangeArrowheads="1"/>
          </p:cNvSpPr>
          <p:nvPr/>
        </p:nvSpPr>
        <p:spPr bwMode="auto">
          <a:xfrm rot="10800000">
            <a:off x="6738950" y="3286124"/>
            <a:ext cx="2736850" cy="526732"/>
          </a:xfrm>
          <a:prstGeom prst="rightArrow">
            <a:avLst>
              <a:gd name="adj1" fmla="val 48657"/>
              <a:gd name="adj2" fmla="val 37186"/>
            </a:avLst>
          </a:prstGeom>
          <a:gradFill flip="none" rotWithShape="1">
            <a:gsLst>
              <a:gs pos="0">
                <a:schemeClr val="bg1">
                  <a:lumMod val="50000"/>
                  <a:tint val="66000"/>
                  <a:satMod val="160000"/>
                </a:schemeClr>
              </a:gs>
              <a:gs pos="50000">
                <a:schemeClr val="bg1">
                  <a:lumMod val="50000"/>
                  <a:tint val="44500"/>
                  <a:satMod val="160000"/>
                </a:schemeClr>
              </a:gs>
              <a:gs pos="100000">
                <a:schemeClr val="bg1">
                  <a:lumMod val="50000"/>
                  <a:tint val="23500"/>
                  <a:satMod val="160000"/>
                </a:schemeClr>
              </a:gs>
            </a:gsLst>
            <a:lin ang="10800000" scaled="1"/>
            <a:tileRect/>
          </a:gradFill>
          <a:ln w="1270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ko-KR" altLang="en-US" sz="1300" u="none" dirty="0" smtClean="0">
              <a:solidFill>
                <a:srgbClr val="000000"/>
              </a:solidFill>
              <a:ea typeface="맑은 고딕" pitchFamily="50" charset="-127"/>
            </a:endParaRPr>
          </a:p>
        </p:txBody>
      </p:sp>
      <p:sp>
        <p:nvSpPr>
          <p:cNvPr id="39" name="AutoShape 52"/>
          <p:cNvSpPr>
            <a:spLocks noChangeArrowheads="1"/>
          </p:cNvSpPr>
          <p:nvPr/>
        </p:nvSpPr>
        <p:spPr bwMode="auto">
          <a:xfrm rot="10800000">
            <a:off x="6738950" y="4348611"/>
            <a:ext cx="2736850" cy="526732"/>
          </a:xfrm>
          <a:prstGeom prst="rightArrow">
            <a:avLst>
              <a:gd name="adj1" fmla="val 48657"/>
              <a:gd name="adj2" fmla="val 37186"/>
            </a:avLst>
          </a:prstGeom>
          <a:gradFill flip="none" rotWithShape="1">
            <a:gsLst>
              <a:gs pos="0">
                <a:schemeClr val="bg1">
                  <a:lumMod val="50000"/>
                  <a:tint val="66000"/>
                  <a:satMod val="160000"/>
                </a:schemeClr>
              </a:gs>
              <a:gs pos="50000">
                <a:schemeClr val="bg1">
                  <a:lumMod val="50000"/>
                  <a:tint val="44500"/>
                  <a:satMod val="160000"/>
                </a:schemeClr>
              </a:gs>
              <a:gs pos="100000">
                <a:schemeClr val="bg1">
                  <a:lumMod val="50000"/>
                  <a:tint val="23500"/>
                  <a:satMod val="160000"/>
                </a:schemeClr>
              </a:gs>
            </a:gsLst>
            <a:lin ang="10800000" scaled="1"/>
            <a:tileRect/>
          </a:gradFill>
          <a:ln w="1270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ko-KR" altLang="en-US" sz="1300" u="none" dirty="0" smtClean="0">
              <a:solidFill>
                <a:srgbClr val="000000"/>
              </a:solidFill>
              <a:ea typeface="맑은 고딕" pitchFamily="50" charset="-127"/>
            </a:endParaRPr>
          </a:p>
        </p:txBody>
      </p:sp>
      <p:sp>
        <p:nvSpPr>
          <p:cNvPr id="2938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itchFamily="50" charset="-127"/>
              </a:rPr>
              <a:t>모형결과 </a:t>
            </a:r>
            <a:r>
              <a:rPr lang="en-US" altLang="ko-KR" dirty="0" smtClean="0">
                <a:latin typeface="맑은 고딕" pitchFamily="50" charset="-127"/>
              </a:rPr>
              <a:t>– Cass Bottle</a:t>
            </a:r>
            <a:r>
              <a:rPr lang="ko-KR" altLang="en-US" dirty="0" smtClean="0">
                <a:latin typeface="맑은 고딕" pitchFamily="50" charset="-127"/>
              </a:rPr>
              <a:t> 판매량 </a:t>
            </a:r>
            <a:r>
              <a:rPr lang="ko-KR" altLang="en-US" dirty="0" err="1" smtClean="0">
                <a:latin typeface="맑은 고딕" pitchFamily="50" charset="-127"/>
              </a:rPr>
              <a:t>주별</a:t>
            </a:r>
            <a:r>
              <a:rPr lang="ko-KR" altLang="en-US" dirty="0" smtClean="0">
                <a:latin typeface="맑은 고딕" pitchFamily="50" charset="-127"/>
              </a:rPr>
              <a:t> 예측 </a:t>
            </a:r>
            <a:r>
              <a:rPr lang="en-US" altLang="ko-KR" dirty="0" smtClean="0">
                <a:latin typeface="맑은 고딕" pitchFamily="50" charset="-127"/>
              </a:rPr>
              <a:t>(3) Regression Equation</a:t>
            </a:r>
          </a:p>
        </p:txBody>
      </p:sp>
      <p:sp>
        <p:nvSpPr>
          <p:cNvPr id="293891" name="Rectangle 3"/>
          <p:cNvSpPr txBox="1">
            <a:spLocks noChangeArrowheads="1"/>
          </p:cNvSpPr>
          <p:nvPr/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 latinLnBrk="1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Cass Bottle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판매량 예측모형의 회귀 </a:t>
            </a:r>
            <a:r>
              <a:rPr kumimoji="1" lang="en-US" altLang="ko-KR" sz="1600" u="none" dirty="0">
                <a:solidFill>
                  <a:srgbClr val="000000"/>
                </a:solidFill>
                <a:latin typeface="맑은 고딕" pitchFamily="50" charset="-127"/>
              </a:rPr>
              <a:t>Equation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은 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기온</a:t>
            </a: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눈</a:t>
            </a:r>
            <a:r>
              <a:rPr kumimoji="1" lang="en-US" altLang="ko-KR" sz="1600" u="none" dirty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비</a:t>
            </a: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일자</a:t>
            </a: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설명변수로 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표현됨</a:t>
            </a:r>
            <a:endParaRPr kumimoji="1" lang="en-US" altLang="ko-KR" sz="1600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380968" y="1165224"/>
            <a:ext cx="7358114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u="none" dirty="0" smtClean="0">
                <a:solidFill>
                  <a:srgbClr val="000000"/>
                </a:solidFill>
              </a:rPr>
              <a:t>Y = 76,899.1	</a:t>
            </a:r>
          </a:p>
          <a:p>
            <a:endParaRPr lang="en-US" altLang="ko-KR" u="none" dirty="0" smtClean="0">
              <a:solidFill>
                <a:srgbClr val="000000"/>
              </a:solidFill>
            </a:endParaRPr>
          </a:p>
          <a:p>
            <a:r>
              <a:rPr lang="en-US" altLang="ko-KR" u="none" dirty="0" smtClean="0">
                <a:solidFill>
                  <a:srgbClr val="FF9933"/>
                </a:solidFill>
              </a:rPr>
              <a:t>- 1,331.92 </a:t>
            </a:r>
            <a:r>
              <a:rPr lang="en-US" altLang="ko-KR" u="none" dirty="0" smtClean="0">
                <a:solidFill>
                  <a:srgbClr val="000000"/>
                </a:solidFill>
              </a:rPr>
              <a:t>* </a:t>
            </a:r>
            <a:r>
              <a:rPr lang="ko-KR" altLang="en-US" u="none" dirty="0" smtClean="0">
                <a:solidFill>
                  <a:srgbClr val="000000"/>
                </a:solidFill>
              </a:rPr>
              <a:t>평균기온</a:t>
            </a:r>
            <a:r>
              <a:rPr lang="en-US" altLang="ko-KR" u="none" dirty="0" smtClean="0">
                <a:solidFill>
                  <a:srgbClr val="000000"/>
                </a:solidFill>
              </a:rPr>
              <a:t>_T0 </a:t>
            </a:r>
            <a:r>
              <a:rPr lang="en-US" altLang="ko-KR" u="none" dirty="0" smtClean="0">
                <a:solidFill>
                  <a:srgbClr val="FF9933"/>
                </a:solidFill>
              </a:rPr>
              <a:t>- 746.4 </a:t>
            </a:r>
            <a:r>
              <a:rPr lang="en-US" altLang="ko-KR" u="none" dirty="0" smtClean="0">
                <a:solidFill>
                  <a:srgbClr val="000000"/>
                </a:solidFill>
              </a:rPr>
              <a:t>* </a:t>
            </a:r>
            <a:r>
              <a:rPr lang="ko-KR" altLang="en-US" u="none" dirty="0" smtClean="0">
                <a:solidFill>
                  <a:srgbClr val="000000"/>
                </a:solidFill>
              </a:rPr>
              <a:t>평균기온</a:t>
            </a:r>
            <a:r>
              <a:rPr lang="en-US" altLang="ko-KR" u="none" dirty="0" smtClean="0">
                <a:solidFill>
                  <a:srgbClr val="000000"/>
                </a:solidFill>
              </a:rPr>
              <a:t>_T2 </a:t>
            </a:r>
            <a:r>
              <a:rPr lang="en-US" altLang="ko-KR" u="none" dirty="0" smtClean="0">
                <a:solidFill>
                  <a:srgbClr val="FF9933"/>
                </a:solidFill>
              </a:rPr>
              <a:t>- 911.69 </a:t>
            </a:r>
            <a:r>
              <a:rPr lang="en-US" altLang="ko-KR" u="none" dirty="0" smtClean="0">
                <a:solidFill>
                  <a:srgbClr val="000000"/>
                </a:solidFill>
              </a:rPr>
              <a:t>* </a:t>
            </a:r>
            <a:r>
              <a:rPr lang="ko-KR" altLang="en-US" u="none" dirty="0" smtClean="0">
                <a:solidFill>
                  <a:srgbClr val="000000"/>
                </a:solidFill>
              </a:rPr>
              <a:t>평균기온</a:t>
            </a:r>
            <a:r>
              <a:rPr lang="en-US" altLang="ko-KR" u="none" dirty="0" smtClean="0">
                <a:solidFill>
                  <a:srgbClr val="000000"/>
                </a:solidFill>
              </a:rPr>
              <a:t>_T0_mav	</a:t>
            </a: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+ </a:t>
            </a:r>
            <a:r>
              <a:rPr lang="en-US" altLang="ko-KR" u="none" dirty="0" smtClean="0">
                <a:solidFill>
                  <a:srgbClr val="FF9933"/>
                </a:solidFill>
              </a:rPr>
              <a:t>1,551.64</a:t>
            </a:r>
            <a:r>
              <a:rPr lang="en-US" altLang="ko-KR" u="none" dirty="0" smtClean="0">
                <a:solidFill>
                  <a:srgbClr val="000000"/>
                </a:solidFill>
              </a:rPr>
              <a:t> * </a:t>
            </a:r>
            <a:r>
              <a:rPr lang="ko-KR" altLang="en-US" u="none" dirty="0" smtClean="0">
                <a:solidFill>
                  <a:srgbClr val="000000"/>
                </a:solidFill>
              </a:rPr>
              <a:t>평균기온</a:t>
            </a:r>
            <a:r>
              <a:rPr lang="en-US" altLang="ko-KR" u="none" dirty="0" smtClean="0">
                <a:solidFill>
                  <a:srgbClr val="000000"/>
                </a:solidFill>
              </a:rPr>
              <a:t>_4days_T0 + </a:t>
            </a:r>
            <a:r>
              <a:rPr lang="en-US" altLang="ko-KR" u="none" dirty="0" smtClean="0">
                <a:solidFill>
                  <a:srgbClr val="FF9933"/>
                </a:solidFill>
              </a:rPr>
              <a:t>1,588.74</a:t>
            </a:r>
            <a:r>
              <a:rPr lang="en-US" altLang="ko-KR" u="none" dirty="0" smtClean="0">
                <a:solidFill>
                  <a:srgbClr val="000000"/>
                </a:solidFill>
              </a:rPr>
              <a:t> * </a:t>
            </a:r>
            <a:r>
              <a:rPr lang="ko-KR" altLang="en-US" u="none" dirty="0" smtClean="0">
                <a:solidFill>
                  <a:srgbClr val="000000"/>
                </a:solidFill>
              </a:rPr>
              <a:t>최대기온</a:t>
            </a:r>
            <a:r>
              <a:rPr lang="en-US" altLang="ko-KR" u="none" dirty="0" smtClean="0">
                <a:solidFill>
                  <a:srgbClr val="000000"/>
                </a:solidFill>
              </a:rPr>
              <a:t>_T0 + </a:t>
            </a:r>
            <a:r>
              <a:rPr lang="en-US" altLang="ko-KR" u="none" dirty="0" smtClean="0">
                <a:solidFill>
                  <a:srgbClr val="FF9933"/>
                </a:solidFill>
              </a:rPr>
              <a:t>195.1</a:t>
            </a:r>
            <a:r>
              <a:rPr lang="en-US" altLang="ko-KR" u="none" dirty="0" smtClean="0">
                <a:solidFill>
                  <a:srgbClr val="000000"/>
                </a:solidFill>
              </a:rPr>
              <a:t> * </a:t>
            </a:r>
            <a:r>
              <a:rPr lang="ko-KR" altLang="en-US" u="none" dirty="0" smtClean="0">
                <a:solidFill>
                  <a:srgbClr val="000000"/>
                </a:solidFill>
              </a:rPr>
              <a:t>최대기온</a:t>
            </a:r>
            <a:r>
              <a:rPr lang="en-US" altLang="ko-KR" u="none" dirty="0" smtClean="0">
                <a:solidFill>
                  <a:srgbClr val="000000"/>
                </a:solidFill>
              </a:rPr>
              <a:t>_T2</a:t>
            </a: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+ </a:t>
            </a:r>
            <a:r>
              <a:rPr lang="en-US" altLang="ko-KR" u="none" dirty="0" smtClean="0">
                <a:solidFill>
                  <a:srgbClr val="FF9933"/>
                </a:solidFill>
              </a:rPr>
              <a:t>406.57</a:t>
            </a:r>
            <a:r>
              <a:rPr lang="en-US" altLang="ko-KR" u="none" dirty="0" smtClean="0">
                <a:solidFill>
                  <a:srgbClr val="000000"/>
                </a:solidFill>
              </a:rPr>
              <a:t> * </a:t>
            </a:r>
            <a:r>
              <a:rPr lang="ko-KR" altLang="en-US" u="none" dirty="0" smtClean="0">
                <a:solidFill>
                  <a:srgbClr val="000000"/>
                </a:solidFill>
              </a:rPr>
              <a:t>눈</a:t>
            </a:r>
            <a:r>
              <a:rPr lang="en-US" altLang="ko-KR" u="none" dirty="0" smtClean="0">
                <a:solidFill>
                  <a:srgbClr val="000000"/>
                </a:solidFill>
              </a:rPr>
              <a:t>_T4 + …		</a:t>
            </a:r>
          </a:p>
          <a:p>
            <a:endParaRPr lang="en-US" altLang="ko-KR" u="none" dirty="0" smtClean="0">
              <a:solidFill>
                <a:srgbClr val="000000"/>
              </a:solidFill>
            </a:endParaRP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+ </a:t>
            </a:r>
            <a:r>
              <a:rPr lang="en-US" altLang="ko-KR" u="none" dirty="0" smtClean="0">
                <a:solidFill>
                  <a:srgbClr val="FF9933"/>
                </a:solidFill>
              </a:rPr>
              <a:t>25.19</a:t>
            </a:r>
            <a:r>
              <a:rPr lang="en-US" altLang="ko-KR" u="none" dirty="0" smtClean="0">
                <a:solidFill>
                  <a:srgbClr val="000000"/>
                </a:solidFill>
              </a:rPr>
              <a:t> * DAY_SEQ + </a:t>
            </a:r>
            <a:r>
              <a:rPr lang="en-US" altLang="ko-KR" u="none" dirty="0" smtClean="0">
                <a:solidFill>
                  <a:srgbClr val="FF9933"/>
                </a:solidFill>
              </a:rPr>
              <a:t>3,091.14</a:t>
            </a:r>
            <a:r>
              <a:rPr lang="en-US" altLang="ko-KR" u="none" dirty="0" smtClean="0">
                <a:solidFill>
                  <a:srgbClr val="000000"/>
                </a:solidFill>
              </a:rPr>
              <a:t> * YEAR_2010 + </a:t>
            </a:r>
            <a:r>
              <a:rPr lang="en-US" altLang="ko-KR" u="none" dirty="0" smtClean="0">
                <a:solidFill>
                  <a:srgbClr val="FF9933"/>
                </a:solidFill>
              </a:rPr>
              <a:t>13,103.18</a:t>
            </a:r>
            <a:r>
              <a:rPr lang="en-US" altLang="ko-KR" u="none" dirty="0" smtClean="0">
                <a:solidFill>
                  <a:srgbClr val="000000"/>
                </a:solidFill>
              </a:rPr>
              <a:t> * YEAR_2011 </a:t>
            </a: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+ </a:t>
            </a:r>
            <a:r>
              <a:rPr lang="en-US" altLang="ko-KR" u="none" dirty="0" smtClean="0">
                <a:solidFill>
                  <a:srgbClr val="FF9933"/>
                </a:solidFill>
              </a:rPr>
              <a:t>28,147.07</a:t>
            </a:r>
            <a:r>
              <a:rPr lang="en-US" altLang="ko-KR" u="none" dirty="0" smtClean="0">
                <a:solidFill>
                  <a:srgbClr val="000000"/>
                </a:solidFill>
              </a:rPr>
              <a:t> * YEAR_2012 + </a:t>
            </a:r>
            <a:r>
              <a:rPr lang="en-US" altLang="ko-KR" u="none" dirty="0" smtClean="0">
                <a:solidFill>
                  <a:srgbClr val="FF9933"/>
                </a:solidFill>
              </a:rPr>
              <a:t>48,578.27</a:t>
            </a:r>
            <a:r>
              <a:rPr lang="en-US" altLang="ko-KR" u="none" dirty="0" smtClean="0">
                <a:solidFill>
                  <a:srgbClr val="000000"/>
                </a:solidFill>
              </a:rPr>
              <a:t> * YEAR_2013 + </a:t>
            </a:r>
            <a:r>
              <a:rPr lang="en-US" altLang="ko-KR" u="none" dirty="0" smtClean="0">
                <a:solidFill>
                  <a:srgbClr val="FF9933"/>
                </a:solidFill>
              </a:rPr>
              <a:t>69,681.62</a:t>
            </a:r>
            <a:r>
              <a:rPr lang="en-US" altLang="ko-KR" u="none" dirty="0" smtClean="0">
                <a:solidFill>
                  <a:srgbClr val="000000"/>
                </a:solidFill>
              </a:rPr>
              <a:t> * YEAR_2014		</a:t>
            </a:r>
          </a:p>
          <a:p>
            <a:r>
              <a:rPr lang="en-US" altLang="ko-KR" u="none" dirty="0" smtClean="0">
                <a:solidFill>
                  <a:srgbClr val="FF9933"/>
                </a:solidFill>
              </a:rPr>
              <a:t>- 38,230.68 </a:t>
            </a:r>
            <a:r>
              <a:rPr lang="en-US" altLang="ko-KR" u="none" dirty="0" smtClean="0">
                <a:solidFill>
                  <a:srgbClr val="000000"/>
                </a:solidFill>
              </a:rPr>
              <a:t>* </a:t>
            </a:r>
            <a:r>
              <a:rPr lang="en-US" altLang="ko-KR" u="none" dirty="0" err="1" smtClean="0">
                <a:solidFill>
                  <a:srgbClr val="000000"/>
                </a:solidFill>
              </a:rPr>
              <a:t>Claim_Effect</a:t>
            </a:r>
            <a:r>
              <a:rPr lang="en-US" altLang="ko-KR" u="none" dirty="0" smtClean="0">
                <a:solidFill>
                  <a:srgbClr val="000000"/>
                </a:solidFill>
              </a:rPr>
              <a:t> </a:t>
            </a:r>
          </a:p>
          <a:p>
            <a:r>
              <a:rPr lang="en-US" altLang="ko-KR" u="none" dirty="0" smtClean="0">
                <a:solidFill>
                  <a:srgbClr val="FF9933"/>
                </a:solidFill>
              </a:rPr>
              <a:t>- 38,036.02 </a:t>
            </a:r>
            <a:r>
              <a:rPr lang="en-US" altLang="ko-KR" u="none" dirty="0" smtClean="0">
                <a:solidFill>
                  <a:srgbClr val="000000"/>
                </a:solidFill>
              </a:rPr>
              <a:t>* PRICE_ADV_ANNU_AFTER_EFFECT	</a:t>
            </a: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+ </a:t>
            </a:r>
            <a:r>
              <a:rPr lang="en-US" altLang="ko-KR" u="none" dirty="0" smtClean="0">
                <a:solidFill>
                  <a:srgbClr val="FF9933"/>
                </a:solidFill>
              </a:rPr>
              <a:t>69,029.59</a:t>
            </a:r>
            <a:r>
              <a:rPr lang="en-US" altLang="ko-KR" u="none" dirty="0" smtClean="0">
                <a:solidFill>
                  <a:srgbClr val="000000"/>
                </a:solidFill>
              </a:rPr>
              <a:t> * PRICE_ADV_ANNU_BEFORE_EFFECT	</a:t>
            </a: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+ </a:t>
            </a:r>
            <a:r>
              <a:rPr lang="en-US" altLang="ko-KR" u="none" dirty="0" smtClean="0">
                <a:solidFill>
                  <a:srgbClr val="FF9933"/>
                </a:solidFill>
              </a:rPr>
              <a:t>34,387.53</a:t>
            </a:r>
            <a:r>
              <a:rPr lang="en-US" altLang="ko-KR" u="none" dirty="0" smtClean="0">
                <a:solidFill>
                  <a:srgbClr val="000000"/>
                </a:solidFill>
              </a:rPr>
              <a:t> * PRICE_ADV_ANNU_EFFECT		</a:t>
            </a:r>
          </a:p>
          <a:p>
            <a:endParaRPr lang="en-US" altLang="ko-KR" u="none" dirty="0" smtClean="0">
              <a:solidFill>
                <a:srgbClr val="000000"/>
              </a:solidFill>
            </a:endParaRPr>
          </a:p>
          <a:p>
            <a:r>
              <a:rPr lang="en-US" altLang="ko-KR" u="none" dirty="0" smtClean="0">
                <a:solidFill>
                  <a:srgbClr val="FF9933"/>
                </a:solidFill>
              </a:rPr>
              <a:t>- 7,678.57 </a:t>
            </a:r>
            <a:r>
              <a:rPr lang="en-US" altLang="ko-KR" u="none" dirty="0" smtClean="0">
                <a:solidFill>
                  <a:srgbClr val="000000"/>
                </a:solidFill>
              </a:rPr>
              <a:t>* 1</a:t>
            </a:r>
            <a:r>
              <a:rPr lang="ko-KR" altLang="en-US" u="none" dirty="0" smtClean="0">
                <a:solidFill>
                  <a:srgbClr val="000000"/>
                </a:solidFill>
              </a:rPr>
              <a:t>월 </a:t>
            </a:r>
            <a:r>
              <a:rPr lang="en-US" altLang="ko-KR" u="none" dirty="0" smtClean="0">
                <a:solidFill>
                  <a:srgbClr val="FF9933"/>
                </a:solidFill>
              </a:rPr>
              <a:t>- 9,591.07 </a:t>
            </a:r>
            <a:r>
              <a:rPr lang="en-US" altLang="ko-KR" u="none" dirty="0" smtClean="0">
                <a:solidFill>
                  <a:srgbClr val="000000"/>
                </a:solidFill>
              </a:rPr>
              <a:t>* 2</a:t>
            </a:r>
            <a:r>
              <a:rPr lang="ko-KR" altLang="en-US" u="none" dirty="0" smtClean="0">
                <a:solidFill>
                  <a:srgbClr val="000000"/>
                </a:solidFill>
              </a:rPr>
              <a:t>월 </a:t>
            </a:r>
            <a:r>
              <a:rPr lang="en-US" altLang="ko-KR" u="none" dirty="0" smtClean="0">
                <a:solidFill>
                  <a:srgbClr val="FF9933"/>
                </a:solidFill>
              </a:rPr>
              <a:t>- 15,009.27 </a:t>
            </a:r>
            <a:r>
              <a:rPr lang="en-US" altLang="ko-KR" u="none" dirty="0" smtClean="0">
                <a:solidFill>
                  <a:srgbClr val="000000"/>
                </a:solidFill>
              </a:rPr>
              <a:t>* 3</a:t>
            </a:r>
            <a:r>
              <a:rPr lang="ko-KR" altLang="en-US" u="none" dirty="0" smtClean="0">
                <a:solidFill>
                  <a:srgbClr val="000000"/>
                </a:solidFill>
              </a:rPr>
              <a:t>월 </a:t>
            </a:r>
            <a:r>
              <a:rPr lang="en-US" altLang="ko-KR" u="none" dirty="0" smtClean="0">
                <a:solidFill>
                  <a:srgbClr val="FF9933"/>
                </a:solidFill>
              </a:rPr>
              <a:t>- 15,625.95 </a:t>
            </a:r>
            <a:r>
              <a:rPr lang="en-US" altLang="ko-KR" u="none" dirty="0" smtClean="0">
                <a:solidFill>
                  <a:srgbClr val="000000"/>
                </a:solidFill>
              </a:rPr>
              <a:t>* 4</a:t>
            </a:r>
            <a:r>
              <a:rPr lang="ko-KR" altLang="en-US" u="none" dirty="0" smtClean="0">
                <a:solidFill>
                  <a:srgbClr val="000000"/>
                </a:solidFill>
              </a:rPr>
              <a:t>월 </a:t>
            </a:r>
            <a:r>
              <a:rPr lang="en-US" altLang="ko-KR" u="none" dirty="0" smtClean="0">
                <a:solidFill>
                  <a:srgbClr val="000000"/>
                </a:solidFill>
              </a:rPr>
              <a:t>+ …</a:t>
            </a:r>
          </a:p>
          <a:p>
            <a:r>
              <a:rPr lang="en-US" altLang="ko-KR" u="none" dirty="0" smtClean="0">
                <a:solidFill>
                  <a:srgbClr val="FF9933"/>
                </a:solidFill>
              </a:rPr>
              <a:t>- 91,724.78 </a:t>
            </a:r>
            <a:r>
              <a:rPr lang="en-US" altLang="ko-KR" u="none" dirty="0" smtClean="0">
                <a:solidFill>
                  <a:srgbClr val="000000"/>
                </a:solidFill>
              </a:rPr>
              <a:t>* MON </a:t>
            </a:r>
            <a:r>
              <a:rPr lang="en-US" altLang="ko-KR" u="none" dirty="0" smtClean="0">
                <a:solidFill>
                  <a:srgbClr val="FF9933"/>
                </a:solidFill>
              </a:rPr>
              <a:t>- 94,344.24 </a:t>
            </a:r>
            <a:r>
              <a:rPr lang="en-US" altLang="ko-KR" u="none" dirty="0" smtClean="0">
                <a:solidFill>
                  <a:srgbClr val="000000"/>
                </a:solidFill>
              </a:rPr>
              <a:t>* TUE </a:t>
            </a:r>
            <a:r>
              <a:rPr lang="en-US" altLang="ko-KR" u="none" dirty="0" smtClean="0">
                <a:solidFill>
                  <a:srgbClr val="FF9933"/>
                </a:solidFill>
              </a:rPr>
              <a:t>- 110,455.82 </a:t>
            </a:r>
            <a:r>
              <a:rPr lang="en-US" altLang="ko-KR" u="none" dirty="0" smtClean="0">
                <a:solidFill>
                  <a:srgbClr val="000000"/>
                </a:solidFill>
              </a:rPr>
              <a:t>* WED </a:t>
            </a:r>
          </a:p>
          <a:p>
            <a:r>
              <a:rPr lang="en-US" altLang="ko-KR" u="none" dirty="0" smtClean="0">
                <a:solidFill>
                  <a:srgbClr val="FF9933"/>
                </a:solidFill>
              </a:rPr>
              <a:t>- 98,930.03 </a:t>
            </a:r>
            <a:r>
              <a:rPr lang="en-US" altLang="ko-KR" u="none" dirty="0" smtClean="0">
                <a:solidFill>
                  <a:srgbClr val="000000"/>
                </a:solidFill>
              </a:rPr>
              <a:t>* THU </a:t>
            </a:r>
            <a:r>
              <a:rPr lang="en-US" altLang="ko-KR" u="none" dirty="0" smtClean="0">
                <a:solidFill>
                  <a:srgbClr val="FF9933"/>
                </a:solidFill>
              </a:rPr>
              <a:t>- 94,348.34 </a:t>
            </a:r>
            <a:r>
              <a:rPr lang="en-US" altLang="ko-KR" u="none" dirty="0" smtClean="0">
                <a:solidFill>
                  <a:srgbClr val="000000"/>
                </a:solidFill>
              </a:rPr>
              <a:t>* FRI </a:t>
            </a: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+ </a:t>
            </a:r>
            <a:r>
              <a:rPr lang="en-US" altLang="ko-KR" u="none" dirty="0" smtClean="0">
                <a:solidFill>
                  <a:srgbClr val="FF9933"/>
                </a:solidFill>
              </a:rPr>
              <a:t>98,373.05</a:t>
            </a:r>
            <a:r>
              <a:rPr lang="en-US" altLang="ko-KR" u="none" dirty="0" smtClean="0">
                <a:solidFill>
                  <a:srgbClr val="000000"/>
                </a:solidFill>
              </a:rPr>
              <a:t> * WORKING_DAY + …</a:t>
            </a: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		</a:t>
            </a:r>
          </a:p>
          <a:p>
            <a:r>
              <a:rPr lang="en-US" altLang="ko-KR" u="none" dirty="0" smtClean="0">
                <a:solidFill>
                  <a:srgbClr val="FF9933"/>
                </a:solidFill>
              </a:rPr>
              <a:t>- 95,731.89 </a:t>
            </a:r>
            <a:r>
              <a:rPr lang="en-US" altLang="ko-KR" u="none" dirty="0" smtClean="0">
                <a:solidFill>
                  <a:srgbClr val="000000"/>
                </a:solidFill>
              </a:rPr>
              <a:t>* SAT_EFFECT + </a:t>
            </a:r>
            <a:r>
              <a:rPr lang="en-US" altLang="ko-KR" u="none" dirty="0" smtClean="0">
                <a:solidFill>
                  <a:srgbClr val="FF9933"/>
                </a:solidFill>
              </a:rPr>
              <a:t>3,322.25</a:t>
            </a:r>
            <a:r>
              <a:rPr lang="en-US" altLang="ko-KR" u="none" dirty="0" smtClean="0">
                <a:solidFill>
                  <a:srgbClr val="000000"/>
                </a:solidFill>
              </a:rPr>
              <a:t> * CHUSEOK_EFFECT + </a:t>
            </a:r>
            <a:r>
              <a:rPr lang="en-US" altLang="ko-KR" u="none" dirty="0" smtClean="0">
                <a:solidFill>
                  <a:srgbClr val="FF9933"/>
                </a:solidFill>
              </a:rPr>
              <a:t>1,262.04</a:t>
            </a:r>
            <a:r>
              <a:rPr lang="en-US" altLang="ko-KR" u="none" dirty="0" smtClean="0">
                <a:solidFill>
                  <a:srgbClr val="000000"/>
                </a:solidFill>
              </a:rPr>
              <a:t> * NY_EFFECT	</a:t>
            </a:r>
          </a:p>
          <a:p>
            <a:r>
              <a:rPr lang="en-US" altLang="ko-KR" u="none" dirty="0" smtClean="0">
                <a:solidFill>
                  <a:srgbClr val="FF9933"/>
                </a:solidFill>
              </a:rPr>
              <a:t>- 8,885.25 </a:t>
            </a:r>
            <a:r>
              <a:rPr lang="en-US" altLang="ko-KR" u="none" dirty="0" smtClean="0">
                <a:solidFill>
                  <a:srgbClr val="000000"/>
                </a:solidFill>
              </a:rPr>
              <a:t>* CHILD_AFTER_EFFECT + </a:t>
            </a:r>
            <a:r>
              <a:rPr lang="en-US" altLang="ko-KR" u="none" dirty="0" smtClean="0">
                <a:solidFill>
                  <a:srgbClr val="FF9933"/>
                </a:solidFill>
              </a:rPr>
              <a:t>8,053.23</a:t>
            </a:r>
            <a:r>
              <a:rPr lang="en-US" altLang="ko-KR" u="none" dirty="0" smtClean="0">
                <a:solidFill>
                  <a:srgbClr val="000000"/>
                </a:solidFill>
              </a:rPr>
              <a:t> * CHILD_BEFORE_EFFECT </a:t>
            </a:r>
          </a:p>
          <a:p>
            <a:r>
              <a:rPr lang="en-US" altLang="ko-KR" u="none" dirty="0" smtClean="0">
                <a:solidFill>
                  <a:srgbClr val="FF9933"/>
                </a:solidFill>
              </a:rPr>
              <a:t>- 17,828.58 </a:t>
            </a:r>
            <a:r>
              <a:rPr lang="en-US" altLang="ko-KR" u="none" dirty="0" smtClean="0">
                <a:solidFill>
                  <a:srgbClr val="000000"/>
                </a:solidFill>
              </a:rPr>
              <a:t>* CHILD_EFFECT </a:t>
            </a:r>
            <a:r>
              <a:rPr lang="en-US" altLang="ko-KR" u="none" dirty="0" smtClean="0">
                <a:solidFill>
                  <a:srgbClr val="FF9933"/>
                </a:solidFill>
              </a:rPr>
              <a:t>- 18,292.83 </a:t>
            </a:r>
            <a:r>
              <a:rPr lang="en-US" altLang="ko-KR" u="none" dirty="0" smtClean="0">
                <a:solidFill>
                  <a:srgbClr val="000000"/>
                </a:solidFill>
              </a:rPr>
              <a:t>* WS_VACATION_AFTER_EFFECT </a:t>
            </a: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+ </a:t>
            </a:r>
            <a:r>
              <a:rPr lang="en-US" altLang="ko-KR" u="none" dirty="0" smtClean="0">
                <a:solidFill>
                  <a:srgbClr val="FF9933"/>
                </a:solidFill>
              </a:rPr>
              <a:t>2,474.66</a:t>
            </a:r>
            <a:r>
              <a:rPr lang="en-US" altLang="ko-KR" u="none" dirty="0" smtClean="0">
                <a:solidFill>
                  <a:srgbClr val="000000"/>
                </a:solidFill>
              </a:rPr>
              <a:t> * WS_VACATION_EFFECT + </a:t>
            </a:r>
            <a:r>
              <a:rPr lang="en-US" altLang="ko-KR" u="none" dirty="0" smtClean="0">
                <a:solidFill>
                  <a:srgbClr val="FF9933"/>
                </a:solidFill>
              </a:rPr>
              <a:t>17,864.8</a:t>
            </a:r>
            <a:r>
              <a:rPr lang="en-US" altLang="ko-KR" u="none" dirty="0" smtClean="0">
                <a:solidFill>
                  <a:srgbClr val="000000"/>
                </a:solidFill>
              </a:rPr>
              <a:t> * XMAS_AFTER_EFFECT	</a:t>
            </a: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+ </a:t>
            </a:r>
            <a:r>
              <a:rPr lang="en-US" altLang="ko-KR" u="none" dirty="0" smtClean="0">
                <a:solidFill>
                  <a:srgbClr val="FF9933"/>
                </a:solidFill>
              </a:rPr>
              <a:t>11,995.94</a:t>
            </a:r>
            <a:r>
              <a:rPr lang="en-US" altLang="ko-KR" u="none" dirty="0" smtClean="0">
                <a:solidFill>
                  <a:srgbClr val="000000"/>
                </a:solidFill>
              </a:rPr>
              <a:t> * XMAS_BEFORE_EFFECT</a:t>
            </a:r>
            <a:r>
              <a:rPr lang="en-US" altLang="ko-KR" u="none" dirty="0" smtClean="0">
                <a:solidFill>
                  <a:srgbClr val="FF9933"/>
                </a:solidFill>
              </a:rPr>
              <a:t>	- 12,799.17 </a:t>
            </a:r>
            <a:r>
              <a:rPr lang="en-US" altLang="ko-KR" u="none" dirty="0" smtClean="0">
                <a:solidFill>
                  <a:srgbClr val="000000"/>
                </a:solidFill>
              </a:rPr>
              <a:t>* XMAS_EFFECT + …</a:t>
            </a:r>
            <a:endParaRPr lang="ko-KR" altLang="en-US" u="none" dirty="0">
              <a:solidFill>
                <a:srgbClr val="000000"/>
              </a:solidFill>
            </a:endParaRPr>
          </a:p>
        </p:txBody>
      </p:sp>
      <p:sp>
        <p:nvSpPr>
          <p:cNvPr id="17" name="AutoShape 52"/>
          <p:cNvSpPr>
            <a:spLocks noChangeArrowheads="1"/>
          </p:cNvSpPr>
          <p:nvPr/>
        </p:nvSpPr>
        <p:spPr bwMode="auto">
          <a:xfrm rot="10800000">
            <a:off x="6738951" y="1679030"/>
            <a:ext cx="2736850" cy="526732"/>
          </a:xfrm>
          <a:prstGeom prst="rightArrow">
            <a:avLst>
              <a:gd name="adj1" fmla="val 48657"/>
              <a:gd name="adj2" fmla="val 37186"/>
            </a:avLst>
          </a:prstGeom>
          <a:gradFill flip="none" rotWithShape="1">
            <a:gsLst>
              <a:gs pos="0">
                <a:schemeClr val="bg1">
                  <a:lumMod val="50000"/>
                  <a:tint val="66000"/>
                  <a:satMod val="160000"/>
                </a:schemeClr>
              </a:gs>
              <a:gs pos="50000">
                <a:schemeClr val="bg1">
                  <a:lumMod val="50000"/>
                  <a:tint val="44500"/>
                  <a:satMod val="160000"/>
                </a:schemeClr>
              </a:gs>
              <a:gs pos="100000">
                <a:schemeClr val="bg1">
                  <a:lumMod val="50000"/>
                  <a:tint val="23500"/>
                  <a:satMod val="160000"/>
                </a:schemeClr>
              </a:gs>
            </a:gsLst>
            <a:lin ang="10800000" scaled="1"/>
            <a:tileRect/>
          </a:gradFill>
          <a:ln w="1270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ko-KR" altLang="en-US" sz="1300" u="none" dirty="0" smtClean="0">
              <a:solidFill>
                <a:srgbClr val="000000"/>
              </a:solidFill>
              <a:ea typeface="맑은 고딕" pitchFamily="50" charset="-127"/>
            </a:endParaRPr>
          </a:p>
        </p:txBody>
      </p:sp>
      <p:sp>
        <p:nvSpPr>
          <p:cNvPr id="30" name="Text Box 40"/>
          <p:cNvSpPr txBox="1">
            <a:spLocks noChangeArrowheads="1"/>
          </p:cNvSpPr>
          <p:nvPr/>
        </p:nvSpPr>
        <p:spPr bwMode="auto">
          <a:xfrm>
            <a:off x="7083794" y="5693623"/>
            <a:ext cx="2664000" cy="308739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>
            <a:spAutoFit/>
          </a:bodyPr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41338" indent="-541338" defTabSz="914400" eaLnBrk="0" latinLnBrk="0" hangingPunct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: 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휴일</a:t>
            </a: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,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명절의 영향</a:t>
            </a:r>
            <a:endParaRPr lang="en-US" altLang="ko-KR" sz="1300" u="none" dirty="0">
              <a:solidFill>
                <a:srgbClr val="A50021"/>
              </a:solidFill>
              <a:latin typeface="맑은 고딕"/>
              <a:ea typeface="맑은 고딕"/>
            </a:endParaRPr>
          </a:p>
        </p:txBody>
      </p:sp>
      <p:sp>
        <p:nvSpPr>
          <p:cNvPr id="31" name="Text Box 40"/>
          <p:cNvSpPr txBox="1">
            <a:spLocks noChangeArrowheads="1"/>
          </p:cNvSpPr>
          <p:nvPr/>
        </p:nvSpPr>
        <p:spPr bwMode="auto">
          <a:xfrm>
            <a:off x="7087369" y="4440524"/>
            <a:ext cx="2664000" cy="332399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>
            <a:spAutoFit/>
          </a:bodyPr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latinLnBrk="0" hangingPunct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: 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월</a:t>
            </a: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/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요일</a:t>
            </a: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/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근무일</a:t>
            </a: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/</a:t>
            </a:r>
            <a:r>
              <a:rPr lang="ko-KR" altLang="en-US" sz="1300" u="none" dirty="0" smtClean="0">
                <a:solidFill>
                  <a:srgbClr val="A50021"/>
                </a:solidFill>
                <a:latin typeface="맑은 고딕"/>
                <a:ea typeface="맑은 고딕"/>
              </a:rPr>
              <a:t>결제일의 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영향</a:t>
            </a:r>
            <a:endParaRPr lang="en-US" altLang="ko-KR" sz="1300" u="none" dirty="0">
              <a:solidFill>
                <a:srgbClr val="A50021"/>
              </a:solidFill>
              <a:latin typeface="맑은 고딕"/>
              <a:ea typeface="맑은 고딕"/>
            </a:endParaRPr>
          </a:p>
        </p:txBody>
      </p:sp>
      <p:sp>
        <p:nvSpPr>
          <p:cNvPr id="32" name="Text Box 40"/>
          <p:cNvSpPr txBox="1">
            <a:spLocks noChangeArrowheads="1"/>
          </p:cNvSpPr>
          <p:nvPr/>
        </p:nvSpPr>
        <p:spPr bwMode="auto">
          <a:xfrm>
            <a:off x="7090570" y="3392996"/>
            <a:ext cx="2664000" cy="308739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>
            <a:spAutoFit/>
          </a:bodyPr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41338" indent="-541338" defTabSz="914400" eaLnBrk="0" latinLnBrk="0" hangingPunct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: Special Event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의 영향</a:t>
            </a:r>
            <a:endParaRPr lang="en-US" altLang="ko-KR" sz="1300" u="none" dirty="0">
              <a:solidFill>
                <a:srgbClr val="A50021"/>
              </a:solidFill>
              <a:latin typeface="맑은 고딕"/>
              <a:ea typeface="맑은 고딕"/>
            </a:endParaRPr>
          </a:p>
        </p:txBody>
      </p:sp>
      <p:sp>
        <p:nvSpPr>
          <p:cNvPr id="34" name="Text Box 40"/>
          <p:cNvSpPr txBox="1">
            <a:spLocks noChangeArrowheads="1"/>
          </p:cNvSpPr>
          <p:nvPr/>
        </p:nvSpPr>
        <p:spPr bwMode="auto">
          <a:xfrm>
            <a:off x="7078544" y="1262873"/>
            <a:ext cx="2664000" cy="308739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>
            <a:spAutoFit/>
          </a:bodyPr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41338" indent="-541338" defTabSz="914400" eaLnBrk="0" latinLnBrk="0" hangingPunct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: BASE</a:t>
            </a:r>
          </a:p>
        </p:txBody>
      </p:sp>
      <p:sp>
        <p:nvSpPr>
          <p:cNvPr id="35" name="Text Box 40"/>
          <p:cNvSpPr txBox="1">
            <a:spLocks noChangeArrowheads="1"/>
          </p:cNvSpPr>
          <p:nvPr/>
        </p:nvSpPr>
        <p:spPr bwMode="auto">
          <a:xfrm>
            <a:off x="7074829" y="1772833"/>
            <a:ext cx="2664000" cy="308739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>
            <a:spAutoFit/>
          </a:bodyPr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41338" indent="-541338" defTabSz="914400" eaLnBrk="0" latinLnBrk="0" hangingPunct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: 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기온의 영향</a:t>
            </a:r>
            <a:endParaRPr lang="en-US" altLang="ko-KR" sz="1300" u="none" dirty="0">
              <a:solidFill>
                <a:srgbClr val="A50021"/>
              </a:solidFill>
              <a:latin typeface="맑은 고딕"/>
              <a:ea typeface="맑은 고딕"/>
            </a:endParaRPr>
          </a:p>
        </p:txBody>
      </p:sp>
      <p:sp>
        <p:nvSpPr>
          <p:cNvPr id="38" name="AutoShape 52"/>
          <p:cNvSpPr>
            <a:spLocks noChangeArrowheads="1"/>
          </p:cNvSpPr>
          <p:nvPr/>
        </p:nvSpPr>
        <p:spPr bwMode="auto">
          <a:xfrm rot="10800000">
            <a:off x="6738950" y="2437370"/>
            <a:ext cx="2736850" cy="526732"/>
          </a:xfrm>
          <a:prstGeom prst="rightArrow">
            <a:avLst>
              <a:gd name="adj1" fmla="val 48657"/>
              <a:gd name="adj2" fmla="val 37186"/>
            </a:avLst>
          </a:prstGeom>
          <a:gradFill flip="none" rotWithShape="1">
            <a:gsLst>
              <a:gs pos="0">
                <a:schemeClr val="bg1">
                  <a:lumMod val="50000"/>
                  <a:tint val="66000"/>
                  <a:satMod val="160000"/>
                </a:schemeClr>
              </a:gs>
              <a:gs pos="50000">
                <a:schemeClr val="bg1">
                  <a:lumMod val="50000"/>
                  <a:tint val="44500"/>
                  <a:satMod val="160000"/>
                </a:schemeClr>
              </a:gs>
              <a:gs pos="100000">
                <a:schemeClr val="bg1">
                  <a:lumMod val="50000"/>
                  <a:tint val="23500"/>
                  <a:satMod val="160000"/>
                </a:schemeClr>
              </a:gs>
            </a:gsLst>
            <a:lin ang="10800000" scaled="1"/>
            <a:tileRect/>
          </a:gradFill>
          <a:ln w="1270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ko-KR" altLang="en-US" sz="1300" u="none" dirty="0" smtClean="0">
              <a:solidFill>
                <a:srgbClr val="000000"/>
              </a:solidFill>
              <a:ea typeface="맑은 고딕" pitchFamily="50" charset="-127"/>
            </a:endParaRPr>
          </a:p>
        </p:txBody>
      </p:sp>
      <p:sp>
        <p:nvSpPr>
          <p:cNvPr id="33" name="Text Box 40"/>
          <p:cNvSpPr txBox="1">
            <a:spLocks noChangeArrowheads="1"/>
          </p:cNvSpPr>
          <p:nvPr/>
        </p:nvSpPr>
        <p:spPr bwMode="auto">
          <a:xfrm>
            <a:off x="7085461" y="2535474"/>
            <a:ext cx="2664000" cy="308739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>
            <a:spAutoFit/>
          </a:bodyPr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41338" indent="-541338" defTabSz="914400" eaLnBrk="0" latinLnBrk="0" hangingPunct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: 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일</a:t>
            </a: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/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년</a:t>
            </a: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Trend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의 영향</a:t>
            </a:r>
            <a:endParaRPr lang="en-US" altLang="ko-KR" sz="1300" u="none" dirty="0">
              <a:solidFill>
                <a:srgbClr val="A50021"/>
              </a:solidFill>
              <a:latin typeface="맑은 고딕"/>
              <a:ea typeface="맑은 고딕"/>
            </a:endParaRPr>
          </a:p>
        </p:txBody>
      </p:sp>
      <p:sp>
        <p:nvSpPr>
          <p:cNvPr id="16" name="실행 단추: 앞으로 또는 다음 15">
            <a:hlinkClick r:id="rId2" action="ppaction://hlinksldjump" highlightClick="1"/>
          </p:cNvPr>
          <p:cNvSpPr/>
          <p:nvPr/>
        </p:nvSpPr>
        <p:spPr bwMode="auto">
          <a:xfrm>
            <a:off x="8337376" y="242672"/>
            <a:ext cx="231786" cy="234000"/>
          </a:xfrm>
          <a:prstGeom prst="actionButtonForwardNext">
            <a:avLst/>
          </a:prstGeom>
          <a:solidFill>
            <a:sysClr val="window" lastClr="FFFFFF"/>
          </a:solidFill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36000" rIns="90000" bIns="3600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ko-KR" altLang="en-US" sz="1300" b="0" u="none" kern="0" dirty="0" smtClean="0">
              <a:solidFill>
                <a:sysClr val="windowText" lastClr="000000"/>
              </a:solidFill>
              <a:latin typeface="맑은 고딕" pitchFamily="50" charset="-127"/>
            </a:endParaRPr>
          </a:p>
        </p:txBody>
      </p:sp>
      <p:sp>
        <p:nvSpPr>
          <p:cNvPr id="18" name="직사각형 17"/>
          <p:cNvSpPr/>
          <p:nvPr/>
        </p:nvSpPr>
        <p:spPr bwMode="auto">
          <a:xfrm>
            <a:off x="7739082" y="114300"/>
            <a:ext cx="2000264" cy="782637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altLang="ko-KR" sz="2000" u="none" dirty="0" smtClean="0">
                <a:solidFill>
                  <a:srgbClr val="FFFFFF"/>
                </a:solidFill>
              </a:rPr>
              <a:t>version 1</a:t>
            </a:r>
          </a:p>
        </p:txBody>
      </p:sp>
      <p:grpSp>
        <p:nvGrpSpPr>
          <p:cNvPr id="2" name="그룹 52"/>
          <p:cNvGrpSpPr>
            <a:grpSpLocks noChangeAspect="1"/>
          </p:cNvGrpSpPr>
          <p:nvPr/>
        </p:nvGrpSpPr>
        <p:grpSpPr>
          <a:xfrm rot="538037">
            <a:off x="8745342" y="971371"/>
            <a:ext cx="979200" cy="307777"/>
            <a:chOff x="-162410" y="2120401"/>
            <a:chExt cx="1491428" cy="461717"/>
          </a:xfrm>
        </p:grpSpPr>
        <p:sp>
          <p:nvSpPr>
            <p:cNvPr id="21" name="Line 17"/>
            <p:cNvSpPr>
              <a:spLocks noChangeShapeType="1"/>
            </p:cNvSpPr>
            <p:nvPr/>
          </p:nvSpPr>
          <p:spPr bwMode="auto">
            <a:xfrm flipV="1">
              <a:off x="-142612" y="2132856"/>
              <a:ext cx="1440000" cy="0"/>
            </a:xfrm>
            <a:prstGeom prst="line">
              <a:avLst/>
            </a:prstGeom>
            <a:noFill/>
            <a:ln w="25400" cmpd="tri">
              <a:solidFill>
                <a:sysClr val="windowText" lastClr="000000">
                  <a:lumMod val="65000"/>
                  <a:lumOff val="35000"/>
                </a:sys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2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u="none" kern="0" spc="-1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맑은 고딕" pitchFamily="50" charset="-127"/>
              </a:endParaRPr>
            </a:p>
          </p:txBody>
        </p:sp>
        <p:sp>
          <p:nvSpPr>
            <p:cNvPr id="22" name="Line 17"/>
            <p:cNvSpPr>
              <a:spLocks noChangeShapeType="1"/>
            </p:cNvSpPr>
            <p:nvPr/>
          </p:nvSpPr>
          <p:spPr bwMode="auto">
            <a:xfrm flipV="1">
              <a:off x="-142612" y="2564904"/>
              <a:ext cx="1440000" cy="0"/>
            </a:xfrm>
            <a:prstGeom prst="line">
              <a:avLst/>
            </a:prstGeom>
            <a:noFill/>
            <a:ln w="25400" cmpd="tri">
              <a:solidFill>
                <a:sysClr val="windowText" lastClr="000000">
                  <a:lumMod val="65000"/>
                  <a:lumOff val="35000"/>
                </a:sys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2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u="none" kern="0" spc="-1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맑은 고딕" pitchFamily="50" charset="-127"/>
              </a:endParaRPr>
            </a:p>
          </p:txBody>
        </p:sp>
        <p:sp>
          <p:nvSpPr>
            <p:cNvPr id="23" name="Text Box 16"/>
            <p:cNvSpPr txBox="1">
              <a:spLocks noChangeArrowheads="1"/>
            </p:cNvSpPr>
            <p:nvPr/>
          </p:nvSpPr>
          <p:spPr bwMode="auto">
            <a:xfrm>
              <a:off x="-162410" y="2120401"/>
              <a:ext cx="1491428" cy="46171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anchor="ctr">
              <a:spAutoFit/>
            </a:bodyPr>
            <a:lstStyle/>
            <a:p>
              <a:pPr algn="ctr" defTabSz="762000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ko-KR" u="none" kern="0" spc="-100" dirty="0" smtClean="0">
                  <a:solidFill>
                    <a:sysClr val="windowText" lastClr="000000">
                      <a:lumMod val="65000"/>
                      <a:lumOff val="35000"/>
                    </a:sysClr>
                  </a:solidFill>
                  <a:latin typeface="맑은 고딕" pitchFamily="50" charset="-127"/>
                </a:rPr>
                <a:t>Illustrative</a:t>
              </a:r>
              <a:endParaRPr lang="ko-KR" altLang="en-US" u="none" kern="0" spc="-1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맑은 고딕" pitchFamily="50" charset="-127"/>
              </a:endParaRP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891" name="Rectangle 3"/>
          <p:cNvSpPr txBox="1">
            <a:spLocks noChangeArrowheads="1"/>
          </p:cNvSpPr>
          <p:nvPr/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 latinLnBrk="1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Cass Bottle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 판매량의 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회귀 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식은 기온</a:t>
            </a: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눈</a:t>
            </a:r>
            <a:r>
              <a:rPr kumimoji="1" lang="en-US" altLang="ko-KR" sz="1600" u="none" dirty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비</a:t>
            </a: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일자</a:t>
            </a: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설명변수로 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표현됨</a:t>
            </a:r>
            <a:endParaRPr kumimoji="1" lang="en-US" altLang="ko-KR" sz="1600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grpSp>
        <p:nvGrpSpPr>
          <p:cNvPr id="2" name="그룹 52"/>
          <p:cNvGrpSpPr>
            <a:grpSpLocks noChangeAspect="1"/>
          </p:cNvGrpSpPr>
          <p:nvPr/>
        </p:nvGrpSpPr>
        <p:grpSpPr>
          <a:xfrm rot="538037">
            <a:off x="8745342" y="971371"/>
            <a:ext cx="979200" cy="307777"/>
            <a:chOff x="-162410" y="2120401"/>
            <a:chExt cx="1491428" cy="461717"/>
          </a:xfrm>
        </p:grpSpPr>
        <p:sp>
          <p:nvSpPr>
            <p:cNvPr id="19" name="Line 17"/>
            <p:cNvSpPr>
              <a:spLocks noChangeShapeType="1"/>
            </p:cNvSpPr>
            <p:nvPr/>
          </p:nvSpPr>
          <p:spPr bwMode="auto">
            <a:xfrm flipV="1">
              <a:off x="-142612" y="2132856"/>
              <a:ext cx="1440000" cy="0"/>
            </a:xfrm>
            <a:prstGeom prst="line">
              <a:avLst/>
            </a:prstGeom>
            <a:noFill/>
            <a:ln w="25400" cmpd="tri">
              <a:solidFill>
                <a:sysClr val="windowText" lastClr="000000">
                  <a:lumMod val="65000"/>
                  <a:lumOff val="35000"/>
                </a:sys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2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u="none" kern="0" spc="-1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맑은 고딕" pitchFamily="50" charset="-127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 flipV="1">
              <a:off x="-142612" y="2564904"/>
              <a:ext cx="1440000" cy="0"/>
            </a:xfrm>
            <a:prstGeom prst="line">
              <a:avLst/>
            </a:prstGeom>
            <a:noFill/>
            <a:ln w="25400" cmpd="tri">
              <a:solidFill>
                <a:sysClr val="windowText" lastClr="000000">
                  <a:lumMod val="65000"/>
                  <a:lumOff val="35000"/>
                </a:sys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2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u="none" kern="0" spc="-1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맑은 고딕" pitchFamily="50" charset="-127"/>
              </a:endParaRPr>
            </a:p>
          </p:txBody>
        </p:sp>
        <p:sp>
          <p:nvSpPr>
            <p:cNvPr id="21" name="Text Box 16"/>
            <p:cNvSpPr txBox="1">
              <a:spLocks noChangeArrowheads="1"/>
            </p:cNvSpPr>
            <p:nvPr/>
          </p:nvSpPr>
          <p:spPr bwMode="auto">
            <a:xfrm>
              <a:off x="-162410" y="2120401"/>
              <a:ext cx="1491428" cy="46171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anchor="ctr">
              <a:spAutoFit/>
            </a:bodyPr>
            <a:lstStyle/>
            <a:p>
              <a:pPr algn="ctr" defTabSz="762000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ko-KR" u="none" kern="0" spc="-100" dirty="0" smtClean="0">
                  <a:solidFill>
                    <a:sysClr val="windowText" lastClr="000000">
                      <a:lumMod val="65000"/>
                      <a:lumOff val="35000"/>
                    </a:sysClr>
                  </a:solidFill>
                  <a:latin typeface="맑은 고딕" pitchFamily="50" charset="-127"/>
                </a:rPr>
                <a:t>Illustrative</a:t>
              </a:r>
              <a:endParaRPr lang="ko-KR" altLang="en-US" u="none" kern="0" spc="-1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맑은 고딕" pitchFamily="50" charset="-127"/>
              </a:endParaRPr>
            </a:p>
          </p:txBody>
        </p:sp>
      </p:grpSp>
      <p:sp>
        <p:nvSpPr>
          <p:cNvPr id="22" name="직사각형 21"/>
          <p:cNvSpPr/>
          <p:nvPr/>
        </p:nvSpPr>
        <p:spPr bwMode="auto">
          <a:xfrm>
            <a:off x="7739082" y="114300"/>
            <a:ext cx="2000264" cy="782637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altLang="ko-KR" sz="2000" u="none" dirty="0" smtClean="0">
                <a:solidFill>
                  <a:srgbClr val="FFFFFF"/>
                </a:solidFill>
              </a:rPr>
              <a:t>version 2</a:t>
            </a:r>
          </a:p>
        </p:txBody>
      </p:sp>
      <p:sp>
        <p:nvSpPr>
          <p:cNvPr id="25" name="Rectangle 2"/>
          <p:cNvSpPr>
            <a:spLocks noGrp="1" noChangeArrowheads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dirty="0" smtClean="0">
                <a:latin typeface="맑은 고딕" pitchFamily="50" charset="-127"/>
              </a:rPr>
              <a:t>모형결과 </a:t>
            </a:r>
            <a:r>
              <a:rPr lang="en-US" altLang="ko-KR" dirty="0" smtClean="0">
                <a:latin typeface="맑은 고딕" pitchFamily="50" charset="-127"/>
              </a:rPr>
              <a:t>– Cass Bottle</a:t>
            </a:r>
            <a:r>
              <a:rPr lang="ko-KR" altLang="en-US" dirty="0" smtClean="0">
                <a:latin typeface="맑은 고딕" pitchFamily="50" charset="-127"/>
              </a:rPr>
              <a:t> 판매량 </a:t>
            </a:r>
            <a:r>
              <a:rPr lang="ko-KR" altLang="en-US" dirty="0" err="1" smtClean="0">
                <a:latin typeface="맑은 고딕" pitchFamily="50" charset="-127"/>
              </a:rPr>
              <a:t>주별</a:t>
            </a:r>
            <a:r>
              <a:rPr lang="ko-KR" altLang="en-US" dirty="0" smtClean="0">
                <a:latin typeface="맑은 고딕" pitchFamily="50" charset="-127"/>
              </a:rPr>
              <a:t> 예측 </a:t>
            </a:r>
            <a:r>
              <a:rPr lang="en-US" altLang="ko-KR" dirty="0" smtClean="0">
                <a:latin typeface="맑은 고딕" pitchFamily="50" charset="-127"/>
              </a:rPr>
              <a:t>(3) Regression Equation</a:t>
            </a:r>
          </a:p>
        </p:txBody>
      </p:sp>
      <p:graphicFrame>
        <p:nvGraphicFramePr>
          <p:cNvPr id="24" name="표 23"/>
          <p:cNvGraphicFramePr>
            <a:graphicFrameLocks noGrp="1"/>
          </p:cNvGraphicFramePr>
          <p:nvPr/>
        </p:nvGraphicFramePr>
        <p:xfrm>
          <a:off x="1516286" y="1507712"/>
          <a:ext cx="3384000" cy="4419600"/>
        </p:xfrm>
        <a:graphic>
          <a:graphicData uri="http://schemas.openxmlformats.org/drawingml/2006/table">
            <a:tbl>
              <a:tblPr/>
              <a:tblGrid>
                <a:gridCol w="1332000"/>
                <a:gridCol w="2052000"/>
              </a:tblGrid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76,899.10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　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1,331.92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평균온도</a:t>
                      </a:r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_</a:t>
                      </a:r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0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746.40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평균온도</a:t>
                      </a:r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_</a:t>
                      </a:r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2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911.69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평균온도</a:t>
                      </a:r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_</a:t>
                      </a:r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0_mav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,551.64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평균온도</a:t>
                      </a:r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_4</a:t>
                      </a:r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days_T0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,588.74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최대온도</a:t>
                      </a:r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_</a:t>
                      </a:r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0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95.10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최대온도</a:t>
                      </a:r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_</a:t>
                      </a:r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2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406.57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눈</a:t>
                      </a:r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_</a:t>
                      </a:r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4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︙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300" b="1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5.19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DAY_SEQ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3,091.14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YEAR_2010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3,103.18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YEAR_2011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8,147.07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YEAR_2012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48,578.27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YEAR_2013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69,681.62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YEAR_2014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38,230.68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 err="1" smtClean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Claim_Effect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38,036.02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가격인상이후효과</a:t>
                      </a:r>
                      <a:endParaRPr lang="ko-KR" altLang="en-US" sz="1300" b="1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69,029.59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가격인상이전효과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34,387.53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가격인상효과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3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︙</a:t>
                      </a:r>
                      <a:endParaRPr lang="en-US" altLang="ko-KR" sz="1300" b="1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300" b="1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aphicFrame>
        <p:nvGraphicFramePr>
          <p:cNvPr id="26" name="표 25"/>
          <p:cNvGraphicFramePr>
            <a:graphicFrameLocks noGrp="1"/>
          </p:cNvGraphicFramePr>
          <p:nvPr/>
        </p:nvGraphicFramePr>
        <p:xfrm>
          <a:off x="6016880" y="1507712"/>
          <a:ext cx="3384000" cy="4490556"/>
        </p:xfrm>
        <a:graphic>
          <a:graphicData uri="http://schemas.openxmlformats.org/drawingml/2006/table">
            <a:tbl>
              <a:tblPr/>
              <a:tblGrid>
                <a:gridCol w="1332000"/>
                <a:gridCol w="2052000"/>
              </a:tblGrid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7,678.57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r>
                        <a:rPr lang="ko-KR" altLang="en-US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9,591.07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lang="ko-KR" altLang="en-US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15,009.27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r>
                        <a:rPr lang="ko-KR" altLang="en-US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15,625.95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4</a:t>
                      </a:r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︙</a:t>
                      </a:r>
                      <a:endParaRPr lang="en-US" altLang="ko-KR" sz="1300" b="1" i="0" u="none" strike="noStrike" dirty="0" smtClean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300" b="1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91,724.78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MON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94,344.24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UE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110,455.82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ED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98,930.03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HU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94,348.34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FRI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8,373.05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ORKING_DAY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3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︙</a:t>
                      </a:r>
                      <a:endParaRPr lang="en-US" altLang="ko-KR" sz="1300" b="1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3,322.25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추석효과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,262.04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설날효과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8,885.25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어린이날이후효과</a:t>
                      </a:r>
                      <a:endParaRPr lang="ko-KR" altLang="en-US" sz="1300" b="1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8,053.23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어린이날이전효과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17,828.58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어린이날효과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7,864.80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크리스마스이후효과</a:t>
                      </a:r>
                      <a:endParaRPr lang="ko-KR" altLang="en-US" sz="1300" b="1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1,995.94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크리스마스이전효과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12,799.17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크리스마스효과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3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︙</a:t>
                      </a:r>
                      <a:endParaRPr lang="en-US" altLang="ko-KR" sz="1300" b="1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108000" marT="487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27" name="직사각형 26"/>
          <p:cNvSpPr/>
          <p:nvPr/>
        </p:nvSpPr>
        <p:spPr bwMode="auto">
          <a:xfrm>
            <a:off x="503413" y="1746466"/>
            <a:ext cx="973128" cy="1735200"/>
          </a:xfrm>
          <a:prstGeom prst="rect">
            <a:avLst/>
          </a:prstGeom>
          <a:solidFill>
            <a:srgbClr val="FF0000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762000" eaLnBrk="0" hangingPunct="0">
              <a:spcBef>
                <a:spcPct val="20000"/>
              </a:spcBef>
              <a:buSzPct val="80000"/>
              <a:buFont typeface="Wingdings" pitchFamily="2" charset="2"/>
              <a:buNone/>
              <a:defRPr/>
            </a:pPr>
            <a:r>
              <a:rPr lang="ko-KR" altLang="en-US" sz="1300" u="none" dirty="0" smtClean="0">
                <a:solidFill>
                  <a:srgbClr val="FFFFFF"/>
                </a:solidFill>
                <a:latin typeface="맑은 고딕" pitchFamily="50" charset="-127"/>
              </a:rPr>
              <a:t>기온</a:t>
            </a:r>
            <a:endParaRPr lang="en-US" altLang="ko-KR" sz="1300" u="none" dirty="0" smtClean="0">
              <a:solidFill>
                <a:srgbClr val="FFFFFF"/>
              </a:solidFill>
              <a:latin typeface="맑은 고딕" pitchFamily="50" charset="-127"/>
            </a:endParaRPr>
          </a:p>
        </p:txBody>
      </p:sp>
      <p:sp>
        <p:nvSpPr>
          <p:cNvPr id="28" name="직사각형 27"/>
          <p:cNvSpPr/>
          <p:nvPr/>
        </p:nvSpPr>
        <p:spPr bwMode="auto">
          <a:xfrm>
            <a:off x="503747" y="3514258"/>
            <a:ext cx="973128" cy="1292400"/>
          </a:xfrm>
          <a:prstGeom prst="rect">
            <a:avLst/>
          </a:prstGeom>
          <a:solidFill>
            <a:srgbClr val="FF9933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ctr"/>
            <a:r>
              <a:rPr lang="ko-KR" altLang="en-US" sz="1300" u="none" dirty="0" smtClean="0">
                <a:solidFill>
                  <a:srgbClr val="000000"/>
                </a:solidFill>
                <a:latin typeface="맑은 고딕" pitchFamily="50" charset="-127"/>
              </a:rPr>
              <a:t>일</a:t>
            </a:r>
            <a:r>
              <a:rPr lang="en-US" altLang="ko-KR" sz="1300" u="none" dirty="0" smtClean="0">
                <a:solidFill>
                  <a:srgbClr val="000000"/>
                </a:solidFill>
                <a:latin typeface="맑은 고딕" pitchFamily="50" charset="-127"/>
              </a:rPr>
              <a:t>/</a:t>
            </a:r>
            <a:r>
              <a:rPr lang="ko-KR" altLang="en-US" sz="1300" u="none" dirty="0" smtClean="0">
                <a:solidFill>
                  <a:srgbClr val="000000"/>
                </a:solidFill>
                <a:latin typeface="맑은 고딕" pitchFamily="50" charset="-127"/>
              </a:rPr>
              <a:t>년 </a:t>
            </a:r>
            <a:r>
              <a:rPr lang="en-US" altLang="ko-KR" sz="1300" u="none" dirty="0" smtClean="0">
                <a:solidFill>
                  <a:srgbClr val="000000"/>
                </a:solidFill>
                <a:latin typeface="맑은 고딕" pitchFamily="50" charset="-127"/>
              </a:rPr>
              <a:t>Trend</a:t>
            </a:r>
            <a:endParaRPr lang="en-US" altLang="ko-KR" sz="1300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29" name="직사각형 28"/>
          <p:cNvSpPr/>
          <p:nvPr/>
        </p:nvSpPr>
        <p:spPr bwMode="auto">
          <a:xfrm>
            <a:off x="505058" y="4836335"/>
            <a:ext cx="973128" cy="1094400"/>
          </a:xfrm>
          <a:prstGeom prst="rect">
            <a:avLst/>
          </a:prstGeom>
          <a:solidFill>
            <a:srgbClr val="FFCC00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ctr"/>
            <a:r>
              <a:rPr lang="en-US" altLang="ko-KR" sz="1300" u="none" dirty="0" smtClean="0">
                <a:solidFill>
                  <a:srgbClr val="000000"/>
                </a:solidFill>
                <a:latin typeface="맑은 고딕" pitchFamily="50" charset="-127"/>
              </a:rPr>
              <a:t>Special </a:t>
            </a:r>
          </a:p>
          <a:p>
            <a:pPr algn="ctr" fontAlgn="ctr"/>
            <a:r>
              <a:rPr lang="en-US" altLang="ko-KR" sz="1300" u="none" dirty="0" smtClean="0">
                <a:solidFill>
                  <a:srgbClr val="000000"/>
                </a:solidFill>
                <a:latin typeface="맑은 고딕" pitchFamily="50" charset="-127"/>
              </a:rPr>
              <a:t>Event</a:t>
            </a:r>
          </a:p>
        </p:txBody>
      </p:sp>
      <p:sp>
        <p:nvSpPr>
          <p:cNvPr id="42" name="직사각형 41"/>
          <p:cNvSpPr/>
          <p:nvPr/>
        </p:nvSpPr>
        <p:spPr bwMode="auto">
          <a:xfrm>
            <a:off x="503413" y="1507712"/>
            <a:ext cx="973128" cy="205703"/>
          </a:xfrm>
          <a:prstGeom prst="rect">
            <a:avLst/>
          </a:prstGeom>
          <a:solidFill>
            <a:srgbClr val="A50021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762000" eaLnBrk="0" hangingPunct="0">
              <a:spcBef>
                <a:spcPct val="20000"/>
              </a:spcBef>
              <a:buSzPct val="80000"/>
              <a:buFont typeface="Wingdings" pitchFamily="2" charset="2"/>
              <a:buNone/>
              <a:defRPr/>
            </a:pPr>
            <a:r>
              <a:rPr lang="en-US" altLang="ko-KR" sz="1300" u="none" dirty="0" smtClean="0">
                <a:solidFill>
                  <a:srgbClr val="FFFFFF"/>
                </a:solidFill>
                <a:latin typeface="맑은 고딕" pitchFamily="50" charset="-127"/>
              </a:rPr>
              <a:t>BASE</a:t>
            </a:r>
          </a:p>
        </p:txBody>
      </p:sp>
      <p:sp>
        <p:nvSpPr>
          <p:cNvPr id="30" name="직사각형 29"/>
          <p:cNvSpPr/>
          <p:nvPr/>
        </p:nvSpPr>
        <p:spPr bwMode="auto">
          <a:xfrm>
            <a:off x="5013272" y="4096308"/>
            <a:ext cx="973128" cy="1912248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ctr"/>
            <a:r>
              <a:rPr lang="ko-KR" altLang="en-US" sz="1300" u="none" dirty="0" smtClean="0">
                <a:solidFill>
                  <a:srgbClr val="000000"/>
                </a:solidFill>
                <a:latin typeface="맑은 고딕" pitchFamily="50" charset="-127"/>
              </a:rPr>
              <a:t>휴일</a:t>
            </a:r>
            <a:r>
              <a:rPr lang="en-US" altLang="ko-KR" sz="1300" u="none" dirty="0" smtClean="0">
                <a:solidFill>
                  <a:srgbClr val="000000"/>
                </a:solidFill>
                <a:latin typeface="맑은 고딕" pitchFamily="50" charset="-127"/>
              </a:rPr>
              <a:t>/</a:t>
            </a:r>
            <a:r>
              <a:rPr lang="ko-KR" altLang="en-US" sz="1300" u="none" dirty="0" smtClean="0">
                <a:solidFill>
                  <a:srgbClr val="000000"/>
                </a:solidFill>
                <a:latin typeface="맑은 고딕" pitchFamily="50" charset="-127"/>
              </a:rPr>
              <a:t>명절</a:t>
            </a:r>
            <a:endParaRPr lang="en-US" altLang="ko-KR" sz="1300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31" name="직사각형 30"/>
          <p:cNvSpPr/>
          <p:nvPr/>
        </p:nvSpPr>
        <p:spPr bwMode="auto">
          <a:xfrm>
            <a:off x="5013272" y="1521282"/>
            <a:ext cx="973128" cy="2538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ctr"/>
            <a:r>
              <a:rPr lang="ko-KR" altLang="en-US" sz="1300" u="none" dirty="0" smtClean="0">
                <a:solidFill>
                  <a:srgbClr val="000000"/>
                </a:solidFill>
                <a:latin typeface="맑은 고딕"/>
                <a:ea typeface="맑은 고딕"/>
              </a:rPr>
              <a:t>월</a:t>
            </a:r>
            <a:r>
              <a:rPr lang="en-US" altLang="ko-KR" sz="1300" u="none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300" u="none" dirty="0" smtClean="0">
                <a:solidFill>
                  <a:srgbClr val="000000"/>
                </a:solidFill>
                <a:latin typeface="맑은 고딕"/>
                <a:ea typeface="맑은 고딕"/>
              </a:rPr>
              <a:t>요일</a:t>
            </a:r>
            <a:r>
              <a:rPr lang="en-US" altLang="ko-KR" sz="1300" u="none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</a:p>
          <a:p>
            <a:pPr algn="ctr" fontAlgn="ctr"/>
            <a:r>
              <a:rPr lang="ko-KR" altLang="en-US" sz="1300" u="none" dirty="0" smtClean="0">
                <a:solidFill>
                  <a:srgbClr val="000000"/>
                </a:solidFill>
                <a:latin typeface="맑은 고딕"/>
                <a:ea typeface="맑은 고딕"/>
              </a:rPr>
              <a:t>근무일</a:t>
            </a:r>
            <a:r>
              <a:rPr lang="en-US" altLang="ko-KR" sz="1300" u="none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</a:p>
          <a:p>
            <a:pPr algn="ctr" fontAlgn="ctr"/>
            <a:r>
              <a:rPr lang="ko-KR" altLang="en-US" sz="1300" u="none" dirty="0" smtClean="0">
                <a:solidFill>
                  <a:srgbClr val="000000"/>
                </a:solidFill>
                <a:latin typeface="맑은 고딕"/>
                <a:ea typeface="맑은 고딕"/>
              </a:rPr>
              <a:t>결제일</a:t>
            </a:r>
            <a:endParaRPr lang="en-US" altLang="ko-KR" sz="1300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cxnSp>
        <p:nvCxnSpPr>
          <p:cNvPr id="32" name="직선 연결선 31"/>
          <p:cNvCxnSpPr/>
          <p:nvPr/>
        </p:nvCxnSpPr>
        <p:spPr bwMode="auto">
          <a:xfrm>
            <a:off x="503412" y="1472462"/>
            <a:ext cx="4428000" cy="870"/>
          </a:xfrm>
          <a:prstGeom prst="line">
            <a:avLst/>
          </a:prstGeom>
          <a:solidFill>
            <a:schemeClr val="accent1"/>
          </a:solidFill>
          <a:ln>
            <a:solidFill>
              <a:schemeClr val="tx1"/>
            </a:solidFill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TextBox 32"/>
          <p:cNvSpPr txBox="1"/>
          <p:nvPr/>
        </p:nvSpPr>
        <p:spPr>
          <a:xfrm>
            <a:off x="1952604" y="1214422"/>
            <a:ext cx="518091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00" u="none" dirty="0" smtClean="0">
                <a:solidFill>
                  <a:srgbClr val="000000"/>
                </a:solidFill>
              </a:rPr>
              <a:t>계수</a:t>
            </a:r>
            <a:endParaRPr lang="ko-KR" altLang="en-US" sz="1300" u="none" dirty="0">
              <a:solidFill>
                <a:srgbClr val="000000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506215" y="1214422"/>
            <a:ext cx="684803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00" u="none" dirty="0" err="1" smtClean="0">
                <a:solidFill>
                  <a:srgbClr val="000000"/>
                </a:solidFill>
              </a:rPr>
              <a:t>변수명</a:t>
            </a:r>
            <a:endParaRPr lang="ko-KR" altLang="en-US" sz="1300" u="none" dirty="0">
              <a:solidFill>
                <a:srgbClr val="000000"/>
              </a:solidFill>
            </a:endParaRPr>
          </a:p>
        </p:txBody>
      </p:sp>
      <p:cxnSp>
        <p:nvCxnSpPr>
          <p:cNvPr id="35" name="직선 연결선 34"/>
          <p:cNvCxnSpPr/>
          <p:nvPr/>
        </p:nvCxnSpPr>
        <p:spPr bwMode="auto">
          <a:xfrm>
            <a:off x="5008010" y="1474852"/>
            <a:ext cx="4428000" cy="870"/>
          </a:xfrm>
          <a:prstGeom prst="line">
            <a:avLst/>
          </a:prstGeom>
          <a:solidFill>
            <a:schemeClr val="accent1"/>
          </a:solidFill>
          <a:ln>
            <a:solidFill>
              <a:schemeClr val="tx1"/>
            </a:solidFill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TextBox 37"/>
          <p:cNvSpPr txBox="1"/>
          <p:nvPr/>
        </p:nvSpPr>
        <p:spPr>
          <a:xfrm>
            <a:off x="6457202" y="1216812"/>
            <a:ext cx="518091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00" u="none" dirty="0" smtClean="0">
                <a:solidFill>
                  <a:srgbClr val="000000"/>
                </a:solidFill>
              </a:rPr>
              <a:t>계수</a:t>
            </a:r>
            <a:endParaRPr lang="ko-KR" altLang="en-US" sz="1300" u="none" dirty="0">
              <a:solidFill>
                <a:srgbClr val="000000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8010813" y="1216812"/>
            <a:ext cx="684803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00" u="none" dirty="0" err="1" smtClean="0">
                <a:solidFill>
                  <a:srgbClr val="000000"/>
                </a:solidFill>
              </a:rPr>
              <a:t>변수명</a:t>
            </a:r>
            <a:endParaRPr lang="ko-KR" altLang="en-US" sz="1300" u="none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8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itchFamily="50" charset="-127"/>
              </a:rPr>
              <a:t>모형결과 </a:t>
            </a:r>
            <a:r>
              <a:rPr lang="en-US" altLang="ko-KR" dirty="0" smtClean="0">
                <a:latin typeface="맑은 고딕" pitchFamily="50" charset="-127"/>
              </a:rPr>
              <a:t>– Cass Can </a:t>
            </a:r>
            <a:r>
              <a:rPr lang="ko-KR" altLang="en-US" dirty="0" smtClean="0">
                <a:latin typeface="맑은 고딕" pitchFamily="50" charset="-127"/>
              </a:rPr>
              <a:t>판매량 </a:t>
            </a:r>
            <a:r>
              <a:rPr lang="ko-KR" altLang="en-US" dirty="0" err="1" smtClean="0">
                <a:latin typeface="맑은 고딕" pitchFamily="50" charset="-127"/>
              </a:rPr>
              <a:t>주별</a:t>
            </a:r>
            <a:r>
              <a:rPr lang="ko-KR" altLang="en-US" dirty="0" smtClean="0">
                <a:latin typeface="맑은 고딕" pitchFamily="50" charset="-127"/>
              </a:rPr>
              <a:t> 예측 </a:t>
            </a:r>
            <a:r>
              <a:rPr lang="en-US" altLang="ko-KR" dirty="0" smtClean="0">
                <a:latin typeface="맑은 고딕" pitchFamily="50" charset="-127"/>
              </a:rPr>
              <a:t>(1) Model Fitting</a:t>
            </a:r>
          </a:p>
        </p:txBody>
      </p:sp>
      <p:sp>
        <p:nvSpPr>
          <p:cNvPr id="291843" name="Text Box 16"/>
          <p:cNvSpPr txBox="1">
            <a:spLocks noChangeArrowheads="1"/>
          </p:cNvSpPr>
          <p:nvPr/>
        </p:nvSpPr>
        <p:spPr bwMode="auto">
          <a:xfrm>
            <a:off x="210057" y="607750"/>
            <a:ext cx="719931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>
              <a:spcBef>
                <a:spcPct val="20000"/>
              </a:spcBef>
            </a:pPr>
            <a:r>
              <a:rPr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 Cass Can </a:t>
            </a:r>
            <a:r>
              <a:rPr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판매량 </a:t>
            </a:r>
            <a:r>
              <a:rPr lang="ko-KR" altLang="en-US" sz="1600" u="none" dirty="0" err="1">
                <a:solidFill>
                  <a:srgbClr val="000000"/>
                </a:solidFill>
                <a:latin typeface="맑은 고딕" pitchFamily="50" charset="-127"/>
              </a:rPr>
              <a:t>주별</a:t>
            </a:r>
            <a:r>
              <a:rPr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 예측 </a:t>
            </a:r>
            <a:r>
              <a:rPr lang="en-US" altLang="ko-KR" sz="1600" u="none" dirty="0">
                <a:solidFill>
                  <a:srgbClr val="000000"/>
                </a:solidFill>
                <a:latin typeface="맑은 고딕" pitchFamily="50" charset="-127"/>
              </a:rPr>
              <a:t>(</a:t>
            </a:r>
            <a:r>
              <a:rPr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2014-08-24 </a:t>
            </a:r>
            <a:r>
              <a:rPr lang="en-US" altLang="ko-KR" sz="1600" u="none" dirty="0">
                <a:solidFill>
                  <a:srgbClr val="000000"/>
                </a:solidFill>
                <a:latin typeface="맑은 고딕" pitchFamily="50" charset="-127"/>
              </a:rPr>
              <a:t>~ </a:t>
            </a:r>
            <a:r>
              <a:rPr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2014-12-21)</a:t>
            </a:r>
            <a:endParaRPr lang="en-US" altLang="ko-KR" sz="1600" u="none" baseline="3000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12" name="AutoShape 43"/>
          <p:cNvSpPr>
            <a:spLocks noChangeArrowheads="1"/>
          </p:cNvSpPr>
          <p:nvPr/>
        </p:nvSpPr>
        <p:spPr bwMode="auto">
          <a:xfrm>
            <a:off x="7111009" y="4071942"/>
            <a:ext cx="2463817" cy="1461098"/>
          </a:xfrm>
          <a:prstGeom prst="roundRect">
            <a:avLst>
              <a:gd name="adj" fmla="val 0"/>
            </a:avLst>
          </a:prstGeom>
          <a:solidFill>
            <a:srgbClr val="FDF9F9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18000" tIns="18000" rIns="18000" bIns="18000" rtlCol="0" anchor="ctr"/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 defTabSz="912813" latinLnBrk="0">
              <a:spcBef>
                <a:spcPts val="1000"/>
              </a:spcBef>
              <a:buFont typeface="Wingdings" pitchFamily="2" charset="2"/>
              <a:buChar char="§"/>
            </a:pPr>
            <a:r>
              <a:rPr lang="ko-KR" altLang="en-US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예측모형 </a:t>
            </a: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R</a:t>
            </a:r>
            <a:r>
              <a:rPr lang="en-US" altLang="ko-KR" sz="1200" u="none" baseline="30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: 0.895,  </a:t>
            </a:r>
            <a:b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Adjusted R</a:t>
            </a:r>
            <a:r>
              <a:rPr lang="en-US" altLang="ko-KR" sz="1200" u="none" baseline="30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:  0.888</a:t>
            </a:r>
          </a:p>
          <a:p>
            <a:pPr marL="174625" indent="-174625" defTabSz="912813" latinLnBrk="0">
              <a:spcBef>
                <a:spcPts val="1000"/>
              </a:spcBef>
              <a:buFont typeface="Wingdings" pitchFamily="2" charset="2"/>
              <a:buChar char="§"/>
            </a:pP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’14</a:t>
            </a:r>
            <a:r>
              <a:rPr lang="ko-KR" altLang="en-US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년 </a:t>
            </a: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8</a:t>
            </a:r>
            <a:r>
              <a:rPr lang="ko-KR" altLang="en-US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월</a:t>
            </a: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~’14</a:t>
            </a:r>
            <a:r>
              <a:rPr lang="ko-KR" altLang="en-US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년 </a:t>
            </a: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11</a:t>
            </a:r>
            <a:r>
              <a:rPr lang="ko-KR" altLang="en-US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월</a:t>
            </a: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4</a:t>
            </a:r>
            <a:r>
              <a:rPr lang="ko-KR" altLang="en-US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월</a:t>
            </a: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 </a:t>
            </a:r>
            <a:b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ko-KR" altLang="en-US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예측 정확도</a:t>
            </a:r>
            <a:r>
              <a:rPr lang="en-US" altLang="ko-KR" sz="14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/>
            </a:r>
            <a:br>
              <a:rPr lang="en-US" altLang="ko-KR" sz="14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</a:b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- </a:t>
            </a:r>
            <a:r>
              <a:rPr kumimoji="1" lang="ko-KR" altLang="en-US" sz="1200" u="none" dirty="0" smtClean="0">
                <a:solidFill>
                  <a:srgbClr val="A50021"/>
                </a:solidFill>
                <a:latin typeface="맑은 고딕" pitchFamily="50" charset="-127"/>
                <a:ea typeface="맑은 고딕" pitchFamily="50" charset="-127"/>
              </a:rPr>
              <a:t>평균 </a:t>
            </a:r>
            <a:r>
              <a:rPr kumimoji="1" lang="en-US" altLang="ko-KR" sz="1400" u="none" dirty="0" smtClean="0">
                <a:solidFill>
                  <a:srgbClr val="A50021"/>
                </a:solidFill>
                <a:latin typeface="맑은 고딕" pitchFamily="50" charset="-127"/>
                <a:ea typeface="맑은 고딕" pitchFamily="50" charset="-127"/>
              </a:rPr>
              <a:t>96%</a:t>
            </a:r>
            <a:r>
              <a:rPr kumimoji="1" lang="en-US" altLang="ko-KR" sz="1200" u="none" dirty="0" smtClean="0">
                <a:solidFill>
                  <a:srgbClr val="A50021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endParaRPr lang="en-US" altLang="ko-KR" sz="1200" u="none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4" name="Text Box 19"/>
          <p:cNvSpPr txBox="1">
            <a:spLocks noChangeArrowheads="1"/>
          </p:cNvSpPr>
          <p:nvPr/>
        </p:nvSpPr>
        <p:spPr bwMode="auto">
          <a:xfrm>
            <a:off x="238125" y="6347798"/>
            <a:ext cx="9178925" cy="406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>
              <a:spcBef>
                <a:spcPct val="20000"/>
              </a:spcBef>
            </a:pPr>
            <a:r>
              <a:rPr lang="en-US" altLang="ko-KR" sz="1200" u="none" dirty="0" smtClean="0">
                <a:solidFill>
                  <a:srgbClr val="000000"/>
                </a:solidFill>
                <a:latin typeface="맑은 고딕" pitchFamily="50" charset="-127"/>
              </a:rPr>
              <a:t>* </a:t>
            </a:r>
            <a:r>
              <a:rPr lang="en-US" altLang="ko-KR" sz="1200" u="none" dirty="0">
                <a:solidFill>
                  <a:srgbClr val="000000"/>
                </a:solidFill>
                <a:latin typeface="맑은 고딕" pitchFamily="50" charset="-127"/>
              </a:rPr>
              <a:t>R-square : </a:t>
            </a:r>
            <a:r>
              <a:rPr lang="ko-KR" altLang="en-US" sz="1200" u="none" dirty="0">
                <a:solidFill>
                  <a:srgbClr val="000000"/>
                </a:solidFill>
                <a:latin typeface="맑은 고딕" pitchFamily="50" charset="-127"/>
              </a:rPr>
              <a:t>모델이 자료를 얼마나 잘 설명하는지를 나타내는 지표 </a:t>
            </a:r>
            <a:r>
              <a:rPr lang="en-US" altLang="ko-KR" sz="1200" u="none" dirty="0">
                <a:solidFill>
                  <a:srgbClr val="000000"/>
                </a:solidFill>
                <a:latin typeface="맑은 고딕" pitchFamily="50" charset="-127"/>
              </a:rPr>
              <a:t>(100%</a:t>
            </a:r>
            <a:r>
              <a:rPr lang="ko-KR" altLang="en-US" sz="1200" u="none" dirty="0">
                <a:solidFill>
                  <a:srgbClr val="000000"/>
                </a:solidFill>
                <a:latin typeface="맑은 고딕" pitchFamily="50" charset="-127"/>
              </a:rPr>
              <a:t>에 가까우면 모델의 설명력이 좋음</a:t>
            </a:r>
            <a:r>
              <a:rPr lang="en-US" altLang="ko-KR" sz="1200" u="none" dirty="0">
                <a:solidFill>
                  <a:srgbClr val="000000"/>
                </a:solidFill>
                <a:latin typeface="맑은 고딕" pitchFamily="50" charset="-127"/>
              </a:rPr>
              <a:t>)</a:t>
            </a:r>
          </a:p>
          <a:p>
            <a:pPr>
              <a:spcBef>
                <a:spcPct val="20000"/>
              </a:spcBef>
              <a:buFontTx/>
              <a:buChar char="-"/>
            </a:pPr>
            <a:endParaRPr lang="en-US" altLang="ko-KR" sz="1200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graphicFrame>
        <p:nvGraphicFramePr>
          <p:cNvPr id="21" name="차트 20"/>
          <p:cNvGraphicFramePr/>
          <p:nvPr/>
        </p:nvGraphicFramePr>
        <p:xfrm>
          <a:off x="332730" y="3643314"/>
          <a:ext cx="6778280" cy="25717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2" name="표 21"/>
          <p:cNvGraphicFramePr>
            <a:graphicFrameLocks noGrp="1"/>
          </p:cNvGraphicFramePr>
          <p:nvPr/>
        </p:nvGraphicFramePr>
        <p:xfrm>
          <a:off x="306349" y="1249680"/>
          <a:ext cx="9302789" cy="2179320"/>
        </p:xfrm>
        <a:graphic>
          <a:graphicData uri="http://schemas.openxmlformats.org/drawingml/2006/table">
            <a:tbl>
              <a:tblPr/>
              <a:tblGrid>
                <a:gridCol w="709949"/>
                <a:gridCol w="954760"/>
                <a:gridCol w="954760"/>
                <a:gridCol w="954760"/>
                <a:gridCol w="954760"/>
                <a:gridCol w="954760"/>
                <a:gridCol w="954760"/>
                <a:gridCol w="954760"/>
                <a:gridCol w="954760"/>
                <a:gridCol w="954760"/>
              </a:tblGrid>
              <a:tr h="188128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2-21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2-14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2-07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1-30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1-23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1-16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1-09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1-02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0-26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188128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실적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8128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예측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8128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오차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8128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정확도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6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00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9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9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6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00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4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5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0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</a:tr>
              <a:tr h="143863">
                <a:tc>
                  <a:txBody>
                    <a:bodyPr/>
                    <a:lstStyle/>
                    <a:p>
                      <a:pPr algn="l" rtl="0" fontAlgn="ctr"/>
                      <a:endParaRPr lang="ko-KR" altLang="en-US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8128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0-19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0-12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0-05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9-28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9-21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9-14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9-07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8-31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8-24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188128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실적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8128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예측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8128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오차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8128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정확도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2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1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5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00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1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6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00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8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7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</a:tr>
            </a:tbl>
          </a:graphicData>
        </a:graphic>
      </p:graphicFrame>
      <p:sp>
        <p:nvSpPr>
          <p:cNvPr id="23" name="직사각형 22"/>
          <p:cNvSpPr/>
          <p:nvPr/>
        </p:nvSpPr>
        <p:spPr>
          <a:xfrm>
            <a:off x="1023910" y="2357520"/>
            <a:ext cx="1920034" cy="1142918"/>
          </a:xfrm>
          <a:prstGeom prst="rect">
            <a:avLst/>
          </a:prstGeom>
          <a:solidFill>
            <a:srgbClr val="FFFF00">
              <a:alpha val="20000"/>
            </a:srgbClr>
          </a:solidFill>
          <a:ln w="3175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defRPr/>
            </a:pPr>
            <a:endParaRPr kumimoji="1" lang="ko-KR" altLang="en-US" sz="1800" b="0" u="none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4881562" y="2357430"/>
            <a:ext cx="928694" cy="1142918"/>
          </a:xfrm>
          <a:prstGeom prst="rect">
            <a:avLst/>
          </a:prstGeom>
          <a:solidFill>
            <a:srgbClr val="FFFF00">
              <a:alpha val="20000"/>
            </a:srgbClr>
          </a:solidFill>
          <a:ln w="3175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defRPr/>
            </a:pPr>
            <a:endParaRPr kumimoji="1" lang="ko-KR" altLang="en-US" sz="1800" b="0" u="none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8667776" y="1170552"/>
            <a:ext cx="928694" cy="1142918"/>
          </a:xfrm>
          <a:prstGeom prst="rect">
            <a:avLst/>
          </a:prstGeom>
          <a:solidFill>
            <a:srgbClr val="FFFF00">
              <a:alpha val="20000"/>
            </a:srgbClr>
          </a:solidFill>
          <a:ln w="3175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defRPr/>
            </a:pPr>
            <a:endParaRPr kumimoji="1" lang="ko-KR" altLang="en-US" sz="1800" b="0" u="none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538163" y="1196975"/>
            <a:ext cx="8832850" cy="327025"/>
          </a:xfrm>
          <a:prstGeom prst="rect">
            <a:avLst/>
          </a:prstGeo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95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anchor="ctr"/>
          <a:lstStyle/>
          <a:p>
            <a:pPr>
              <a:defRPr/>
            </a:pPr>
            <a:endParaRPr lang="ko-KR" altLang="en-US" dirty="0">
              <a:latin typeface="맑은 고딕" pitchFamily="50" charset="-127"/>
            </a:endParaRPr>
          </a:p>
        </p:txBody>
      </p:sp>
      <p:sp>
        <p:nvSpPr>
          <p:cNvPr id="279555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ko-KR" dirty="0" smtClean="0">
                <a:latin typeface="맑은 고딕" pitchFamily="50" charset="-127"/>
              </a:rPr>
              <a:t>Table of Content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96129" y="1182813"/>
            <a:ext cx="7929279" cy="2793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1997" tIns="0" rIns="71997" bIns="0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16510"/>
              <a:contourClr>
                <a:schemeClr val="bg1"/>
              </a:contourClr>
            </a:sp3d>
          </a:bodyPr>
          <a:lstStyle/>
          <a:p>
            <a:pPr marL="177800" lvl="1" indent="-173038" fontAlgn="auto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1500" u="none" kern="0" dirty="0">
                <a:ln w="15875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</a:rPr>
              <a:t>프로젝트 </a:t>
            </a:r>
            <a:r>
              <a:rPr lang="ko-KR" altLang="en-US" sz="1500" u="none" kern="0" dirty="0" smtClean="0">
                <a:ln w="15875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</a:rPr>
              <a:t>개요</a:t>
            </a:r>
            <a:endParaRPr lang="en-US" altLang="ko-KR" sz="1500" u="none" kern="0" dirty="0">
              <a:ln w="15875"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latin typeface="맑은 고딕" pitchFamily="50" charset="-127"/>
            </a:endParaRPr>
          </a:p>
          <a:p>
            <a:pPr marL="530225" lvl="2" indent="-173038" fontAlgn="auto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ko-KR" altLang="en-US" sz="1500" u="none" kern="0" dirty="0">
                <a:ln w="15875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</a:rPr>
              <a:t>추진 </a:t>
            </a:r>
            <a:r>
              <a:rPr lang="ko-KR" altLang="en-US" sz="1500" u="none" kern="0" dirty="0" smtClean="0">
                <a:ln w="15875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</a:rPr>
              <a:t>목적</a:t>
            </a:r>
            <a:endParaRPr lang="en-US" altLang="ko-KR" sz="1500" u="none" kern="0" dirty="0" smtClean="0">
              <a:ln w="15875"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latin typeface="맑은 고딕" pitchFamily="50" charset="-127"/>
            </a:endParaRPr>
          </a:p>
          <a:p>
            <a:pPr marL="530225" lvl="2" indent="-173038" fontAlgn="auto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ko-KR" altLang="en-US" sz="1500" u="none" kern="0" dirty="0" smtClean="0">
                <a:ln w="15875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</a:rPr>
              <a:t>추진 일정</a:t>
            </a:r>
            <a:endParaRPr lang="en-US" altLang="ko-KR" sz="1500" u="none" kern="0" dirty="0" smtClean="0">
              <a:ln w="15875"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latin typeface="맑은 고딕" pitchFamily="50" charset="-127"/>
            </a:endParaRPr>
          </a:p>
          <a:p>
            <a:pPr marL="530225" lvl="2" indent="-173038" fontAlgn="auto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ko-KR" altLang="en-US" sz="1500" u="none" kern="0" dirty="0" smtClean="0">
                <a:ln w="15875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</a:rPr>
              <a:t>추진 범위</a:t>
            </a:r>
            <a:endParaRPr lang="en-US" altLang="ko-KR" sz="1500" u="none" kern="0" dirty="0">
              <a:ln w="15875"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latin typeface="맑은 고딕" pitchFamily="50" charset="-127"/>
            </a:endParaRPr>
          </a:p>
          <a:p>
            <a:pPr marL="177800" lvl="1" indent="-173038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1500" u="none" kern="0" dirty="0" smtClean="0">
                <a:ln w="15875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</a:rPr>
              <a:t>프로젝트 상세</a:t>
            </a:r>
            <a:endParaRPr lang="en-US" altLang="ko-KR" sz="1500" u="none" kern="0" dirty="0" smtClean="0">
              <a:ln w="15875"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latin typeface="맑은 고딕" pitchFamily="50" charset="-127"/>
            </a:endParaRPr>
          </a:p>
          <a:p>
            <a:pPr marL="177800" lvl="1" indent="-173038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1500" u="none" kern="0" dirty="0" smtClean="0">
                <a:ln w="15875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</a:rPr>
              <a:t>모형 유지</a:t>
            </a:r>
            <a:r>
              <a:rPr lang="en-US" altLang="ko-KR" sz="1500" u="none" kern="0" dirty="0" smtClean="0">
                <a:ln w="15875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</a:rPr>
              <a:t>/</a:t>
            </a:r>
            <a:r>
              <a:rPr lang="ko-KR" altLang="en-US" sz="1500" u="none" kern="0" dirty="0" smtClean="0">
                <a:ln w="15875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</a:rPr>
              <a:t>보수</a:t>
            </a:r>
            <a:endParaRPr lang="en-US" altLang="ko-KR" sz="1500" u="none" kern="0" dirty="0">
              <a:ln w="15875"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latin typeface="맑은 고딕" pitchFamily="50" charset="-127"/>
            </a:endParaRPr>
          </a:p>
          <a:p>
            <a:pPr marL="177800" lvl="1" indent="-173038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ko-KR" sz="1500" u="none" kern="0" dirty="0" smtClean="0">
                <a:ln w="15875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</a:rPr>
              <a:t>Appendix</a:t>
            </a:r>
            <a:endParaRPr lang="en-US" altLang="ko-KR" sz="1500" u="none" kern="0" dirty="0">
              <a:ln w="15875"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latin typeface="맑은 고딕" pitchFamily="50" charset="-127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86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itchFamily="50" charset="-127"/>
              </a:rPr>
              <a:t>모형결과 </a:t>
            </a:r>
            <a:r>
              <a:rPr lang="en-US" altLang="ko-KR" dirty="0" smtClean="0">
                <a:latin typeface="맑은 고딕" pitchFamily="50" charset="-127"/>
              </a:rPr>
              <a:t>- Cass Can</a:t>
            </a:r>
            <a:r>
              <a:rPr lang="ko-KR" altLang="en-US" dirty="0" smtClean="0">
                <a:latin typeface="맑은 고딕" pitchFamily="50" charset="-127"/>
              </a:rPr>
              <a:t> 판매량 </a:t>
            </a:r>
            <a:r>
              <a:rPr lang="ko-KR" altLang="en-US" dirty="0" err="1" smtClean="0">
                <a:latin typeface="맑은 고딕" pitchFamily="50" charset="-127"/>
              </a:rPr>
              <a:t>주별</a:t>
            </a:r>
            <a:r>
              <a:rPr lang="ko-KR" altLang="en-US" dirty="0" smtClean="0">
                <a:latin typeface="맑은 고딕" pitchFamily="50" charset="-127"/>
              </a:rPr>
              <a:t> 예측 </a:t>
            </a:r>
            <a:r>
              <a:rPr lang="en-US" altLang="ko-KR" dirty="0" smtClean="0">
                <a:latin typeface="맑은 고딕" pitchFamily="50" charset="-127"/>
              </a:rPr>
              <a:t>(2) Trend</a:t>
            </a:r>
          </a:p>
        </p:txBody>
      </p:sp>
      <p:sp>
        <p:nvSpPr>
          <p:cNvPr id="292868" name="Text Box 19"/>
          <p:cNvSpPr txBox="1">
            <a:spLocks noChangeArrowheads="1"/>
          </p:cNvSpPr>
          <p:nvPr/>
        </p:nvSpPr>
        <p:spPr bwMode="auto">
          <a:xfrm>
            <a:off x="301624" y="1340307"/>
            <a:ext cx="400843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>
              <a:spcBef>
                <a:spcPct val="20000"/>
              </a:spcBef>
              <a:buFont typeface="Arial" pitchFamily="34" charset="0"/>
              <a:buChar char="•"/>
            </a:pPr>
            <a:r>
              <a:rPr lang="ko-KR" altLang="en-US" u="none" dirty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lang="en-US" altLang="ko-KR" u="none" dirty="0" smtClean="0">
                <a:solidFill>
                  <a:srgbClr val="000000"/>
                </a:solidFill>
                <a:latin typeface="맑은 고딕" pitchFamily="50" charset="-127"/>
              </a:rPr>
              <a:t>Cass Can</a:t>
            </a:r>
            <a:r>
              <a:rPr lang="ko-KR" altLang="en-US" u="none" dirty="0" smtClean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lang="ko-KR" altLang="en-US" u="none" dirty="0" err="1">
                <a:solidFill>
                  <a:srgbClr val="000000"/>
                </a:solidFill>
                <a:latin typeface="맑은 고딕" pitchFamily="50" charset="-127"/>
              </a:rPr>
              <a:t>트렌드</a:t>
            </a:r>
            <a:r>
              <a:rPr lang="ko-KR" altLang="en-US" u="none" dirty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lang="en-US" altLang="ko-KR" u="none" dirty="0">
                <a:solidFill>
                  <a:srgbClr val="000000"/>
                </a:solidFill>
                <a:latin typeface="맑은 고딕" pitchFamily="50" charset="-127"/>
              </a:rPr>
              <a:t>(</a:t>
            </a:r>
            <a:r>
              <a:rPr lang="en-US" altLang="ko-KR" u="none" dirty="0" smtClean="0">
                <a:solidFill>
                  <a:srgbClr val="000000"/>
                </a:solidFill>
                <a:latin typeface="맑은 고딕" pitchFamily="50" charset="-127"/>
              </a:rPr>
              <a:t>2013.01~2014.11 </a:t>
            </a:r>
            <a:r>
              <a:rPr lang="ko-KR" altLang="en-US" u="none" dirty="0">
                <a:solidFill>
                  <a:srgbClr val="000000"/>
                </a:solidFill>
                <a:latin typeface="맑은 고딕" pitchFamily="50" charset="-127"/>
              </a:rPr>
              <a:t>일별</a:t>
            </a:r>
            <a:r>
              <a:rPr lang="en-US" altLang="ko-KR" u="none" dirty="0">
                <a:solidFill>
                  <a:srgbClr val="000000"/>
                </a:solidFill>
                <a:latin typeface="맑은 고딕" pitchFamily="50" charset="-127"/>
              </a:rPr>
              <a:t>) </a:t>
            </a:r>
          </a:p>
        </p:txBody>
      </p:sp>
      <p:sp>
        <p:nvSpPr>
          <p:cNvPr id="292869" name="Text Box 19"/>
          <p:cNvSpPr txBox="1">
            <a:spLocks noChangeArrowheads="1"/>
          </p:cNvSpPr>
          <p:nvPr/>
        </p:nvSpPr>
        <p:spPr bwMode="auto">
          <a:xfrm>
            <a:off x="301625" y="3932695"/>
            <a:ext cx="400843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>
              <a:spcBef>
                <a:spcPct val="20000"/>
              </a:spcBef>
              <a:buFont typeface="Arial" pitchFamily="34" charset="0"/>
              <a:buChar char="•"/>
            </a:pPr>
            <a:r>
              <a:rPr lang="ko-KR" altLang="en-US" u="none" dirty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lang="en-US" altLang="ko-KR" u="none" dirty="0" smtClean="0">
                <a:solidFill>
                  <a:srgbClr val="000000"/>
                </a:solidFill>
                <a:latin typeface="맑은 고딕" pitchFamily="50" charset="-127"/>
              </a:rPr>
              <a:t>Cass Can</a:t>
            </a:r>
            <a:r>
              <a:rPr lang="ko-KR" altLang="en-US" u="none" dirty="0" smtClean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lang="ko-KR" altLang="en-US" u="none" dirty="0" err="1">
                <a:solidFill>
                  <a:srgbClr val="000000"/>
                </a:solidFill>
                <a:latin typeface="맑은 고딕" pitchFamily="50" charset="-127"/>
              </a:rPr>
              <a:t>트렌드</a:t>
            </a:r>
            <a:r>
              <a:rPr lang="ko-KR" altLang="en-US" u="none" dirty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lang="en-US" altLang="ko-KR" u="none" dirty="0">
                <a:solidFill>
                  <a:srgbClr val="000000"/>
                </a:solidFill>
                <a:latin typeface="맑은 고딕" pitchFamily="50" charset="-127"/>
              </a:rPr>
              <a:t>(</a:t>
            </a:r>
            <a:r>
              <a:rPr lang="en-US" altLang="ko-KR" u="none" dirty="0" smtClean="0">
                <a:solidFill>
                  <a:srgbClr val="000000"/>
                </a:solidFill>
                <a:latin typeface="맑은 고딕" pitchFamily="50" charset="-127"/>
              </a:rPr>
              <a:t>2013.01~2014.11, </a:t>
            </a:r>
            <a:r>
              <a:rPr lang="ko-KR" altLang="en-US" u="none" dirty="0" err="1">
                <a:solidFill>
                  <a:srgbClr val="000000"/>
                </a:solidFill>
                <a:latin typeface="맑은 고딕" pitchFamily="50" charset="-127"/>
              </a:rPr>
              <a:t>주별</a:t>
            </a:r>
            <a:r>
              <a:rPr lang="en-US" altLang="ko-KR" u="none" dirty="0">
                <a:solidFill>
                  <a:srgbClr val="000000"/>
                </a:solidFill>
                <a:latin typeface="맑은 고딕" pitchFamily="50" charset="-127"/>
              </a:rPr>
              <a:t>) </a:t>
            </a:r>
          </a:p>
        </p:txBody>
      </p:sp>
      <p:sp>
        <p:nvSpPr>
          <p:cNvPr id="292870" name="Rectangle 3"/>
          <p:cNvSpPr txBox="1">
            <a:spLocks noChangeArrowheads="1"/>
          </p:cNvSpPr>
          <p:nvPr/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Cass Can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판매량의 경우</a:t>
            </a:r>
            <a:r>
              <a:rPr kumimoji="1" lang="en-US" altLang="ko-KR" sz="1600" u="none" dirty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산출된 통계적 알고리즘에 의한 </a:t>
            </a:r>
            <a:r>
              <a:rPr kumimoji="1" lang="ko-KR" altLang="en-US" sz="1600" u="none" dirty="0" err="1">
                <a:solidFill>
                  <a:srgbClr val="000000"/>
                </a:solidFill>
                <a:latin typeface="맑은 고딕" pitchFamily="50" charset="-127"/>
              </a:rPr>
              <a:t>예측값과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 실제 판매량의 </a:t>
            </a:r>
            <a:endParaRPr kumimoji="1" lang="en-US" altLang="ko-KR" sz="1600" u="none" dirty="0" smtClean="0">
              <a:solidFill>
                <a:srgbClr val="000000"/>
              </a:solidFill>
              <a:latin typeface="맑은 고딕" pitchFamily="50" charset="-127"/>
            </a:endParaRPr>
          </a:p>
          <a:p>
            <a:pPr eaLnBrk="1" hangingPunct="1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설명계수</a:t>
            </a:r>
            <a:r>
              <a:rPr kumimoji="1" lang="en-US" altLang="ko-KR" sz="1600" u="none" dirty="0">
                <a:solidFill>
                  <a:srgbClr val="000000"/>
                </a:solidFill>
                <a:latin typeface="맑은 고딕" pitchFamily="50" charset="-127"/>
              </a:rPr>
              <a:t>(Adjusted R²)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는 </a:t>
            </a:r>
            <a:r>
              <a:rPr kumimoji="1" lang="en-US" altLang="ko-KR" sz="1600" u="none" dirty="0" smtClean="0">
                <a:solidFill>
                  <a:srgbClr val="FF0000"/>
                </a:solidFill>
                <a:latin typeface="맑은 고딕" pitchFamily="50" charset="-127"/>
              </a:rPr>
              <a:t>89%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로 실제 판매량을 효과적으로 설명하고 있음</a:t>
            </a:r>
            <a:endParaRPr kumimoji="1" lang="en-US" altLang="ko-KR" sz="1600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16" name="왼쪽 중괄호 15"/>
          <p:cNvSpPr/>
          <p:nvPr/>
        </p:nvSpPr>
        <p:spPr>
          <a:xfrm flipH="1">
            <a:off x="7810520" y="3000372"/>
            <a:ext cx="147638" cy="295275"/>
          </a:xfrm>
          <a:prstGeom prst="leftBrac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ko-KR" altLang="en-US" sz="900" dirty="0">
              <a:solidFill>
                <a:srgbClr val="00206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7" name="왼쪽 중괄호 16"/>
          <p:cNvSpPr/>
          <p:nvPr/>
        </p:nvSpPr>
        <p:spPr>
          <a:xfrm flipH="1">
            <a:off x="7810520" y="2555872"/>
            <a:ext cx="147638" cy="444500"/>
          </a:xfrm>
          <a:prstGeom prst="leftBrac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ko-KR" altLang="en-US" sz="9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8" name="TextBox 10"/>
          <p:cNvSpPr txBox="1">
            <a:spLocks noChangeArrowheads="1"/>
          </p:cNvSpPr>
          <p:nvPr/>
        </p:nvSpPr>
        <p:spPr bwMode="auto">
          <a:xfrm>
            <a:off x="7901008" y="2724147"/>
            <a:ext cx="415925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ko-KR" altLang="en-US" sz="900" u="none" dirty="0">
                <a:solidFill>
                  <a:srgbClr val="002060"/>
                </a:solidFill>
                <a:latin typeface="맑은 고딕" pitchFamily="50" charset="-127"/>
              </a:rPr>
              <a:t>주중</a:t>
            </a:r>
          </a:p>
        </p:txBody>
      </p:sp>
      <p:sp>
        <p:nvSpPr>
          <p:cNvPr id="19" name="TextBox 11"/>
          <p:cNvSpPr txBox="1">
            <a:spLocks noChangeArrowheads="1"/>
          </p:cNvSpPr>
          <p:nvPr/>
        </p:nvSpPr>
        <p:spPr bwMode="auto">
          <a:xfrm>
            <a:off x="7907358" y="3043234"/>
            <a:ext cx="415925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ko-KR" altLang="en-US" sz="900" u="none" dirty="0">
                <a:solidFill>
                  <a:srgbClr val="002060"/>
                </a:solidFill>
                <a:latin typeface="맑은 고딕" pitchFamily="50" charset="-127"/>
              </a:rPr>
              <a:t>주말</a:t>
            </a:r>
          </a:p>
        </p:txBody>
      </p:sp>
      <p:graphicFrame>
        <p:nvGraphicFramePr>
          <p:cNvPr id="13" name="차트 12"/>
          <p:cNvGraphicFramePr/>
          <p:nvPr/>
        </p:nvGraphicFramePr>
        <p:xfrm>
          <a:off x="380968" y="4286256"/>
          <a:ext cx="8929750" cy="22145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0" name="차트 19"/>
          <p:cNvGraphicFramePr/>
          <p:nvPr/>
        </p:nvGraphicFramePr>
        <p:xfrm>
          <a:off x="380968" y="1643050"/>
          <a:ext cx="8929750" cy="22145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AutoShape 52"/>
          <p:cNvSpPr>
            <a:spLocks noChangeArrowheads="1"/>
          </p:cNvSpPr>
          <p:nvPr/>
        </p:nvSpPr>
        <p:spPr bwMode="auto">
          <a:xfrm rot="10800000">
            <a:off x="6738951" y="5608119"/>
            <a:ext cx="2736850" cy="526732"/>
          </a:xfrm>
          <a:prstGeom prst="rightArrow">
            <a:avLst>
              <a:gd name="adj1" fmla="val 48657"/>
              <a:gd name="adj2" fmla="val 37186"/>
            </a:avLst>
          </a:prstGeom>
          <a:gradFill flip="none" rotWithShape="1">
            <a:gsLst>
              <a:gs pos="0">
                <a:schemeClr val="bg1">
                  <a:lumMod val="50000"/>
                  <a:tint val="66000"/>
                  <a:satMod val="160000"/>
                </a:schemeClr>
              </a:gs>
              <a:gs pos="50000">
                <a:schemeClr val="bg1">
                  <a:lumMod val="50000"/>
                  <a:tint val="44500"/>
                  <a:satMod val="160000"/>
                </a:schemeClr>
              </a:gs>
              <a:gs pos="100000">
                <a:schemeClr val="bg1">
                  <a:lumMod val="50000"/>
                  <a:tint val="23500"/>
                  <a:satMod val="160000"/>
                </a:schemeClr>
              </a:gs>
            </a:gsLst>
            <a:lin ang="10800000" scaled="1"/>
            <a:tileRect/>
          </a:gradFill>
          <a:ln w="1270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ko-KR" altLang="en-US" sz="1300" u="none" dirty="0" smtClean="0">
              <a:solidFill>
                <a:srgbClr val="000000"/>
              </a:solidFill>
              <a:ea typeface="맑은 고딕" pitchFamily="50" charset="-127"/>
            </a:endParaRPr>
          </a:p>
        </p:txBody>
      </p:sp>
      <p:sp>
        <p:nvSpPr>
          <p:cNvPr id="40" name="AutoShape 52"/>
          <p:cNvSpPr>
            <a:spLocks noChangeArrowheads="1"/>
          </p:cNvSpPr>
          <p:nvPr/>
        </p:nvSpPr>
        <p:spPr bwMode="auto">
          <a:xfrm rot="10800000">
            <a:off x="6738950" y="3286124"/>
            <a:ext cx="2736850" cy="526732"/>
          </a:xfrm>
          <a:prstGeom prst="rightArrow">
            <a:avLst>
              <a:gd name="adj1" fmla="val 48657"/>
              <a:gd name="adj2" fmla="val 37186"/>
            </a:avLst>
          </a:prstGeom>
          <a:gradFill flip="none" rotWithShape="1">
            <a:gsLst>
              <a:gs pos="0">
                <a:schemeClr val="bg1">
                  <a:lumMod val="50000"/>
                  <a:tint val="66000"/>
                  <a:satMod val="160000"/>
                </a:schemeClr>
              </a:gs>
              <a:gs pos="50000">
                <a:schemeClr val="bg1">
                  <a:lumMod val="50000"/>
                  <a:tint val="44500"/>
                  <a:satMod val="160000"/>
                </a:schemeClr>
              </a:gs>
              <a:gs pos="100000">
                <a:schemeClr val="bg1">
                  <a:lumMod val="50000"/>
                  <a:tint val="23500"/>
                  <a:satMod val="160000"/>
                </a:schemeClr>
              </a:gs>
            </a:gsLst>
            <a:lin ang="10800000" scaled="1"/>
            <a:tileRect/>
          </a:gradFill>
          <a:ln w="1270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ko-KR" altLang="en-US" sz="1300" u="none" dirty="0" smtClean="0">
              <a:solidFill>
                <a:srgbClr val="000000"/>
              </a:solidFill>
              <a:ea typeface="맑은 고딕" pitchFamily="50" charset="-127"/>
            </a:endParaRPr>
          </a:p>
        </p:txBody>
      </p:sp>
      <p:sp>
        <p:nvSpPr>
          <p:cNvPr id="39" name="AutoShape 52"/>
          <p:cNvSpPr>
            <a:spLocks noChangeArrowheads="1"/>
          </p:cNvSpPr>
          <p:nvPr/>
        </p:nvSpPr>
        <p:spPr bwMode="auto">
          <a:xfrm rot="10800000">
            <a:off x="6738950" y="4348611"/>
            <a:ext cx="2736850" cy="526732"/>
          </a:xfrm>
          <a:prstGeom prst="rightArrow">
            <a:avLst>
              <a:gd name="adj1" fmla="val 48657"/>
              <a:gd name="adj2" fmla="val 37186"/>
            </a:avLst>
          </a:prstGeom>
          <a:gradFill flip="none" rotWithShape="1">
            <a:gsLst>
              <a:gs pos="0">
                <a:schemeClr val="bg1">
                  <a:lumMod val="50000"/>
                  <a:tint val="66000"/>
                  <a:satMod val="160000"/>
                </a:schemeClr>
              </a:gs>
              <a:gs pos="50000">
                <a:schemeClr val="bg1">
                  <a:lumMod val="50000"/>
                  <a:tint val="44500"/>
                  <a:satMod val="160000"/>
                </a:schemeClr>
              </a:gs>
              <a:gs pos="100000">
                <a:schemeClr val="bg1">
                  <a:lumMod val="50000"/>
                  <a:tint val="23500"/>
                  <a:satMod val="160000"/>
                </a:schemeClr>
              </a:gs>
            </a:gsLst>
            <a:lin ang="10800000" scaled="1"/>
            <a:tileRect/>
          </a:gradFill>
          <a:ln w="1270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ko-KR" altLang="en-US" sz="1300" u="none" dirty="0" smtClean="0">
              <a:solidFill>
                <a:srgbClr val="000000"/>
              </a:solidFill>
              <a:ea typeface="맑은 고딕" pitchFamily="50" charset="-127"/>
            </a:endParaRPr>
          </a:p>
        </p:txBody>
      </p:sp>
      <p:sp>
        <p:nvSpPr>
          <p:cNvPr id="2938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itchFamily="50" charset="-127"/>
              </a:rPr>
              <a:t>모형결과 </a:t>
            </a:r>
            <a:r>
              <a:rPr lang="en-US" altLang="ko-KR" dirty="0" smtClean="0">
                <a:latin typeface="맑은 고딕" pitchFamily="50" charset="-127"/>
              </a:rPr>
              <a:t>– Cass Can</a:t>
            </a:r>
            <a:r>
              <a:rPr lang="ko-KR" altLang="en-US" dirty="0" smtClean="0">
                <a:latin typeface="맑은 고딕" pitchFamily="50" charset="-127"/>
              </a:rPr>
              <a:t> 판매량 </a:t>
            </a:r>
            <a:r>
              <a:rPr lang="ko-KR" altLang="en-US" dirty="0" err="1" smtClean="0">
                <a:latin typeface="맑은 고딕" pitchFamily="50" charset="-127"/>
              </a:rPr>
              <a:t>주별</a:t>
            </a:r>
            <a:r>
              <a:rPr lang="ko-KR" altLang="en-US" dirty="0" smtClean="0">
                <a:latin typeface="맑은 고딕" pitchFamily="50" charset="-127"/>
              </a:rPr>
              <a:t> 예측 </a:t>
            </a:r>
            <a:r>
              <a:rPr lang="en-US" altLang="ko-KR" dirty="0" smtClean="0">
                <a:latin typeface="맑은 고딕" pitchFamily="50" charset="-127"/>
              </a:rPr>
              <a:t>(3) Regression Equation</a:t>
            </a:r>
          </a:p>
        </p:txBody>
      </p:sp>
      <p:sp>
        <p:nvSpPr>
          <p:cNvPr id="293891" name="Rectangle 3"/>
          <p:cNvSpPr txBox="1">
            <a:spLocks noChangeArrowheads="1"/>
          </p:cNvSpPr>
          <p:nvPr/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 latinLnBrk="1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Cass Can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판매량 예측모형의 회귀 </a:t>
            </a:r>
            <a:r>
              <a:rPr kumimoji="1" lang="en-US" altLang="ko-KR" sz="1600" u="none" dirty="0">
                <a:solidFill>
                  <a:srgbClr val="000000"/>
                </a:solidFill>
                <a:latin typeface="맑은 고딕" pitchFamily="50" charset="-127"/>
              </a:rPr>
              <a:t>Equation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은 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기온</a:t>
            </a: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눈</a:t>
            </a:r>
            <a:r>
              <a:rPr kumimoji="1" lang="en-US" altLang="ko-KR" sz="1600" u="none" dirty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비</a:t>
            </a: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일자</a:t>
            </a: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설명변수로 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표현됨</a:t>
            </a:r>
            <a:endParaRPr kumimoji="1" lang="en-US" altLang="ko-KR" sz="1600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17" name="AutoShape 52"/>
          <p:cNvSpPr>
            <a:spLocks noChangeArrowheads="1"/>
          </p:cNvSpPr>
          <p:nvPr/>
        </p:nvSpPr>
        <p:spPr bwMode="auto">
          <a:xfrm rot="10800000">
            <a:off x="6738951" y="1679030"/>
            <a:ext cx="2736850" cy="526732"/>
          </a:xfrm>
          <a:prstGeom prst="rightArrow">
            <a:avLst>
              <a:gd name="adj1" fmla="val 48657"/>
              <a:gd name="adj2" fmla="val 37186"/>
            </a:avLst>
          </a:prstGeom>
          <a:gradFill flip="none" rotWithShape="1">
            <a:gsLst>
              <a:gs pos="0">
                <a:schemeClr val="bg1">
                  <a:lumMod val="50000"/>
                  <a:tint val="66000"/>
                  <a:satMod val="160000"/>
                </a:schemeClr>
              </a:gs>
              <a:gs pos="50000">
                <a:schemeClr val="bg1">
                  <a:lumMod val="50000"/>
                  <a:tint val="44500"/>
                  <a:satMod val="160000"/>
                </a:schemeClr>
              </a:gs>
              <a:gs pos="100000">
                <a:schemeClr val="bg1">
                  <a:lumMod val="50000"/>
                  <a:tint val="23500"/>
                  <a:satMod val="160000"/>
                </a:schemeClr>
              </a:gs>
            </a:gsLst>
            <a:lin ang="10800000" scaled="1"/>
            <a:tileRect/>
          </a:gradFill>
          <a:ln w="1270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ko-KR" altLang="en-US" sz="1300" u="none" dirty="0" smtClean="0">
              <a:solidFill>
                <a:srgbClr val="000000"/>
              </a:solidFill>
              <a:ea typeface="맑은 고딕" pitchFamily="50" charset="-127"/>
            </a:endParaRPr>
          </a:p>
        </p:txBody>
      </p:sp>
      <p:sp>
        <p:nvSpPr>
          <p:cNvPr id="30" name="Text Box 40"/>
          <p:cNvSpPr txBox="1">
            <a:spLocks noChangeArrowheads="1"/>
          </p:cNvSpPr>
          <p:nvPr/>
        </p:nvSpPr>
        <p:spPr bwMode="auto">
          <a:xfrm>
            <a:off x="7083794" y="5693623"/>
            <a:ext cx="2664000" cy="308739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>
            <a:spAutoFit/>
          </a:bodyPr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41338" indent="-541338" defTabSz="914400" eaLnBrk="0" latinLnBrk="0" hangingPunct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: 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휴일</a:t>
            </a: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,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명절의 영향</a:t>
            </a:r>
            <a:endParaRPr lang="en-US" altLang="ko-KR" sz="1300" u="none" dirty="0">
              <a:solidFill>
                <a:srgbClr val="A50021"/>
              </a:solidFill>
              <a:latin typeface="맑은 고딕"/>
              <a:ea typeface="맑은 고딕"/>
            </a:endParaRPr>
          </a:p>
        </p:txBody>
      </p:sp>
      <p:sp>
        <p:nvSpPr>
          <p:cNvPr id="31" name="Text Box 40"/>
          <p:cNvSpPr txBox="1">
            <a:spLocks noChangeArrowheads="1"/>
          </p:cNvSpPr>
          <p:nvPr/>
        </p:nvSpPr>
        <p:spPr bwMode="auto">
          <a:xfrm>
            <a:off x="7087369" y="4440524"/>
            <a:ext cx="2664000" cy="332399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>
            <a:spAutoFit/>
          </a:bodyPr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latinLnBrk="0" hangingPunct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: 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월</a:t>
            </a: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/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요일</a:t>
            </a: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/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근무일</a:t>
            </a: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/</a:t>
            </a:r>
            <a:r>
              <a:rPr lang="ko-KR" altLang="en-US" sz="1300" u="none" dirty="0" smtClean="0">
                <a:solidFill>
                  <a:srgbClr val="A50021"/>
                </a:solidFill>
                <a:latin typeface="맑은 고딕"/>
                <a:ea typeface="맑은 고딕"/>
              </a:rPr>
              <a:t>결제일의 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영향</a:t>
            </a:r>
            <a:endParaRPr lang="en-US" altLang="ko-KR" sz="1300" u="none" dirty="0">
              <a:solidFill>
                <a:srgbClr val="A50021"/>
              </a:solidFill>
              <a:latin typeface="맑은 고딕"/>
              <a:ea typeface="맑은 고딕"/>
            </a:endParaRPr>
          </a:p>
        </p:txBody>
      </p:sp>
      <p:sp>
        <p:nvSpPr>
          <p:cNvPr id="32" name="Text Box 40"/>
          <p:cNvSpPr txBox="1">
            <a:spLocks noChangeArrowheads="1"/>
          </p:cNvSpPr>
          <p:nvPr/>
        </p:nvSpPr>
        <p:spPr bwMode="auto">
          <a:xfrm>
            <a:off x="7090570" y="3392996"/>
            <a:ext cx="2664000" cy="308739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>
            <a:spAutoFit/>
          </a:bodyPr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41338" indent="-541338" defTabSz="914400" eaLnBrk="0" latinLnBrk="0" hangingPunct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: Special Event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의 영향</a:t>
            </a:r>
            <a:endParaRPr lang="en-US" altLang="ko-KR" sz="1300" u="none" dirty="0">
              <a:solidFill>
                <a:srgbClr val="A50021"/>
              </a:solidFill>
              <a:latin typeface="맑은 고딕"/>
              <a:ea typeface="맑은 고딕"/>
            </a:endParaRPr>
          </a:p>
        </p:txBody>
      </p:sp>
      <p:sp>
        <p:nvSpPr>
          <p:cNvPr id="34" name="Text Box 40"/>
          <p:cNvSpPr txBox="1">
            <a:spLocks noChangeArrowheads="1"/>
          </p:cNvSpPr>
          <p:nvPr/>
        </p:nvSpPr>
        <p:spPr bwMode="auto">
          <a:xfrm>
            <a:off x="7078544" y="1262873"/>
            <a:ext cx="2664000" cy="308739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>
            <a:spAutoFit/>
          </a:bodyPr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41338" indent="-541338" defTabSz="914400" eaLnBrk="0" latinLnBrk="0" hangingPunct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: BASE</a:t>
            </a:r>
          </a:p>
        </p:txBody>
      </p:sp>
      <p:sp>
        <p:nvSpPr>
          <p:cNvPr id="35" name="Text Box 40"/>
          <p:cNvSpPr txBox="1">
            <a:spLocks noChangeArrowheads="1"/>
          </p:cNvSpPr>
          <p:nvPr/>
        </p:nvSpPr>
        <p:spPr bwMode="auto">
          <a:xfrm>
            <a:off x="7074829" y="1772833"/>
            <a:ext cx="2664000" cy="308739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>
            <a:spAutoFit/>
          </a:bodyPr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41338" indent="-541338" defTabSz="914400" eaLnBrk="0" latinLnBrk="0" hangingPunct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: 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기온의 영향</a:t>
            </a:r>
            <a:endParaRPr lang="en-US" altLang="ko-KR" sz="1300" u="none" dirty="0">
              <a:solidFill>
                <a:srgbClr val="A50021"/>
              </a:solidFill>
              <a:latin typeface="맑은 고딕"/>
              <a:ea typeface="맑은 고딕"/>
            </a:endParaRPr>
          </a:p>
        </p:txBody>
      </p:sp>
      <p:sp>
        <p:nvSpPr>
          <p:cNvPr id="38" name="AutoShape 52"/>
          <p:cNvSpPr>
            <a:spLocks noChangeArrowheads="1"/>
          </p:cNvSpPr>
          <p:nvPr/>
        </p:nvSpPr>
        <p:spPr bwMode="auto">
          <a:xfrm rot="10800000">
            <a:off x="6738950" y="2437370"/>
            <a:ext cx="2736850" cy="526732"/>
          </a:xfrm>
          <a:prstGeom prst="rightArrow">
            <a:avLst>
              <a:gd name="adj1" fmla="val 48657"/>
              <a:gd name="adj2" fmla="val 37186"/>
            </a:avLst>
          </a:prstGeom>
          <a:gradFill flip="none" rotWithShape="1">
            <a:gsLst>
              <a:gs pos="0">
                <a:schemeClr val="bg1">
                  <a:lumMod val="50000"/>
                  <a:tint val="66000"/>
                  <a:satMod val="160000"/>
                </a:schemeClr>
              </a:gs>
              <a:gs pos="50000">
                <a:schemeClr val="bg1">
                  <a:lumMod val="50000"/>
                  <a:tint val="44500"/>
                  <a:satMod val="160000"/>
                </a:schemeClr>
              </a:gs>
              <a:gs pos="100000">
                <a:schemeClr val="bg1">
                  <a:lumMod val="50000"/>
                  <a:tint val="23500"/>
                  <a:satMod val="160000"/>
                </a:schemeClr>
              </a:gs>
            </a:gsLst>
            <a:lin ang="10800000" scaled="1"/>
            <a:tileRect/>
          </a:gradFill>
          <a:ln w="1270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ko-KR" altLang="en-US" sz="1300" u="none" dirty="0" smtClean="0">
              <a:solidFill>
                <a:srgbClr val="000000"/>
              </a:solidFill>
              <a:ea typeface="맑은 고딕" pitchFamily="50" charset="-127"/>
            </a:endParaRPr>
          </a:p>
        </p:txBody>
      </p:sp>
      <p:sp>
        <p:nvSpPr>
          <p:cNvPr id="33" name="Text Box 40"/>
          <p:cNvSpPr txBox="1">
            <a:spLocks noChangeArrowheads="1"/>
          </p:cNvSpPr>
          <p:nvPr/>
        </p:nvSpPr>
        <p:spPr bwMode="auto">
          <a:xfrm>
            <a:off x="7085461" y="2535474"/>
            <a:ext cx="2664000" cy="308739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>
            <a:spAutoFit/>
          </a:bodyPr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41338" indent="-541338" defTabSz="914400" eaLnBrk="0" latinLnBrk="0" hangingPunct="0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: 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일</a:t>
            </a: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/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년</a:t>
            </a:r>
            <a:r>
              <a:rPr lang="en-US" altLang="ko-KR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Trend</a:t>
            </a:r>
            <a:r>
              <a:rPr lang="ko-KR" altLang="en-US" sz="1300" u="none" dirty="0">
                <a:solidFill>
                  <a:srgbClr val="A50021"/>
                </a:solidFill>
                <a:latin typeface="맑은 고딕"/>
                <a:ea typeface="맑은 고딕"/>
              </a:rPr>
              <a:t>의 영향</a:t>
            </a:r>
            <a:endParaRPr lang="en-US" altLang="ko-KR" sz="1300" u="none" dirty="0">
              <a:solidFill>
                <a:srgbClr val="A50021"/>
              </a:solidFill>
              <a:latin typeface="맑은 고딕"/>
              <a:ea typeface="맑은 고딕"/>
            </a:endParaRPr>
          </a:p>
        </p:txBody>
      </p:sp>
      <p:sp>
        <p:nvSpPr>
          <p:cNvPr id="16" name="실행 단추: 앞으로 또는 다음 15">
            <a:hlinkClick r:id="rId2" action="ppaction://hlinksldjump" highlightClick="1"/>
          </p:cNvPr>
          <p:cNvSpPr/>
          <p:nvPr/>
        </p:nvSpPr>
        <p:spPr bwMode="auto">
          <a:xfrm>
            <a:off x="8337376" y="242672"/>
            <a:ext cx="231786" cy="234000"/>
          </a:xfrm>
          <a:prstGeom prst="actionButtonForwardNext">
            <a:avLst/>
          </a:prstGeom>
          <a:solidFill>
            <a:sysClr val="window" lastClr="FFFFFF"/>
          </a:solidFill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36000" rIns="90000" bIns="3600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ko-KR" altLang="en-US" sz="1300" b="0" u="none" kern="0" dirty="0" smtClean="0">
              <a:solidFill>
                <a:sysClr val="windowText" lastClr="000000"/>
              </a:solidFill>
              <a:latin typeface="맑은 고딕" pitchFamily="50" charset="-127"/>
            </a:endParaRPr>
          </a:p>
        </p:txBody>
      </p:sp>
      <p:sp>
        <p:nvSpPr>
          <p:cNvPr id="18" name="직사각형 17"/>
          <p:cNvSpPr/>
          <p:nvPr/>
        </p:nvSpPr>
        <p:spPr bwMode="auto">
          <a:xfrm>
            <a:off x="7739082" y="114300"/>
            <a:ext cx="2000264" cy="782637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altLang="ko-KR" sz="2000" u="none" dirty="0" smtClean="0">
                <a:solidFill>
                  <a:srgbClr val="FFFFFF"/>
                </a:solidFill>
              </a:rPr>
              <a:t>version 1</a:t>
            </a:r>
          </a:p>
        </p:txBody>
      </p:sp>
      <p:sp>
        <p:nvSpPr>
          <p:cNvPr id="8" name="직사각형 7"/>
          <p:cNvSpPr/>
          <p:nvPr/>
        </p:nvSpPr>
        <p:spPr>
          <a:xfrm>
            <a:off x="380968" y="1165224"/>
            <a:ext cx="7358114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u="none" dirty="0" smtClean="0">
                <a:solidFill>
                  <a:srgbClr val="000000"/>
                </a:solidFill>
              </a:rPr>
              <a:t>Y=-13865.27	</a:t>
            </a:r>
          </a:p>
          <a:p>
            <a:endParaRPr lang="en-US" altLang="ko-KR" u="none" dirty="0" smtClean="0">
              <a:solidFill>
                <a:srgbClr val="000000"/>
              </a:solidFill>
            </a:endParaRP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+179.48 * </a:t>
            </a:r>
            <a:r>
              <a:rPr lang="ko-KR" altLang="en-US" u="none" dirty="0" smtClean="0">
                <a:solidFill>
                  <a:srgbClr val="000000"/>
                </a:solidFill>
              </a:rPr>
              <a:t>평균온도</a:t>
            </a:r>
            <a:r>
              <a:rPr lang="en-US" altLang="ko-KR" u="none" dirty="0" smtClean="0">
                <a:solidFill>
                  <a:srgbClr val="000000"/>
                </a:solidFill>
              </a:rPr>
              <a:t>_T0	+83.68 * </a:t>
            </a:r>
            <a:r>
              <a:rPr lang="ko-KR" altLang="en-US" u="none" dirty="0" smtClean="0">
                <a:solidFill>
                  <a:srgbClr val="000000"/>
                </a:solidFill>
              </a:rPr>
              <a:t>평균온도</a:t>
            </a:r>
            <a:r>
              <a:rPr lang="en-US" altLang="ko-KR" u="none" dirty="0" smtClean="0">
                <a:solidFill>
                  <a:srgbClr val="000000"/>
                </a:solidFill>
              </a:rPr>
              <a:t>_T2	+20.04 * </a:t>
            </a:r>
            <a:r>
              <a:rPr lang="ko-KR" altLang="en-US" u="none" dirty="0" smtClean="0">
                <a:solidFill>
                  <a:srgbClr val="000000"/>
                </a:solidFill>
              </a:rPr>
              <a:t>평균온도</a:t>
            </a:r>
            <a:r>
              <a:rPr lang="en-US" altLang="ko-KR" u="none" dirty="0" smtClean="0">
                <a:solidFill>
                  <a:srgbClr val="000000"/>
                </a:solidFill>
              </a:rPr>
              <a:t>_T3_sq	</a:t>
            </a: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-15.17 * </a:t>
            </a:r>
            <a:r>
              <a:rPr lang="ko-KR" altLang="en-US" u="none" dirty="0" smtClean="0">
                <a:solidFill>
                  <a:srgbClr val="000000"/>
                </a:solidFill>
              </a:rPr>
              <a:t>평균온도</a:t>
            </a:r>
            <a:r>
              <a:rPr lang="en-US" altLang="ko-KR" u="none" dirty="0" smtClean="0">
                <a:solidFill>
                  <a:srgbClr val="000000"/>
                </a:solidFill>
              </a:rPr>
              <a:t>_T4_sq	-37.1 * </a:t>
            </a:r>
            <a:r>
              <a:rPr lang="ko-KR" altLang="en-US" u="none" dirty="0" smtClean="0">
                <a:solidFill>
                  <a:srgbClr val="000000"/>
                </a:solidFill>
              </a:rPr>
              <a:t>눈</a:t>
            </a:r>
            <a:r>
              <a:rPr lang="en-US" altLang="ko-KR" u="none" dirty="0" smtClean="0">
                <a:solidFill>
                  <a:srgbClr val="000000"/>
                </a:solidFill>
              </a:rPr>
              <a:t>_T1	-48.44 * </a:t>
            </a:r>
            <a:r>
              <a:rPr lang="ko-KR" altLang="en-US" u="none" dirty="0" smtClean="0">
                <a:solidFill>
                  <a:srgbClr val="000000"/>
                </a:solidFill>
              </a:rPr>
              <a:t>비</a:t>
            </a:r>
            <a:r>
              <a:rPr lang="en-US" altLang="ko-KR" u="none" dirty="0" smtClean="0">
                <a:solidFill>
                  <a:srgbClr val="000000"/>
                </a:solidFill>
              </a:rPr>
              <a:t>_T0		</a:t>
            </a: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+6509.46 * YEAR_2010	+10586.37 * YEAR_2011	+17407.82 * YEAR_2012	</a:t>
            </a: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+27016.86 * YEAR_2013	+34753.5 * YEAR_2014	</a:t>
            </a:r>
          </a:p>
          <a:p>
            <a:endParaRPr lang="en-US" altLang="ko-KR" u="none" dirty="0" smtClean="0">
              <a:solidFill>
                <a:srgbClr val="000000"/>
              </a:solidFill>
            </a:endParaRP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-13020.66 * </a:t>
            </a:r>
            <a:r>
              <a:rPr lang="en-US" altLang="ko-KR" u="none" dirty="0" err="1" smtClean="0">
                <a:solidFill>
                  <a:srgbClr val="000000"/>
                </a:solidFill>
              </a:rPr>
              <a:t>Claim_effect</a:t>
            </a:r>
            <a:r>
              <a:rPr lang="en-US" altLang="ko-KR" u="none" dirty="0" smtClean="0">
                <a:solidFill>
                  <a:srgbClr val="000000"/>
                </a:solidFill>
              </a:rPr>
              <a:t>	-24523.16 * PRICE_ADV_ANNU_AFTER_EFFECT	</a:t>
            </a: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+51845.09 * PRICE_ADV_ANNU_BEFORE_EFFECT	+24443.03 * PRICE_ADV_ANNU_EFFECT	</a:t>
            </a: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-2388.84 * 1</a:t>
            </a:r>
            <a:r>
              <a:rPr lang="ko-KR" altLang="en-US" u="none" dirty="0" smtClean="0">
                <a:solidFill>
                  <a:srgbClr val="000000"/>
                </a:solidFill>
              </a:rPr>
              <a:t>월	</a:t>
            </a:r>
            <a:r>
              <a:rPr lang="en-US" altLang="ko-KR" u="none" dirty="0" smtClean="0">
                <a:solidFill>
                  <a:srgbClr val="000000"/>
                </a:solidFill>
              </a:rPr>
              <a:t>-360.49 * 2</a:t>
            </a:r>
            <a:r>
              <a:rPr lang="ko-KR" altLang="en-US" u="none" dirty="0" smtClean="0">
                <a:solidFill>
                  <a:srgbClr val="000000"/>
                </a:solidFill>
              </a:rPr>
              <a:t>월	</a:t>
            </a:r>
            <a:r>
              <a:rPr lang="en-US" altLang="ko-KR" u="none" dirty="0" smtClean="0">
                <a:solidFill>
                  <a:srgbClr val="000000"/>
                </a:solidFill>
              </a:rPr>
              <a:t>-4558.7 * 3</a:t>
            </a:r>
            <a:r>
              <a:rPr lang="ko-KR" altLang="en-US" u="none" dirty="0" smtClean="0">
                <a:solidFill>
                  <a:srgbClr val="000000"/>
                </a:solidFill>
              </a:rPr>
              <a:t>월	</a:t>
            </a:r>
            <a:endParaRPr lang="en-US" altLang="ko-KR" u="none" dirty="0" smtClean="0">
              <a:solidFill>
                <a:srgbClr val="000000"/>
              </a:solidFill>
            </a:endParaRP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-3969.56 * 4</a:t>
            </a:r>
            <a:r>
              <a:rPr lang="ko-KR" altLang="en-US" u="none" dirty="0" smtClean="0">
                <a:solidFill>
                  <a:srgbClr val="000000"/>
                </a:solidFill>
              </a:rPr>
              <a:t>월		</a:t>
            </a:r>
            <a:r>
              <a:rPr lang="en-US" altLang="ko-KR" u="none" dirty="0" smtClean="0">
                <a:solidFill>
                  <a:srgbClr val="000000"/>
                </a:solidFill>
              </a:rPr>
              <a:t>+11519.41 * MON	+13426.82 * TUE	</a:t>
            </a: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+6958.83 * WED	+10148.97 * THU	+14998.92 * FRI	</a:t>
            </a: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+33446.55 * WORKING_DAY</a:t>
            </a: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		</a:t>
            </a: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-11428.08 * CHUSEOK_AFTER_EFFECT	+2533.82 * CHUSEOK_EFFECT	</a:t>
            </a: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-4386.48 * NY_AFTER_EFFECT	+1458.15 * NY_EFFECT	+2802.77 * MEMORIAL_AFTER_EFFECT	+4095.52 * MEMORIAL_BEFORE_EFFECT	</a:t>
            </a: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-1174.23 * MEMORIAL_EFFECT	-1728.61 * XMAS_AFTER_EFFECT	</a:t>
            </a:r>
          </a:p>
          <a:p>
            <a:r>
              <a:rPr lang="en-US" altLang="ko-KR" u="none" dirty="0" smtClean="0">
                <a:solidFill>
                  <a:srgbClr val="000000"/>
                </a:solidFill>
              </a:rPr>
              <a:t>+4597.08 * XMAS_BEFORE_EFFECT	-3740.12 * XMAS_EFFECT</a:t>
            </a:r>
          </a:p>
        </p:txBody>
      </p:sp>
      <p:grpSp>
        <p:nvGrpSpPr>
          <p:cNvPr id="2" name="그룹 52"/>
          <p:cNvGrpSpPr>
            <a:grpSpLocks noChangeAspect="1"/>
          </p:cNvGrpSpPr>
          <p:nvPr/>
        </p:nvGrpSpPr>
        <p:grpSpPr>
          <a:xfrm rot="538037">
            <a:off x="8745342" y="971371"/>
            <a:ext cx="979200" cy="307777"/>
            <a:chOff x="-162410" y="2120401"/>
            <a:chExt cx="1491428" cy="461717"/>
          </a:xfrm>
        </p:grpSpPr>
        <p:sp>
          <p:nvSpPr>
            <p:cNvPr id="23" name="Line 17"/>
            <p:cNvSpPr>
              <a:spLocks noChangeShapeType="1"/>
            </p:cNvSpPr>
            <p:nvPr/>
          </p:nvSpPr>
          <p:spPr bwMode="auto">
            <a:xfrm flipV="1">
              <a:off x="-142612" y="2132856"/>
              <a:ext cx="1440000" cy="0"/>
            </a:xfrm>
            <a:prstGeom prst="line">
              <a:avLst/>
            </a:prstGeom>
            <a:noFill/>
            <a:ln w="25400" cmpd="tri">
              <a:solidFill>
                <a:sysClr val="windowText" lastClr="000000">
                  <a:lumMod val="65000"/>
                  <a:lumOff val="35000"/>
                </a:sys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2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u="none" kern="0" spc="-1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맑은 고딕" pitchFamily="50" charset="-127"/>
              </a:endParaRPr>
            </a:p>
          </p:txBody>
        </p:sp>
        <p:sp>
          <p:nvSpPr>
            <p:cNvPr id="24" name="Line 17"/>
            <p:cNvSpPr>
              <a:spLocks noChangeShapeType="1"/>
            </p:cNvSpPr>
            <p:nvPr/>
          </p:nvSpPr>
          <p:spPr bwMode="auto">
            <a:xfrm flipV="1">
              <a:off x="-142612" y="2564904"/>
              <a:ext cx="1440000" cy="0"/>
            </a:xfrm>
            <a:prstGeom prst="line">
              <a:avLst/>
            </a:prstGeom>
            <a:noFill/>
            <a:ln w="25400" cmpd="tri">
              <a:solidFill>
                <a:sysClr val="windowText" lastClr="000000">
                  <a:lumMod val="65000"/>
                  <a:lumOff val="35000"/>
                </a:sys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2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u="none" kern="0" spc="-1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맑은 고딕" pitchFamily="50" charset="-127"/>
              </a:endParaRPr>
            </a:p>
          </p:txBody>
        </p:sp>
        <p:sp>
          <p:nvSpPr>
            <p:cNvPr id="25" name="Text Box 16"/>
            <p:cNvSpPr txBox="1">
              <a:spLocks noChangeArrowheads="1"/>
            </p:cNvSpPr>
            <p:nvPr/>
          </p:nvSpPr>
          <p:spPr bwMode="auto">
            <a:xfrm>
              <a:off x="-162410" y="2120401"/>
              <a:ext cx="1491428" cy="46171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anchor="ctr">
              <a:spAutoFit/>
            </a:bodyPr>
            <a:lstStyle/>
            <a:p>
              <a:pPr algn="ctr" defTabSz="762000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ko-KR" u="none" kern="0" spc="-100" dirty="0" smtClean="0">
                  <a:solidFill>
                    <a:sysClr val="windowText" lastClr="000000">
                      <a:lumMod val="65000"/>
                      <a:lumOff val="35000"/>
                    </a:sysClr>
                  </a:solidFill>
                  <a:latin typeface="맑은 고딕" pitchFamily="50" charset="-127"/>
                </a:rPr>
                <a:t>Illustrative</a:t>
              </a:r>
              <a:endParaRPr lang="ko-KR" altLang="en-US" u="none" kern="0" spc="-1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맑은 고딕" pitchFamily="50" charset="-127"/>
              </a:endParaRP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891" name="Rectangle 3"/>
          <p:cNvSpPr txBox="1">
            <a:spLocks noChangeArrowheads="1"/>
          </p:cNvSpPr>
          <p:nvPr/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 latinLnBrk="1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Cass Can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 판매량의 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회귀 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식은 기온</a:t>
            </a: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눈</a:t>
            </a:r>
            <a:r>
              <a:rPr kumimoji="1" lang="en-US" altLang="ko-KR" sz="1600" u="none" dirty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비</a:t>
            </a: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일자</a:t>
            </a: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설명변수로 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표현됨</a:t>
            </a:r>
            <a:endParaRPr kumimoji="1" lang="en-US" altLang="ko-KR" sz="1600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grpSp>
        <p:nvGrpSpPr>
          <p:cNvPr id="2" name="그룹 52"/>
          <p:cNvGrpSpPr>
            <a:grpSpLocks noChangeAspect="1"/>
          </p:cNvGrpSpPr>
          <p:nvPr/>
        </p:nvGrpSpPr>
        <p:grpSpPr>
          <a:xfrm rot="538037">
            <a:off x="8745342" y="971371"/>
            <a:ext cx="979200" cy="307777"/>
            <a:chOff x="-162410" y="2120401"/>
            <a:chExt cx="1491428" cy="461717"/>
          </a:xfrm>
        </p:grpSpPr>
        <p:sp>
          <p:nvSpPr>
            <p:cNvPr id="19" name="Line 17"/>
            <p:cNvSpPr>
              <a:spLocks noChangeShapeType="1"/>
            </p:cNvSpPr>
            <p:nvPr/>
          </p:nvSpPr>
          <p:spPr bwMode="auto">
            <a:xfrm flipV="1">
              <a:off x="-142612" y="2132856"/>
              <a:ext cx="1440000" cy="0"/>
            </a:xfrm>
            <a:prstGeom prst="line">
              <a:avLst/>
            </a:prstGeom>
            <a:noFill/>
            <a:ln w="25400" cmpd="tri">
              <a:solidFill>
                <a:sysClr val="windowText" lastClr="000000">
                  <a:lumMod val="65000"/>
                  <a:lumOff val="35000"/>
                </a:sys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2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u="none" kern="0" spc="-1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맑은 고딕" pitchFamily="50" charset="-127"/>
              </a:endParaRPr>
            </a:p>
          </p:txBody>
        </p:sp>
        <p:sp>
          <p:nvSpPr>
            <p:cNvPr id="20" name="Line 17"/>
            <p:cNvSpPr>
              <a:spLocks noChangeShapeType="1"/>
            </p:cNvSpPr>
            <p:nvPr/>
          </p:nvSpPr>
          <p:spPr bwMode="auto">
            <a:xfrm flipV="1">
              <a:off x="-142612" y="2564904"/>
              <a:ext cx="1440000" cy="0"/>
            </a:xfrm>
            <a:prstGeom prst="line">
              <a:avLst/>
            </a:prstGeom>
            <a:noFill/>
            <a:ln w="25400" cmpd="tri">
              <a:solidFill>
                <a:sysClr val="windowText" lastClr="000000">
                  <a:lumMod val="65000"/>
                  <a:lumOff val="35000"/>
                </a:sys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2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u="none" kern="0" spc="-1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맑은 고딕" pitchFamily="50" charset="-127"/>
              </a:endParaRPr>
            </a:p>
          </p:txBody>
        </p:sp>
        <p:sp>
          <p:nvSpPr>
            <p:cNvPr id="21" name="Text Box 16"/>
            <p:cNvSpPr txBox="1">
              <a:spLocks noChangeArrowheads="1"/>
            </p:cNvSpPr>
            <p:nvPr/>
          </p:nvSpPr>
          <p:spPr bwMode="auto">
            <a:xfrm>
              <a:off x="-162410" y="2120401"/>
              <a:ext cx="1491428" cy="46171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anchor="ctr">
              <a:spAutoFit/>
            </a:bodyPr>
            <a:lstStyle/>
            <a:p>
              <a:pPr algn="ctr" defTabSz="762000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ko-KR" u="none" kern="0" spc="-100" dirty="0" smtClean="0">
                  <a:solidFill>
                    <a:sysClr val="windowText" lastClr="000000">
                      <a:lumMod val="65000"/>
                      <a:lumOff val="35000"/>
                    </a:sysClr>
                  </a:solidFill>
                  <a:latin typeface="맑은 고딕" pitchFamily="50" charset="-127"/>
                </a:rPr>
                <a:t>Illustrative</a:t>
              </a:r>
              <a:endParaRPr lang="ko-KR" altLang="en-US" u="none" kern="0" spc="-1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맑은 고딕" pitchFamily="50" charset="-127"/>
              </a:endParaRPr>
            </a:p>
          </p:txBody>
        </p:sp>
      </p:grpSp>
      <p:sp>
        <p:nvSpPr>
          <p:cNvPr id="22" name="직사각형 21"/>
          <p:cNvSpPr/>
          <p:nvPr/>
        </p:nvSpPr>
        <p:spPr bwMode="auto">
          <a:xfrm>
            <a:off x="7739082" y="114300"/>
            <a:ext cx="2000264" cy="782637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altLang="ko-KR" sz="2000" u="none" dirty="0" smtClean="0">
                <a:solidFill>
                  <a:srgbClr val="FFFFFF"/>
                </a:solidFill>
              </a:rPr>
              <a:t>version 2</a:t>
            </a:r>
          </a:p>
        </p:txBody>
      </p:sp>
      <p:sp>
        <p:nvSpPr>
          <p:cNvPr id="25" name="Rectangle 2"/>
          <p:cNvSpPr>
            <a:spLocks noGrp="1" noChangeArrowheads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dirty="0" smtClean="0">
                <a:latin typeface="맑은 고딕" pitchFamily="50" charset="-127"/>
              </a:rPr>
              <a:t>모형결과 </a:t>
            </a:r>
            <a:r>
              <a:rPr lang="en-US" altLang="ko-KR" dirty="0" smtClean="0">
                <a:latin typeface="맑은 고딕" pitchFamily="50" charset="-127"/>
              </a:rPr>
              <a:t>– Cass Can</a:t>
            </a:r>
            <a:r>
              <a:rPr lang="ko-KR" altLang="en-US" dirty="0" smtClean="0">
                <a:latin typeface="맑은 고딕" pitchFamily="50" charset="-127"/>
              </a:rPr>
              <a:t> 판매량 </a:t>
            </a:r>
            <a:r>
              <a:rPr lang="ko-KR" altLang="en-US" dirty="0" err="1" smtClean="0">
                <a:latin typeface="맑은 고딕" pitchFamily="50" charset="-127"/>
              </a:rPr>
              <a:t>주별</a:t>
            </a:r>
            <a:r>
              <a:rPr lang="ko-KR" altLang="en-US" dirty="0" smtClean="0">
                <a:latin typeface="맑은 고딕" pitchFamily="50" charset="-127"/>
              </a:rPr>
              <a:t> 예측 </a:t>
            </a:r>
            <a:r>
              <a:rPr lang="en-US" altLang="ko-KR" dirty="0" smtClean="0">
                <a:latin typeface="맑은 고딕" pitchFamily="50" charset="-127"/>
              </a:rPr>
              <a:t>(3) Regression Equation</a:t>
            </a:r>
          </a:p>
        </p:txBody>
      </p:sp>
      <p:graphicFrame>
        <p:nvGraphicFramePr>
          <p:cNvPr id="24" name="표 23"/>
          <p:cNvGraphicFramePr>
            <a:graphicFrameLocks noGrp="1"/>
          </p:cNvGraphicFramePr>
          <p:nvPr/>
        </p:nvGraphicFramePr>
        <p:xfrm>
          <a:off x="1516286" y="1512270"/>
          <a:ext cx="3384000" cy="3977640"/>
        </p:xfrm>
        <a:graphic>
          <a:graphicData uri="http://schemas.openxmlformats.org/drawingml/2006/table">
            <a:tbl>
              <a:tblPr/>
              <a:tblGrid>
                <a:gridCol w="1332000"/>
                <a:gridCol w="2052000"/>
              </a:tblGrid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13,865.27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　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79.48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평균온도</a:t>
                      </a:r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_</a:t>
                      </a:r>
                      <a:r>
                        <a:rPr lang="en-US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0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83.68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평균온도</a:t>
                      </a:r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_</a:t>
                      </a:r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2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.04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평균온도</a:t>
                      </a:r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_</a:t>
                      </a:r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3_sq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15.17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평균온도</a:t>
                      </a:r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_</a:t>
                      </a:r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4_sq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37.10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눈</a:t>
                      </a:r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_</a:t>
                      </a:r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1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48.44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비</a:t>
                      </a:r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_</a:t>
                      </a:r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0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︙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6,509.46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YEAR_2010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0,586.37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YEAR_2011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7,407.82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YEAR_2012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7,016.86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YEAR_2013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34,753.50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YEAR_2014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13,020.66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Claim_Effect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24,523.16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가격인상이후효과</a:t>
                      </a:r>
                      <a:endParaRPr lang="ko-KR" altLang="en-US" sz="1300" b="1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51,845.09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가격인상이전효과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4,443.03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가격인상효과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0980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︙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300" b="1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aphicFrame>
        <p:nvGraphicFramePr>
          <p:cNvPr id="26" name="표 25"/>
          <p:cNvGraphicFramePr>
            <a:graphicFrameLocks noGrp="1"/>
          </p:cNvGraphicFramePr>
          <p:nvPr/>
        </p:nvGraphicFramePr>
        <p:xfrm>
          <a:off x="6016880" y="1512270"/>
          <a:ext cx="3384000" cy="4918228"/>
        </p:xfrm>
        <a:graphic>
          <a:graphicData uri="http://schemas.openxmlformats.org/drawingml/2006/table">
            <a:tbl>
              <a:tblPr/>
              <a:tblGrid>
                <a:gridCol w="1332000"/>
                <a:gridCol w="2052000"/>
              </a:tblGrid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2,388.84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r>
                        <a:rPr lang="ko-KR" altLang="en-US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360.49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lang="ko-KR" altLang="en-US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4,558.70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3,969.56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4</a:t>
                      </a:r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︙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1,519.41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MON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3,426.82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UE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6,958.83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ED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0,148.97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HU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4,998.92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FRI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33,446.55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WORKING_DAY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︙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11,428.08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추석이후효과</a:t>
                      </a:r>
                      <a:endParaRPr lang="ko-KR" altLang="en-US" sz="1300" b="1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,533.82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추석효과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4,386.48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설날이후효과</a:t>
                      </a:r>
                      <a:endParaRPr lang="ko-KR" altLang="en-US" sz="1300" b="1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,458.15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설날효과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,802.77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현충일이후효과</a:t>
                      </a:r>
                      <a:endParaRPr lang="ko-KR" altLang="en-US" sz="1300" b="1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4,095.52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현충일이전효과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1,174.23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현충일효과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1,728.61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크리스마스이후효과</a:t>
                      </a:r>
                      <a:endParaRPr lang="ko-KR" altLang="en-US" sz="1300" b="1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4,597.08 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크리스마스이전효과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3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3,740.12)</a:t>
                      </a: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o-KR" altLang="en-US" sz="13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크리스마스효과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3836">
                <a:tc>
                  <a:txBody>
                    <a:bodyPr/>
                    <a:lstStyle/>
                    <a:p>
                      <a:pPr algn="r" fontAlgn="ctr"/>
                      <a:endParaRPr lang="en-US" altLang="ko-KR" sz="1300" b="1" i="0" u="none" strike="noStrike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8000" marR="108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b="1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︙</a:t>
                      </a:r>
                    </a:p>
                  </a:txBody>
                  <a:tcPr marL="108000" marR="108000" marT="762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27" name="직사각형 26"/>
          <p:cNvSpPr/>
          <p:nvPr/>
        </p:nvSpPr>
        <p:spPr bwMode="auto">
          <a:xfrm>
            <a:off x="503413" y="1751024"/>
            <a:ext cx="973128" cy="1522800"/>
          </a:xfrm>
          <a:prstGeom prst="rect">
            <a:avLst/>
          </a:prstGeom>
          <a:solidFill>
            <a:srgbClr val="FF0000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762000" eaLnBrk="0" hangingPunct="0">
              <a:spcBef>
                <a:spcPct val="20000"/>
              </a:spcBef>
              <a:buSzPct val="80000"/>
              <a:buFont typeface="Wingdings" pitchFamily="2" charset="2"/>
              <a:buNone/>
              <a:defRPr/>
            </a:pPr>
            <a:r>
              <a:rPr lang="ko-KR" altLang="en-US" sz="1300" u="none" dirty="0" smtClean="0">
                <a:solidFill>
                  <a:srgbClr val="FFFFFF"/>
                </a:solidFill>
                <a:latin typeface="맑은 고딕" pitchFamily="50" charset="-127"/>
              </a:rPr>
              <a:t>기온</a:t>
            </a:r>
            <a:endParaRPr lang="en-US" altLang="ko-KR" sz="1300" u="none" dirty="0" smtClean="0">
              <a:solidFill>
                <a:srgbClr val="FFFFFF"/>
              </a:solidFill>
              <a:latin typeface="맑은 고딕" pitchFamily="50" charset="-127"/>
            </a:endParaRPr>
          </a:p>
        </p:txBody>
      </p:sp>
      <p:sp>
        <p:nvSpPr>
          <p:cNvPr id="28" name="직사각형 27"/>
          <p:cNvSpPr/>
          <p:nvPr/>
        </p:nvSpPr>
        <p:spPr bwMode="auto">
          <a:xfrm>
            <a:off x="503747" y="3306444"/>
            <a:ext cx="973128" cy="1065600"/>
          </a:xfrm>
          <a:prstGeom prst="rect">
            <a:avLst/>
          </a:prstGeom>
          <a:solidFill>
            <a:srgbClr val="FF9933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ctr"/>
            <a:r>
              <a:rPr lang="ko-KR" altLang="en-US" sz="1300" u="none" dirty="0" smtClean="0">
                <a:solidFill>
                  <a:srgbClr val="000000"/>
                </a:solidFill>
                <a:latin typeface="맑은 고딕" pitchFamily="50" charset="-127"/>
              </a:rPr>
              <a:t>일</a:t>
            </a:r>
            <a:r>
              <a:rPr lang="en-US" altLang="ko-KR" sz="1300" u="none" dirty="0" smtClean="0">
                <a:solidFill>
                  <a:srgbClr val="000000"/>
                </a:solidFill>
                <a:latin typeface="맑은 고딕" pitchFamily="50" charset="-127"/>
              </a:rPr>
              <a:t>/</a:t>
            </a:r>
            <a:r>
              <a:rPr lang="ko-KR" altLang="en-US" sz="1300" u="none" dirty="0" smtClean="0">
                <a:solidFill>
                  <a:srgbClr val="000000"/>
                </a:solidFill>
                <a:latin typeface="맑은 고딕" pitchFamily="50" charset="-127"/>
              </a:rPr>
              <a:t>년 </a:t>
            </a:r>
            <a:r>
              <a:rPr lang="en-US" altLang="ko-KR" sz="1300" u="none" dirty="0" smtClean="0">
                <a:solidFill>
                  <a:srgbClr val="000000"/>
                </a:solidFill>
                <a:latin typeface="맑은 고딕" pitchFamily="50" charset="-127"/>
              </a:rPr>
              <a:t>Trend</a:t>
            </a:r>
            <a:endParaRPr lang="en-US" altLang="ko-KR" sz="1300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29" name="직사각형 28"/>
          <p:cNvSpPr/>
          <p:nvPr/>
        </p:nvSpPr>
        <p:spPr bwMode="auto">
          <a:xfrm>
            <a:off x="505058" y="4408812"/>
            <a:ext cx="973128" cy="1094400"/>
          </a:xfrm>
          <a:prstGeom prst="rect">
            <a:avLst/>
          </a:prstGeom>
          <a:solidFill>
            <a:srgbClr val="FFCC00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ctr"/>
            <a:r>
              <a:rPr lang="en-US" altLang="ko-KR" sz="1300" u="none" dirty="0" smtClean="0">
                <a:solidFill>
                  <a:srgbClr val="000000"/>
                </a:solidFill>
                <a:latin typeface="맑은 고딕" pitchFamily="50" charset="-127"/>
              </a:rPr>
              <a:t>Special </a:t>
            </a:r>
          </a:p>
          <a:p>
            <a:pPr algn="ctr" fontAlgn="ctr"/>
            <a:r>
              <a:rPr lang="en-US" altLang="ko-KR" sz="1300" u="none" dirty="0" smtClean="0">
                <a:solidFill>
                  <a:srgbClr val="000000"/>
                </a:solidFill>
                <a:latin typeface="맑은 고딕" pitchFamily="50" charset="-127"/>
              </a:rPr>
              <a:t>Event</a:t>
            </a:r>
          </a:p>
        </p:txBody>
      </p:sp>
      <p:sp>
        <p:nvSpPr>
          <p:cNvPr id="42" name="직사각형 41"/>
          <p:cNvSpPr/>
          <p:nvPr/>
        </p:nvSpPr>
        <p:spPr bwMode="auto">
          <a:xfrm>
            <a:off x="503413" y="1512270"/>
            <a:ext cx="973128" cy="205703"/>
          </a:xfrm>
          <a:prstGeom prst="rect">
            <a:avLst/>
          </a:prstGeom>
          <a:solidFill>
            <a:srgbClr val="A50021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762000" eaLnBrk="0" hangingPunct="0">
              <a:spcBef>
                <a:spcPct val="20000"/>
              </a:spcBef>
              <a:buSzPct val="80000"/>
              <a:buFont typeface="Wingdings" pitchFamily="2" charset="2"/>
              <a:buNone/>
              <a:defRPr/>
            </a:pPr>
            <a:r>
              <a:rPr lang="en-US" altLang="ko-KR" sz="1300" u="none" dirty="0" smtClean="0">
                <a:solidFill>
                  <a:srgbClr val="FFFFFF"/>
                </a:solidFill>
                <a:latin typeface="맑은 고딕" pitchFamily="50" charset="-127"/>
              </a:rPr>
              <a:t>BASE</a:t>
            </a:r>
          </a:p>
        </p:txBody>
      </p:sp>
      <p:sp>
        <p:nvSpPr>
          <p:cNvPr id="30" name="직사각형 29"/>
          <p:cNvSpPr/>
          <p:nvPr/>
        </p:nvSpPr>
        <p:spPr bwMode="auto">
          <a:xfrm>
            <a:off x="5013272" y="4100866"/>
            <a:ext cx="973128" cy="2329632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ctr"/>
            <a:r>
              <a:rPr lang="ko-KR" altLang="en-US" sz="1300" u="none" dirty="0" smtClean="0">
                <a:solidFill>
                  <a:srgbClr val="000000"/>
                </a:solidFill>
                <a:latin typeface="맑은 고딕" pitchFamily="50" charset="-127"/>
              </a:rPr>
              <a:t>휴일</a:t>
            </a:r>
            <a:r>
              <a:rPr lang="en-US" altLang="ko-KR" sz="1300" u="none" dirty="0" smtClean="0">
                <a:solidFill>
                  <a:srgbClr val="000000"/>
                </a:solidFill>
                <a:latin typeface="맑은 고딕" pitchFamily="50" charset="-127"/>
              </a:rPr>
              <a:t>/</a:t>
            </a:r>
            <a:r>
              <a:rPr lang="ko-KR" altLang="en-US" sz="1300" u="none" dirty="0" smtClean="0">
                <a:solidFill>
                  <a:srgbClr val="000000"/>
                </a:solidFill>
                <a:latin typeface="맑은 고딕" pitchFamily="50" charset="-127"/>
              </a:rPr>
              <a:t>명절</a:t>
            </a:r>
            <a:endParaRPr lang="en-US" altLang="ko-KR" sz="1300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31" name="직사각형 30"/>
          <p:cNvSpPr/>
          <p:nvPr/>
        </p:nvSpPr>
        <p:spPr bwMode="auto">
          <a:xfrm>
            <a:off x="5013272" y="1525840"/>
            <a:ext cx="973128" cy="2538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ctr"/>
            <a:r>
              <a:rPr lang="ko-KR" altLang="en-US" sz="1300" u="none" dirty="0" smtClean="0">
                <a:solidFill>
                  <a:srgbClr val="000000"/>
                </a:solidFill>
                <a:latin typeface="맑은 고딕"/>
                <a:ea typeface="맑은 고딕"/>
              </a:rPr>
              <a:t>월</a:t>
            </a:r>
            <a:r>
              <a:rPr lang="en-US" altLang="ko-KR" sz="1300" u="none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300" u="none" dirty="0" smtClean="0">
                <a:solidFill>
                  <a:srgbClr val="000000"/>
                </a:solidFill>
                <a:latin typeface="맑은 고딕"/>
                <a:ea typeface="맑은 고딕"/>
              </a:rPr>
              <a:t>요일</a:t>
            </a:r>
            <a:r>
              <a:rPr lang="en-US" altLang="ko-KR" sz="1300" u="none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</a:p>
          <a:p>
            <a:pPr algn="ctr" fontAlgn="ctr"/>
            <a:r>
              <a:rPr lang="ko-KR" altLang="en-US" sz="1300" u="none" dirty="0" smtClean="0">
                <a:solidFill>
                  <a:srgbClr val="000000"/>
                </a:solidFill>
                <a:latin typeface="맑은 고딕"/>
                <a:ea typeface="맑은 고딕"/>
              </a:rPr>
              <a:t>근무일</a:t>
            </a:r>
            <a:r>
              <a:rPr lang="en-US" altLang="ko-KR" sz="1300" u="none" dirty="0" smtClean="0">
                <a:solidFill>
                  <a:srgbClr val="000000"/>
                </a:solidFill>
                <a:latin typeface="맑은 고딕"/>
                <a:ea typeface="맑은 고딕"/>
              </a:rPr>
              <a:t>/</a:t>
            </a:r>
          </a:p>
          <a:p>
            <a:pPr algn="ctr" fontAlgn="ctr"/>
            <a:r>
              <a:rPr lang="ko-KR" altLang="en-US" sz="1300" u="none" dirty="0" smtClean="0">
                <a:solidFill>
                  <a:srgbClr val="000000"/>
                </a:solidFill>
                <a:latin typeface="맑은 고딕"/>
                <a:ea typeface="맑은 고딕"/>
              </a:rPr>
              <a:t>결제일</a:t>
            </a:r>
            <a:endParaRPr lang="en-US" altLang="ko-KR" sz="1300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cxnSp>
        <p:nvCxnSpPr>
          <p:cNvPr id="32" name="직선 연결선 31"/>
          <p:cNvCxnSpPr/>
          <p:nvPr/>
        </p:nvCxnSpPr>
        <p:spPr bwMode="auto">
          <a:xfrm>
            <a:off x="503412" y="1477020"/>
            <a:ext cx="4428000" cy="870"/>
          </a:xfrm>
          <a:prstGeom prst="line">
            <a:avLst/>
          </a:prstGeom>
          <a:solidFill>
            <a:schemeClr val="accent1"/>
          </a:solidFill>
          <a:ln>
            <a:solidFill>
              <a:schemeClr val="tx1"/>
            </a:solidFill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TextBox 32"/>
          <p:cNvSpPr txBox="1"/>
          <p:nvPr/>
        </p:nvSpPr>
        <p:spPr>
          <a:xfrm>
            <a:off x="1952604" y="1218980"/>
            <a:ext cx="518091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00" u="none" dirty="0" smtClean="0">
                <a:solidFill>
                  <a:srgbClr val="000000"/>
                </a:solidFill>
              </a:rPr>
              <a:t>계수</a:t>
            </a:r>
            <a:endParaRPr lang="ko-KR" altLang="en-US" sz="1300" u="none" dirty="0">
              <a:solidFill>
                <a:srgbClr val="000000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506215" y="1218980"/>
            <a:ext cx="684803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00" u="none" dirty="0" err="1" smtClean="0">
                <a:solidFill>
                  <a:srgbClr val="000000"/>
                </a:solidFill>
              </a:rPr>
              <a:t>변수명</a:t>
            </a:r>
            <a:endParaRPr lang="ko-KR" altLang="en-US" sz="1300" u="none" dirty="0">
              <a:solidFill>
                <a:srgbClr val="000000"/>
              </a:solidFill>
            </a:endParaRPr>
          </a:p>
        </p:txBody>
      </p:sp>
      <p:cxnSp>
        <p:nvCxnSpPr>
          <p:cNvPr id="35" name="직선 연결선 34"/>
          <p:cNvCxnSpPr/>
          <p:nvPr/>
        </p:nvCxnSpPr>
        <p:spPr bwMode="auto">
          <a:xfrm>
            <a:off x="5008010" y="1479410"/>
            <a:ext cx="4428000" cy="870"/>
          </a:xfrm>
          <a:prstGeom prst="line">
            <a:avLst/>
          </a:prstGeom>
          <a:solidFill>
            <a:schemeClr val="accent1"/>
          </a:solidFill>
          <a:ln>
            <a:solidFill>
              <a:schemeClr val="tx1"/>
            </a:solidFill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TextBox 35"/>
          <p:cNvSpPr txBox="1"/>
          <p:nvPr/>
        </p:nvSpPr>
        <p:spPr>
          <a:xfrm>
            <a:off x="6457202" y="1221370"/>
            <a:ext cx="518091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00" u="none" dirty="0" smtClean="0">
                <a:solidFill>
                  <a:srgbClr val="000000"/>
                </a:solidFill>
              </a:rPr>
              <a:t>계수</a:t>
            </a:r>
            <a:endParaRPr lang="ko-KR" altLang="en-US" sz="1300" u="none" dirty="0">
              <a:solidFill>
                <a:srgbClr val="000000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8010813" y="1221370"/>
            <a:ext cx="684803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00" u="none" dirty="0" err="1" smtClean="0">
                <a:solidFill>
                  <a:srgbClr val="000000"/>
                </a:solidFill>
              </a:rPr>
              <a:t>변수명</a:t>
            </a:r>
            <a:endParaRPr lang="ko-KR" altLang="en-US" sz="1300" u="none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dirty="0" smtClean="0">
                <a:latin typeface="맑은 고딕" pitchFamily="50" charset="-127"/>
              </a:rPr>
              <a:t>모형결과 </a:t>
            </a:r>
            <a:r>
              <a:rPr lang="en-US" altLang="ko-KR" dirty="0" smtClean="0">
                <a:latin typeface="맑은 고딕" pitchFamily="50" charset="-127"/>
              </a:rPr>
              <a:t>– </a:t>
            </a:r>
            <a:r>
              <a:rPr lang="ko-KR" altLang="en-US" dirty="0" smtClean="0">
                <a:latin typeface="맑은 고딕" pitchFamily="50" charset="-127"/>
              </a:rPr>
              <a:t>회사전체 기온 </a:t>
            </a:r>
            <a:r>
              <a:rPr lang="en-US" altLang="ko-KR" dirty="0" smtClean="0">
                <a:latin typeface="맑은 고딕" pitchFamily="50" charset="-127"/>
              </a:rPr>
              <a:t>Impact</a:t>
            </a: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 defTabSz="957240" latinLnBrk="1">
              <a:lnSpc>
                <a:spcPct val="90000"/>
              </a:lnSpc>
              <a:buSzPct val="90000"/>
              <a:defRPr/>
            </a:pP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  <a:cs typeface="Meiryo UI" pitchFamily="34" charset="-128"/>
              </a:rPr>
              <a:t>기온에 따른 판매량은 저온 구간인</a:t>
            </a: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  <a:cs typeface="Meiryo UI" pitchFamily="34" charset="-128"/>
              </a:rPr>
              <a:t> 15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  <a:cs typeface="Meiryo UI" pitchFamily="34" charset="-128"/>
              </a:rPr>
              <a:t>℃ 이하에서는 </a:t>
            </a: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  <a:cs typeface="Meiryo UI" pitchFamily="34" charset="-128"/>
              </a:rPr>
              <a:t>1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  <a:cs typeface="Meiryo UI" pitchFamily="34" charset="-128"/>
              </a:rPr>
              <a:t>℃ 당 </a:t>
            </a: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  <a:cs typeface="Meiryo UI" pitchFamily="34" charset="-128"/>
              </a:rPr>
              <a:t>1311.4, 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  <a:cs typeface="Meiryo UI" pitchFamily="34" charset="-128"/>
              </a:rPr>
              <a:t>고온구간인 </a:t>
            </a: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  <a:cs typeface="Meiryo UI" pitchFamily="34" charset="-128"/>
              </a:rPr>
              <a:t>15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  <a:cs typeface="Meiryo UI" pitchFamily="34" charset="-128"/>
              </a:rPr>
              <a:t>℃ 이상에서는 </a:t>
            </a: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  <a:cs typeface="Meiryo UI" pitchFamily="34" charset="-128"/>
              </a:rPr>
              <a:t>1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  <a:cs typeface="Meiryo UI" pitchFamily="34" charset="-128"/>
              </a:rPr>
              <a:t>℃ 당 </a:t>
            </a: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  <a:cs typeface="Meiryo UI" pitchFamily="34" charset="-128"/>
              </a:rPr>
              <a:t>4975.2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  <a:cs typeface="Meiryo UI" pitchFamily="34" charset="-128"/>
              </a:rPr>
              <a:t>의 가파른 판매량 증가가 보임</a:t>
            </a:r>
            <a:endParaRPr kumimoji="1" lang="en-US" altLang="ko-KR" sz="1600" u="none" dirty="0">
              <a:solidFill>
                <a:srgbClr val="000000"/>
              </a:solidFill>
              <a:latin typeface="맑은 고딕" pitchFamily="50" charset="-127"/>
              <a:cs typeface="Meiryo UI" pitchFamily="34" charset="-128"/>
            </a:endParaRPr>
          </a:p>
        </p:txBody>
      </p:sp>
      <p:graphicFrame>
        <p:nvGraphicFramePr>
          <p:cNvPr id="9" name="표 8"/>
          <p:cNvGraphicFramePr>
            <a:graphicFrameLocks noGrp="1"/>
          </p:cNvGraphicFramePr>
          <p:nvPr/>
        </p:nvGraphicFramePr>
        <p:xfrm>
          <a:off x="560512" y="1415888"/>
          <a:ext cx="2064481" cy="496544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840345"/>
                <a:gridCol w="1224136"/>
              </a:tblGrid>
              <a:tr h="231578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1pPr>
                      <a:lvl2pPr marL="478822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2pPr>
                      <a:lvl3pPr marL="957644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3pPr>
                      <a:lvl4pPr marL="1436465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4pPr>
                      <a:lvl5pPr marL="1915286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5pPr>
                      <a:lvl6pPr marL="2394107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6pPr>
                      <a:lvl7pPr marL="2872929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7pPr>
                      <a:lvl8pPr marL="3351750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8pPr>
                      <a:lvl9pPr marL="3830572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1400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기온 ℃</a:t>
                      </a:r>
                      <a:endParaRPr lang="ko-KR" altLang="en-US" sz="1400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  <a:alpha val="80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1400" b="1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판매량</a:t>
                      </a:r>
                      <a:endParaRPr lang="ko-KR" altLang="en-US" sz="1400" b="1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  <a:alpha val="80000"/>
                      </a:sysClr>
                    </a:solidFill>
                  </a:tcPr>
                </a:tc>
              </a:tr>
              <a:tr h="17070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1pPr>
                      <a:lvl2pPr marL="47882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2pPr>
                      <a:lvl3pPr marL="957644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3pPr>
                      <a:lvl4pPr marL="1436465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4pPr>
                      <a:lvl5pPr marL="1915286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5pPr>
                      <a:lvl6pPr marL="2394107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6pPr>
                      <a:lvl7pPr marL="2872929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7pPr>
                      <a:lvl8pPr marL="335175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8pPr>
                      <a:lvl9pPr marL="383057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marL="0" marR="0" lvl="0" indent="-82550" algn="ctr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-10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/>
                    <a:p>
                      <a:pPr marL="0" marR="0" lvl="0" indent="-82550" algn="ctr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-9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1pPr>
                      <a:lvl2pPr marL="47882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2pPr>
                      <a:lvl3pPr marL="957644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3pPr>
                      <a:lvl4pPr marL="1436465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4pPr>
                      <a:lvl5pPr marL="1915286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5pPr>
                      <a:lvl6pPr marL="2394107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6pPr>
                      <a:lvl7pPr marL="2872929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7pPr>
                      <a:lvl8pPr marL="335175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8pPr>
                      <a:lvl9pPr marL="383057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marL="82550" indent="-82550" algn="ctr" latinLnBrk="0">
                        <a:buFont typeface="Arial" pitchFamily="34" charset="0"/>
                        <a:buNone/>
                      </a:pPr>
                      <a:r>
                        <a:rPr lang="en-US" altLang="ko-KR" sz="1100" b="0" u="none" kern="1200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-8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/>
                    <a:p>
                      <a:pPr marL="82550" indent="-82550" algn="ctr" latinLnBrk="0">
                        <a:buFont typeface="Arial" pitchFamily="34" charset="0"/>
                        <a:buNone/>
                      </a:pPr>
                      <a:r>
                        <a:rPr lang="en-US" altLang="ko-KR" sz="1100" b="0" u="none" kern="1200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-7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1pPr>
                      <a:lvl2pPr marL="47882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2pPr>
                      <a:lvl3pPr marL="957644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3pPr>
                      <a:lvl4pPr marL="1436465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4pPr>
                      <a:lvl5pPr marL="1915286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5pPr>
                      <a:lvl6pPr marL="2394107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6pPr>
                      <a:lvl7pPr marL="2872929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7pPr>
                      <a:lvl8pPr marL="335175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8pPr>
                      <a:lvl9pPr marL="383057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marL="82550" marR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-6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/>
                    <a:p>
                      <a:pPr marL="82550" marR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-5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marR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-4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/>
                    <a:p>
                      <a:pPr marL="82550" marR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-3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indent="-82550" algn="ctr" latinLnBrk="0">
                        <a:buFont typeface="Arial" pitchFamily="34" charset="0"/>
                        <a:buNone/>
                      </a:pPr>
                      <a:r>
                        <a:rPr lang="en-US" altLang="ko-KR" sz="11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-2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/>
                    <a:p>
                      <a:pPr marL="82550" indent="-82550" algn="ctr" latinLnBrk="0">
                        <a:buFont typeface="Arial" pitchFamily="34" charset="0"/>
                        <a:buNone/>
                      </a:pPr>
                      <a:r>
                        <a:rPr lang="en-US" altLang="ko-KR" sz="11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-1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marR="0" lvl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i="0" u="none" strike="noStrike" kern="1200" spc="-50" baseline="0" dirty="0" smtClean="0">
                          <a:solidFill>
                            <a:srgbClr val="000000"/>
                          </a:solidFill>
                          <a:latin typeface="Calibri" pitchFamily="34" charset="0"/>
                          <a:ea typeface="맑은 고딕" pitchFamily="50" charset="-127"/>
                          <a:cs typeface="+mn-cs"/>
                        </a:rPr>
                        <a:t>0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/>
                    <a:p>
                      <a:pPr marL="82550" marR="0" lvl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i="0" u="none" strike="noStrike" kern="1200" spc="-50" baseline="0" dirty="0" smtClean="0">
                          <a:solidFill>
                            <a:srgbClr val="000000"/>
                          </a:solidFill>
                          <a:latin typeface="Calibri" pitchFamily="34" charset="0"/>
                          <a:ea typeface="맑은 고딕" pitchFamily="50" charset="-127"/>
                          <a:cs typeface="+mn-cs"/>
                        </a:rPr>
                        <a:t>1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marR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/>
                    <a:p>
                      <a:pPr marL="82550" marR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1pPr>
                      <a:lvl2pPr marL="47882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2pPr>
                      <a:lvl3pPr marL="957644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3pPr>
                      <a:lvl4pPr marL="1436465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4pPr>
                      <a:lvl5pPr marL="1915286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5pPr>
                      <a:lvl6pPr marL="2394107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6pPr>
                      <a:lvl7pPr marL="2872929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7pPr>
                      <a:lvl8pPr marL="335175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8pPr>
                      <a:lvl9pPr marL="383057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marL="82550" marR="0" lvl="0" indent="-8255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4</a:t>
                      </a:r>
                      <a:endParaRPr kumimoji="0" lang="ko-KR" altLang="en-US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/>
                    <a:p>
                      <a:pPr marL="82550" marR="0" lvl="0" indent="-8255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5</a:t>
                      </a:r>
                      <a:endParaRPr kumimoji="0" lang="ko-KR" altLang="en-US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marR="0" lvl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6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/>
                    <a:p>
                      <a:pPr marL="82550" marR="0" lvl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7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marR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i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8</a:t>
                      </a:r>
                      <a:endParaRPr lang="ko-KR" altLang="en-US" sz="1100" b="0" i="0" u="none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/>
                    <a:p>
                      <a:pPr marL="82550" marR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i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</a:t>
                      </a:r>
                      <a:endParaRPr lang="ko-KR" altLang="en-US" sz="1100" b="0" i="0" u="none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1pPr>
                      <a:lvl2pPr marL="47882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2pPr>
                      <a:lvl3pPr marL="957644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3pPr>
                      <a:lvl4pPr marL="1436465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4pPr>
                      <a:lvl5pPr marL="1915286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5pPr>
                      <a:lvl6pPr marL="2394107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6pPr>
                      <a:lvl7pPr marL="2872929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7pPr>
                      <a:lvl8pPr marL="335175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8pPr>
                      <a:lvl9pPr marL="383057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marL="82550" indent="-82550" algn="ctr" latinLnBrk="0">
                        <a:buFont typeface="Arial" pitchFamily="34" charset="0"/>
                        <a:buNone/>
                      </a:pPr>
                      <a:r>
                        <a:rPr lang="en-US" altLang="ko-KR" sz="11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0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" name="표 9"/>
          <p:cNvGraphicFramePr>
            <a:graphicFrameLocks noGrp="1"/>
          </p:cNvGraphicFramePr>
          <p:nvPr/>
        </p:nvGraphicFramePr>
        <p:xfrm>
          <a:off x="2624993" y="1415888"/>
          <a:ext cx="2064481" cy="496544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840345"/>
                <a:gridCol w="1224136"/>
              </a:tblGrid>
              <a:tr h="231578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1pPr>
                      <a:lvl2pPr marL="478822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2pPr>
                      <a:lvl3pPr marL="957644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3pPr>
                      <a:lvl4pPr marL="1436465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4pPr>
                      <a:lvl5pPr marL="1915286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5pPr>
                      <a:lvl6pPr marL="2394107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6pPr>
                      <a:lvl7pPr marL="2872929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7pPr>
                      <a:lvl8pPr marL="3351750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8pPr>
                      <a:lvl9pPr marL="3830572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1400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기온 ℃</a:t>
                      </a:r>
                      <a:endParaRPr lang="ko-KR" altLang="en-US" sz="1400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  <a:alpha val="80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1400" b="1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판매량</a:t>
                      </a:r>
                      <a:endParaRPr lang="ko-KR" altLang="en-US" sz="1400" b="1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  <a:alpha val="80000"/>
                      </a:sysClr>
                    </a:solidFill>
                  </a:tcPr>
                </a:tc>
              </a:tr>
              <a:tr h="17070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1pPr>
                      <a:lvl2pPr marL="47882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2pPr>
                      <a:lvl3pPr marL="957644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3pPr>
                      <a:lvl4pPr marL="1436465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4pPr>
                      <a:lvl5pPr marL="1915286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5pPr>
                      <a:lvl6pPr marL="2394107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6pPr>
                      <a:lvl7pPr marL="2872929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7pPr>
                      <a:lvl8pPr marL="335175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8pPr>
                      <a:lvl9pPr marL="383057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marL="0" marR="0" lvl="0" indent="-82550" algn="ctr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11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 smtClean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/>
                    <a:p>
                      <a:pPr marL="0" marR="0" lvl="0" indent="-82550" algn="ctr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12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1pPr>
                      <a:lvl2pPr marL="47882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2pPr>
                      <a:lvl3pPr marL="957644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3pPr>
                      <a:lvl4pPr marL="1436465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4pPr>
                      <a:lvl5pPr marL="1915286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5pPr>
                      <a:lvl6pPr marL="2394107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6pPr>
                      <a:lvl7pPr marL="2872929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7pPr>
                      <a:lvl8pPr marL="335175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8pPr>
                      <a:lvl9pPr marL="383057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marL="82550" indent="-82550" algn="ctr" latinLnBrk="0">
                        <a:buFont typeface="Arial" pitchFamily="34" charset="0"/>
                        <a:buNone/>
                      </a:pPr>
                      <a:r>
                        <a:rPr lang="en-US" altLang="ko-KR" sz="1100" b="0" u="none" kern="1200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13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/>
                    <a:p>
                      <a:pPr marL="82550" indent="-82550" algn="ctr" latinLnBrk="0">
                        <a:buFont typeface="Arial" pitchFamily="34" charset="0"/>
                        <a:buNone/>
                      </a:pPr>
                      <a:r>
                        <a:rPr lang="en-US" altLang="ko-KR" sz="1100" b="0" u="none" kern="1200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14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1pPr>
                      <a:lvl2pPr marL="47882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2pPr>
                      <a:lvl3pPr marL="957644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3pPr>
                      <a:lvl4pPr marL="1436465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4pPr>
                      <a:lvl5pPr marL="1915286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5pPr>
                      <a:lvl6pPr marL="2394107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6pPr>
                      <a:lvl7pPr marL="2872929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7pPr>
                      <a:lvl8pPr marL="335175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8pPr>
                      <a:lvl9pPr marL="383057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marL="82550" marR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5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/>
                    <a:p>
                      <a:pPr marL="82550" marR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6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marR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7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/>
                    <a:p>
                      <a:pPr marL="82550" marR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8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indent="-82550" algn="ctr" latinLnBrk="0">
                        <a:buFont typeface="Arial" pitchFamily="34" charset="0"/>
                        <a:buNone/>
                      </a:pPr>
                      <a:r>
                        <a:rPr lang="en-US" altLang="ko-KR" sz="11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9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/>
                    <a:p>
                      <a:pPr marL="82550" indent="-82550" algn="ctr" latinLnBrk="0">
                        <a:buFont typeface="Arial" pitchFamily="34" charset="0"/>
                        <a:buNone/>
                      </a:pPr>
                      <a:r>
                        <a:rPr lang="en-US" altLang="ko-KR" sz="11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marR="0" lvl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i="0" u="none" strike="noStrike" kern="1200" spc="-50" baseline="0" dirty="0" smtClean="0">
                          <a:solidFill>
                            <a:srgbClr val="000000"/>
                          </a:solidFill>
                          <a:latin typeface="Calibri" pitchFamily="34" charset="0"/>
                          <a:ea typeface="맑은 고딕" pitchFamily="50" charset="-127"/>
                          <a:cs typeface="+mn-cs"/>
                        </a:rPr>
                        <a:t>21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/>
                    <a:p>
                      <a:pPr marL="82550" marR="0" lvl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i="0" u="none" strike="noStrike" kern="1200" spc="-50" baseline="0" dirty="0" smtClean="0">
                          <a:solidFill>
                            <a:srgbClr val="000000"/>
                          </a:solidFill>
                          <a:latin typeface="Calibri" pitchFamily="34" charset="0"/>
                          <a:ea typeface="맑은 고딕" pitchFamily="50" charset="-127"/>
                          <a:cs typeface="+mn-cs"/>
                        </a:rPr>
                        <a:t>22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marR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3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/>
                    <a:p>
                      <a:pPr marL="82550" marR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4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1pPr>
                      <a:lvl2pPr marL="47882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2pPr>
                      <a:lvl3pPr marL="957644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3pPr>
                      <a:lvl4pPr marL="1436465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4pPr>
                      <a:lvl5pPr marL="1915286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5pPr>
                      <a:lvl6pPr marL="2394107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6pPr>
                      <a:lvl7pPr marL="2872929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7pPr>
                      <a:lvl8pPr marL="335175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8pPr>
                      <a:lvl9pPr marL="383057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marL="82550" marR="0" lvl="0" indent="-8255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5</a:t>
                      </a:r>
                      <a:endParaRPr kumimoji="0" lang="ko-KR" altLang="en-US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/>
                    <a:p>
                      <a:pPr marL="82550" marR="0" lvl="0" indent="-8255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6</a:t>
                      </a:r>
                      <a:endParaRPr kumimoji="0" lang="ko-KR" altLang="en-US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marR="0" lvl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7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/>
                    <a:p>
                      <a:pPr marL="82550" marR="0" lvl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8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marR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i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9</a:t>
                      </a:r>
                      <a:endParaRPr lang="ko-KR" altLang="en-US" sz="1100" b="0" i="0" u="none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/>
                    <a:p>
                      <a:pPr marL="82550" marR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i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30</a:t>
                      </a:r>
                      <a:endParaRPr lang="ko-KR" altLang="en-US" sz="1100" b="0" i="0" u="none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7070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1pPr>
                      <a:lvl2pPr marL="47882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2pPr>
                      <a:lvl3pPr marL="957644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3pPr>
                      <a:lvl4pPr marL="1436465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4pPr>
                      <a:lvl5pPr marL="1915286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5pPr>
                      <a:lvl6pPr marL="2394107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6pPr>
                      <a:lvl7pPr marL="2872929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7pPr>
                      <a:lvl8pPr marL="335175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8pPr>
                      <a:lvl9pPr marL="383057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marL="82550" indent="-82550" algn="ctr" latinLnBrk="0">
                        <a:buFont typeface="Arial" pitchFamily="34" charset="0"/>
                        <a:buNone/>
                      </a:pPr>
                      <a:endParaRPr lang="en-US" altLang="ko-KR" sz="1100" b="0" u="none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buFontTx/>
                        <a:buNone/>
                      </a:pPr>
                      <a:endParaRPr lang="en-US" altLang="ko-KR" sz="900" b="0" spc="-5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  <p:grpSp>
        <p:nvGrpSpPr>
          <p:cNvPr id="2" name="Group 15"/>
          <p:cNvGrpSpPr>
            <a:grpSpLocks/>
          </p:cNvGrpSpPr>
          <p:nvPr/>
        </p:nvGrpSpPr>
        <p:grpSpPr bwMode="auto">
          <a:xfrm>
            <a:off x="3656856" y="1011580"/>
            <a:ext cx="2402643" cy="329188"/>
            <a:chOff x="172" y="887"/>
            <a:chExt cx="1293" cy="211"/>
          </a:xfrm>
        </p:grpSpPr>
        <p:sp>
          <p:nvSpPr>
            <p:cNvPr id="11" name="Text Box 16"/>
            <p:cNvSpPr txBox="1">
              <a:spLocks noChangeArrowheads="1"/>
            </p:cNvSpPr>
            <p:nvPr/>
          </p:nvSpPr>
          <p:spPr bwMode="auto">
            <a:xfrm>
              <a:off x="177" y="887"/>
              <a:ext cx="1288" cy="20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 defTabSz="762000" fontAlgn="auto" latinLnBrk="1">
                <a:spcBef>
                  <a:spcPct val="50000"/>
                </a:spcBef>
                <a:spcAft>
                  <a:spcPts val="0"/>
                </a:spcAft>
              </a:pPr>
              <a:r>
                <a:rPr lang="ko-KR" altLang="en-US" sz="1500" u="none" dirty="0" smtClean="0">
                  <a:solidFill>
                    <a:prstClr val="black"/>
                  </a:solidFill>
                  <a:latin typeface="맑은 고딕" pitchFamily="50" charset="-127"/>
                </a:rPr>
                <a:t>기온에 따른 일별 판매량</a:t>
              </a:r>
              <a:endParaRPr lang="ko-KR" altLang="en-US" sz="1600" u="none" baseline="30000" dirty="0" smtClean="0">
                <a:solidFill>
                  <a:prstClr val="black"/>
                </a:solidFill>
                <a:latin typeface="맑은 고딕" pitchFamily="50" charset="-127"/>
              </a:endParaRPr>
            </a:p>
          </p:txBody>
        </p:sp>
        <p:sp>
          <p:nvSpPr>
            <p:cNvPr id="12" name="Line 17"/>
            <p:cNvSpPr>
              <a:spLocks noChangeShapeType="1"/>
            </p:cNvSpPr>
            <p:nvPr/>
          </p:nvSpPr>
          <p:spPr bwMode="auto">
            <a:xfrm flipV="1">
              <a:off x="172" y="1098"/>
              <a:ext cx="128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500" u="none" dirty="0">
                <a:solidFill>
                  <a:prstClr val="black"/>
                </a:solidFill>
                <a:latin typeface="맑은 고딕" pitchFamily="50" charset="-127"/>
              </a:endParaRPr>
            </a:p>
          </p:txBody>
        </p:sp>
      </p:grpSp>
      <p:graphicFrame>
        <p:nvGraphicFramePr>
          <p:cNvPr id="17" name="차트 16"/>
          <p:cNvGraphicFramePr/>
          <p:nvPr/>
        </p:nvGraphicFramePr>
        <p:xfrm>
          <a:off x="4953001" y="1484784"/>
          <a:ext cx="4464496" cy="4896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4" name="그룹 52"/>
          <p:cNvGrpSpPr>
            <a:grpSpLocks noChangeAspect="1"/>
          </p:cNvGrpSpPr>
          <p:nvPr/>
        </p:nvGrpSpPr>
        <p:grpSpPr>
          <a:xfrm rot="538037">
            <a:off x="8745342" y="971371"/>
            <a:ext cx="979200" cy="307777"/>
            <a:chOff x="-162410" y="2120401"/>
            <a:chExt cx="1491428" cy="461717"/>
          </a:xfrm>
        </p:grpSpPr>
        <p:sp>
          <p:nvSpPr>
            <p:cNvPr id="15" name="Line 17"/>
            <p:cNvSpPr>
              <a:spLocks noChangeShapeType="1"/>
            </p:cNvSpPr>
            <p:nvPr/>
          </p:nvSpPr>
          <p:spPr bwMode="auto">
            <a:xfrm flipV="1">
              <a:off x="-142612" y="2132856"/>
              <a:ext cx="1440000" cy="0"/>
            </a:xfrm>
            <a:prstGeom prst="line">
              <a:avLst/>
            </a:prstGeom>
            <a:noFill/>
            <a:ln w="25400" cmpd="tri">
              <a:solidFill>
                <a:sysClr val="windowText" lastClr="000000">
                  <a:lumMod val="65000"/>
                  <a:lumOff val="35000"/>
                </a:sys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defTabSz="9142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-10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맑은 고딕" pitchFamily="50" charset="-127"/>
              </a:endParaRPr>
            </a:p>
          </p:txBody>
        </p:sp>
        <p:sp>
          <p:nvSpPr>
            <p:cNvPr id="16" name="Line 17"/>
            <p:cNvSpPr>
              <a:spLocks noChangeShapeType="1"/>
            </p:cNvSpPr>
            <p:nvPr/>
          </p:nvSpPr>
          <p:spPr bwMode="auto">
            <a:xfrm flipV="1">
              <a:off x="-142612" y="2564904"/>
              <a:ext cx="1440000" cy="0"/>
            </a:xfrm>
            <a:prstGeom prst="line">
              <a:avLst/>
            </a:prstGeom>
            <a:noFill/>
            <a:ln w="25400" cmpd="tri">
              <a:solidFill>
                <a:sysClr val="windowText" lastClr="000000">
                  <a:lumMod val="65000"/>
                  <a:lumOff val="35000"/>
                </a:sys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defTabSz="9142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-10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맑은 고딕" pitchFamily="50" charset="-127"/>
              </a:endParaRPr>
            </a:p>
          </p:txBody>
        </p:sp>
        <p:sp>
          <p:nvSpPr>
            <p:cNvPr id="18" name="Text Box 16"/>
            <p:cNvSpPr txBox="1">
              <a:spLocks noChangeArrowheads="1"/>
            </p:cNvSpPr>
            <p:nvPr/>
          </p:nvSpPr>
          <p:spPr bwMode="auto">
            <a:xfrm>
              <a:off x="-162410" y="2120401"/>
              <a:ext cx="1491428" cy="46171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anchor="ctr">
              <a:spAutoFit/>
            </a:bodyPr>
            <a:lstStyle/>
            <a:p>
              <a:pPr marL="0" marR="0" lvl="0" indent="0" algn="ctr" defTabSz="7620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0" cap="none" spc="-100" normalizeH="0" baseline="0" noProof="0" dirty="0" smtClean="0">
                  <a:ln>
                    <a:noFill/>
                  </a:ln>
                  <a:solidFill>
                    <a:sysClr val="windowText" lastClr="000000">
                      <a:lumMod val="65000"/>
                      <a:lumOff val="35000"/>
                    </a:sysClr>
                  </a:solidFill>
                  <a:effectLst/>
                  <a:uLnTx/>
                  <a:uFillTx/>
                  <a:latin typeface="맑은 고딕" pitchFamily="50" charset="-127"/>
                </a:rPr>
                <a:t>Illustrative</a:t>
              </a:r>
              <a:endParaRPr kumimoji="0" lang="ko-KR" altLang="en-US" sz="1400" b="1" i="0" u="none" strike="noStrike" kern="0" cap="none" spc="-10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맑은 고딕" pitchFamily="50" charset="-127"/>
              </a:endParaRPr>
            </a:p>
          </p:txBody>
        </p:sp>
      </p:grpSp>
      <p:sp>
        <p:nvSpPr>
          <p:cNvPr id="20" name="직사각형 19"/>
          <p:cNvSpPr/>
          <p:nvPr/>
        </p:nvSpPr>
        <p:spPr bwMode="auto">
          <a:xfrm>
            <a:off x="8409384" y="1628800"/>
            <a:ext cx="837353" cy="4608512"/>
          </a:xfrm>
          <a:prstGeom prst="rect">
            <a:avLst/>
          </a:prstGeom>
          <a:solidFill>
            <a:srgbClr val="640B04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ko-KR" altLang="en-US" u="none" dirty="0" smtClean="0">
              <a:cs typeface="Arial" pitchFamily="34" charset="0"/>
            </a:endParaRPr>
          </a:p>
        </p:txBody>
      </p:sp>
      <p:sp>
        <p:nvSpPr>
          <p:cNvPr id="21" name="직사각형 20"/>
          <p:cNvSpPr/>
          <p:nvPr/>
        </p:nvSpPr>
        <p:spPr bwMode="auto">
          <a:xfrm>
            <a:off x="6465168" y="1628800"/>
            <a:ext cx="837353" cy="4608512"/>
          </a:xfrm>
          <a:prstGeom prst="rect">
            <a:avLst/>
          </a:prstGeom>
          <a:solidFill>
            <a:schemeClr val="accent5">
              <a:lumMod val="50000"/>
              <a:alpha val="19000"/>
            </a:schemeClr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ko-KR" altLang="en-US" u="none" dirty="0" smtClean="0">
              <a:cs typeface="Arial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889104" y="5569495"/>
            <a:ext cx="24482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u="none" dirty="0" smtClean="0">
                <a:solidFill>
                  <a:schemeClr val="accent2">
                    <a:lumMod val="50000"/>
                  </a:schemeClr>
                </a:solidFill>
              </a:rPr>
              <a:t>판매량 증가가 낮은 구간</a:t>
            </a:r>
            <a:endParaRPr lang="ko-KR" altLang="en-US" u="none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7833320" y="1628800"/>
            <a:ext cx="23042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u="none" dirty="0" smtClean="0">
                <a:solidFill>
                  <a:srgbClr val="FF0000"/>
                </a:solidFill>
              </a:rPr>
              <a:t>판매량 증가가 높은 구간</a:t>
            </a:r>
            <a:endParaRPr lang="ko-KR" altLang="en-US" u="none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5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ko-KR" altLang="en-US" dirty="0" smtClean="0">
                <a:latin typeface="맑은 고딕" pitchFamily="50" charset="-127"/>
              </a:rPr>
              <a:t>모형 구축방안 </a:t>
            </a:r>
            <a:r>
              <a:rPr lang="en-US" altLang="ko-KR" dirty="0" smtClean="0">
                <a:latin typeface="맑은 고딕" pitchFamily="50" charset="-127"/>
              </a:rPr>
              <a:t>– </a:t>
            </a:r>
            <a:r>
              <a:rPr lang="ko-KR" altLang="en-US" dirty="0" smtClean="0">
                <a:latin typeface="맑은 고딕" pitchFamily="50" charset="-127"/>
              </a:rPr>
              <a:t>회귀 분석 모델링</a:t>
            </a:r>
            <a:endParaRPr lang="en-US" altLang="ko-KR" dirty="0" smtClean="0">
              <a:latin typeface="맑은 고딕" pitchFamily="50" charset="-127"/>
            </a:endParaRPr>
          </a:p>
        </p:txBody>
      </p:sp>
      <p:sp>
        <p:nvSpPr>
          <p:cNvPr id="236547" name="Rectangle 3"/>
          <p:cNvSpPr txBox="1">
            <a:spLocks noChangeArrowheads="1"/>
          </p:cNvSpPr>
          <p:nvPr/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영업</a:t>
            </a:r>
            <a:r>
              <a:rPr lang="en-US" altLang="ko-KR" sz="1600" u="none" dirty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마케팅에서 수집한 </a:t>
            </a:r>
            <a:r>
              <a:rPr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내부 </a:t>
            </a:r>
            <a:r>
              <a:rPr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Data</a:t>
            </a:r>
            <a:r>
              <a:rPr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와 날씨 외부 </a:t>
            </a:r>
            <a:r>
              <a:rPr lang="en-US" altLang="ko-KR" sz="1600" u="none" dirty="0">
                <a:solidFill>
                  <a:srgbClr val="000000"/>
                </a:solidFill>
                <a:latin typeface="맑은 고딕" pitchFamily="50" charset="-127"/>
              </a:rPr>
              <a:t>Data</a:t>
            </a:r>
            <a:r>
              <a:rPr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는 </a:t>
            </a:r>
            <a:r>
              <a:rPr lang="en-US" altLang="ko-KR" sz="1600" u="none" dirty="0">
                <a:solidFill>
                  <a:srgbClr val="000000"/>
                </a:solidFill>
                <a:latin typeface="맑은 고딕" pitchFamily="50" charset="-127"/>
              </a:rPr>
              <a:t>Data </a:t>
            </a:r>
            <a:r>
              <a:rPr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탐색</a:t>
            </a:r>
            <a:r>
              <a:rPr lang="en-US" altLang="ko-KR" sz="1600" u="none" dirty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변수 선출 과정을 거쳐 </a:t>
            </a:r>
            <a:r>
              <a:rPr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예측모델링에 </a:t>
            </a:r>
            <a:r>
              <a:rPr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설명변수로 투입됨</a:t>
            </a:r>
            <a:endParaRPr lang="en-US" altLang="ko-KR" sz="1600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2817813" y="2262188"/>
            <a:ext cx="1165225" cy="363176"/>
          </a:xfrm>
          <a:prstGeom prst="rect">
            <a:avLst/>
          </a:prstGeom>
        </p:spPr>
        <p:txBody>
          <a:bodyPr>
            <a:spAutoFit/>
          </a:bodyPr>
          <a:lstStyle/>
          <a:p>
            <a:pPr marL="95250" indent="-95250" algn="ctr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defRPr/>
            </a:pPr>
            <a:r>
              <a:rPr lang="en-US" altLang="ko-KR" sz="1600" u="none" dirty="0">
                <a:solidFill>
                  <a:srgbClr val="A50021"/>
                </a:solidFill>
                <a:latin typeface="맑은 고딕" pitchFamily="50" charset="-127"/>
              </a:rPr>
              <a:t>66 </a:t>
            </a:r>
            <a:r>
              <a:rPr lang="ko-KR" altLang="en-US" u="none" spc="-50" dirty="0">
                <a:solidFill>
                  <a:srgbClr val="000000"/>
                </a:solidFill>
                <a:latin typeface="맑은 고딕" pitchFamily="50" charset="-127"/>
              </a:rPr>
              <a:t>개</a:t>
            </a:r>
            <a:endParaRPr lang="en-US" altLang="ko-KR" sz="1600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cxnSp>
        <p:nvCxnSpPr>
          <p:cNvPr id="22" name="직선 연결선 21"/>
          <p:cNvCxnSpPr/>
          <p:nvPr/>
        </p:nvCxnSpPr>
        <p:spPr bwMode="auto">
          <a:xfrm rot="10800000">
            <a:off x="2505075" y="2774950"/>
            <a:ext cx="6216650" cy="0"/>
          </a:xfrm>
          <a:prstGeom prst="line">
            <a:avLst/>
          </a:prstGeom>
          <a:solidFill>
            <a:srgbClr val="A3A3A3">
              <a:alpha val="2000"/>
            </a:srgb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직선 연결선 22"/>
          <p:cNvCxnSpPr/>
          <p:nvPr/>
        </p:nvCxnSpPr>
        <p:spPr bwMode="auto">
          <a:xfrm rot="10800000">
            <a:off x="2505075" y="3533775"/>
            <a:ext cx="6216650" cy="0"/>
          </a:xfrm>
          <a:prstGeom prst="line">
            <a:avLst/>
          </a:prstGeom>
          <a:solidFill>
            <a:srgbClr val="A3A3A3">
              <a:alpha val="2000"/>
            </a:srgb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직사각형 23"/>
          <p:cNvSpPr/>
          <p:nvPr/>
        </p:nvSpPr>
        <p:spPr bwMode="auto">
          <a:xfrm>
            <a:off x="1208088" y="2025650"/>
            <a:ext cx="1165225" cy="695325"/>
          </a:xfrm>
          <a:prstGeom prst="rect">
            <a:avLst/>
          </a:prstGeom>
          <a:solidFill>
            <a:srgbClr val="FF0000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762000" eaLnBrk="0" hangingPunct="0">
              <a:spcBef>
                <a:spcPct val="20000"/>
              </a:spcBef>
              <a:buSzPct val="80000"/>
              <a:buFont typeface="Wingdings" pitchFamily="2" charset="2"/>
              <a:buNone/>
              <a:defRPr/>
            </a:pPr>
            <a:r>
              <a:rPr lang="ko-KR" altLang="en-US" u="none" dirty="0">
                <a:solidFill>
                  <a:srgbClr val="FFFFFF"/>
                </a:solidFill>
                <a:latin typeface="맑은 고딕" pitchFamily="50" charset="-127"/>
              </a:rPr>
              <a:t>영업</a:t>
            </a:r>
            <a:endParaRPr lang="en-US" altLang="ko-KR" u="none" dirty="0">
              <a:solidFill>
                <a:srgbClr val="FFFFFF"/>
              </a:solidFill>
              <a:latin typeface="맑은 고딕" pitchFamily="50" charset="-127"/>
            </a:endParaRPr>
          </a:p>
          <a:p>
            <a:pPr algn="ctr" defTabSz="762000" eaLnBrk="0" hangingPunct="0">
              <a:spcBef>
                <a:spcPct val="20000"/>
              </a:spcBef>
              <a:buSzPct val="80000"/>
              <a:buFont typeface="Wingdings" pitchFamily="2" charset="2"/>
              <a:buNone/>
              <a:defRPr/>
            </a:pPr>
            <a:r>
              <a:rPr lang="ko-KR" altLang="en-US" u="none" dirty="0">
                <a:solidFill>
                  <a:srgbClr val="FFFFFF"/>
                </a:solidFill>
                <a:latin typeface="맑은 고딕" pitchFamily="50" charset="-127"/>
              </a:rPr>
              <a:t>변수</a:t>
            </a:r>
          </a:p>
        </p:txBody>
      </p:sp>
      <p:sp>
        <p:nvSpPr>
          <p:cNvPr id="25" name="직사각형 24"/>
          <p:cNvSpPr/>
          <p:nvPr/>
        </p:nvSpPr>
        <p:spPr bwMode="auto">
          <a:xfrm>
            <a:off x="1208088" y="2789238"/>
            <a:ext cx="1165225" cy="693737"/>
          </a:xfrm>
          <a:prstGeom prst="rect">
            <a:avLst/>
          </a:prstGeom>
          <a:solidFill>
            <a:srgbClr val="FF9933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762000" eaLnBrk="0" hangingPunct="0">
              <a:spcBef>
                <a:spcPct val="20000"/>
              </a:spcBef>
              <a:buSzPct val="80000"/>
              <a:buFont typeface="Wingdings" pitchFamily="2" charset="2"/>
              <a:buNone/>
              <a:defRPr/>
            </a:pPr>
            <a:r>
              <a:rPr lang="ko-KR" altLang="en-US" u="none" dirty="0">
                <a:solidFill>
                  <a:srgbClr val="000000"/>
                </a:solidFill>
                <a:latin typeface="맑은 고딕" pitchFamily="50" charset="-127"/>
              </a:rPr>
              <a:t>마케팅</a:t>
            </a:r>
            <a:endParaRPr lang="en-US" altLang="ko-KR" u="none" dirty="0">
              <a:solidFill>
                <a:srgbClr val="000000"/>
              </a:solidFill>
              <a:latin typeface="맑은 고딕" pitchFamily="50" charset="-127"/>
            </a:endParaRPr>
          </a:p>
          <a:p>
            <a:pPr algn="ctr" defTabSz="762000" eaLnBrk="0" hangingPunct="0">
              <a:spcBef>
                <a:spcPct val="20000"/>
              </a:spcBef>
              <a:buSzPct val="80000"/>
              <a:buFont typeface="Wingdings" pitchFamily="2" charset="2"/>
              <a:buNone/>
              <a:defRPr/>
            </a:pPr>
            <a:r>
              <a:rPr lang="ko-KR" altLang="en-US" u="none" dirty="0">
                <a:solidFill>
                  <a:srgbClr val="000000"/>
                </a:solidFill>
                <a:latin typeface="맑은 고딕" pitchFamily="50" charset="-127"/>
              </a:rPr>
              <a:t>변수</a:t>
            </a:r>
          </a:p>
        </p:txBody>
      </p:sp>
      <p:sp>
        <p:nvSpPr>
          <p:cNvPr id="26" name="직사각형 25"/>
          <p:cNvSpPr/>
          <p:nvPr/>
        </p:nvSpPr>
        <p:spPr bwMode="auto">
          <a:xfrm>
            <a:off x="1208088" y="3554413"/>
            <a:ext cx="1165225" cy="695325"/>
          </a:xfrm>
          <a:prstGeom prst="rect">
            <a:avLst/>
          </a:prstGeom>
          <a:solidFill>
            <a:srgbClr val="FFCC00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762000" eaLnBrk="0" hangingPunct="0">
              <a:spcBef>
                <a:spcPct val="20000"/>
              </a:spcBef>
              <a:buSzPct val="80000"/>
              <a:buFont typeface="Wingdings" pitchFamily="2" charset="2"/>
              <a:buNone/>
              <a:defRPr/>
            </a:pPr>
            <a:r>
              <a:rPr lang="ko-KR" altLang="en-US" u="none" dirty="0">
                <a:solidFill>
                  <a:srgbClr val="000000"/>
                </a:solidFill>
                <a:latin typeface="맑은 고딕" pitchFamily="50" charset="-127"/>
              </a:rPr>
              <a:t>기본</a:t>
            </a:r>
            <a:endParaRPr lang="en-US" altLang="ko-KR" u="none" dirty="0">
              <a:solidFill>
                <a:srgbClr val="000000"/>
              </a:solidFill>
              <a:latin typeface="맑은 고딕" pitchFamily="50" charset="-127"/>
            </a:endParaRPr>
          </a:p>
          <a:p>
            <a:pPr algn="ctr" defTabSz="762000" eaLnBrk="0" hangingPunct="0">
              <a:spcBef>
                <a:spcPct val="20000"/>
              </a:spcBef>
              <a:buSzPct val="80000"/>
              <a:buFont typeface="Wingdings" pitchFamily="2" charset="2"/>
              <a:buNone/>
              <a:defRPr/>
            </a:pPr>
            <a:r>
              <a:rPr lang="ko-KR" altLang="en-US" u="none" dirty="0">
                <a:solidFill>
                  <a:srgbClr val="000000"/>
                </a:solidFill>
                <a:latin typeface="맑은 고딕" pitchFamily="50" charset="-127"/>
              </a:rPr>
              <a:t>변수</a:t>
            </a:r>
            <a:endParaRPr lang="en-US" altLang="ko-KR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4851400" y="2254250"/>
            <a:ext cx="1165225" cy="363176"/>
          </a:xfrm>
          <a:prstGeom prst="rect">
            <a:avLst/>
          </a:prstGeom>
        </p:spPr>
        <p:txBody>
          <a:bodyPr>
            <a:spAutoFit/>
          </a:bodyPr>
          <a:lstStyle/>
          <a:p>
            <a:pPr marL="95250" indent="-95250" algn="ctr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defRPr/>
            </a:pPr>
            <a:r>
              <a:rPr lang="en-US" altLang="ko-KR" sz="1600" u="none" dirty="0">
                <a:solidFill>
                  <a:srgbClr val="A50021"/>
                </a:solidFill>
                <a:latin typeface="맑은 고딕" pitchFamily="50" charset="-127"/>
              </a:rPr>
              <a:t>52 </a:t>
            </a:r>
            <a:r>
              <a:rPr lang="ko-KR" altLang="en-US" u="none" spc="-50" dirty="0">
                <a:solidFill>
                  <a:srgbClr val="000000"/>
                </a:solidFill>
                <a:latin typeface="맑은 고딕" pitchFamily="50" charset="-127"/>
              </a:rPr>
              <a:t>개</a:t>
            </a:r>
            <a:endParaRPr lang="en-US" altLang="ko-KR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41" name="직사각형 40"/>
          <p:cNvSpPr/>
          <p:nvPr/>
        </p:nvSpPr>
        <p:spPr>
          <a:xfrm>
            <a:off x="7046913" y="2254250"/>
            <a:ext cx="1165225" cy="363176"/>
          </a:xfrm>
          <a:prstGeom prst="rect">
            <a:avLst/>
          </a:prstGeom>
        </p:spPr>
        <p:txBody>
          <a:bodyPr>
            <a:spAutoFit/>
          </a:bodyPr>
          <a:lstStyle/>
          <a:p>
            <a:pPr marL="95250" indent="-95250" algn="ctr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defRPr/>
            </a:pPr>
            <a:r>
              <a:rPr lang="en-US" altLang="ko-KR" sz="1600" u="none" dirty="0">
                <a:solidFill>
                  <a:srgbClr val="A50021"/>
                </a:solidFill>
                <a:latin typeface="맑은 고딕" pitchFamily="50" charset="-127"/>
              </a:rPr>
              <a:t>11 </a:t>
            </a:r>
            <a:r>
              <a:rPr lang="ko-KR" altLang="en-US" u="none" spc="-50" dirty="0">
                <a:solidFill>
                  <a:srgbClr val="000000"/>
                </a:solidFill>
                <a:latin typeface="맑은 고딕" pitchFamily="50" charset="-127"/>
              </a:rPr>
              <a:t>개</a:t>
            </a:r>
            <a:endParaRPr lang="en-US" altLang="ko-KR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48" name="직사각형 47"/>
          <p:cNvSpPr/>
          <p:nvPr/>
        </p:nvSpPr>
        <p:spPr>
          <a:xfrm>
            <a:off x="2817813" y="3044825"/>
            <a:ext cx="1165225" cy="363176"/>
          </a:xfrm>
          <a:prstGeom prst="rect">
            <a:avLst/>
          </a:prstGeom>
        </p:spPr>
        <p:txBody>
          <a:bodyPr>
            <a:spAutoFit/>
          </a:bodyPr>
          <a:lstStyle/>
          <a:p>
            <a:pPr marL="95250" indent="-95250" algn="ctr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defRPr/>
            </a:pPr>
            <a:r>
              <a:rPr lang="en-US" altLang="ko-KR" sz="1600" u="none" dirty="0">
                <a:solidFill>
                  <a:srgbClr val="A50021"/>
                </a:solidFill>
                <a:latin typeface="맑은 고딕" pitchFamily="50" charset="-127"/>
              </a:rPr>
              <a:t>43 </a:t>
            </a:r>
            <a:r>
              <a:rPr lang="ko-KR" altLang="en-US" u="none" spc="-50" dirty="0">
                <a:solidFill>
                  <a:srgbClr val="000000"/>
                </a:solidFill>
                <a:latin typeface="맑은 고딕" pitchFamily="50" charset="-127"/>
              </a:rPr>
              <a:t>개</a:t>
            </a:r>
            <a:endParaRPr lang="en-US" altLang="ko-KR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49" name="직사각형 48"/>
          <p:cNvSpPr/>
          <p:nvPr/>
        </p:nvSpPr>
        <p:spPr>
          <a:xfrm>
            <a:off x="4851400" y="3044825"/>
            <a:ext cx="1165225" cy="363176"/>
          </a:xfrm>
          <a:prstGeom prst="rect">
            <a:avLst/>
          </a:prstGeom>
        </p:spPr>
        <p:txBody>
          <a:bodyPr>
            <a:spAutoFit/>
          </a:bodyPr>
          <a:lstStyle/>
          <a:p>
            <a:pPr marL="95250" indent="-95250" algn="ctr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defRPr/>
            </a:pPr>
            <a:r>
              <a:rPr lang="en-US" altLang="ko-KR" sz="1600" u="none" dirty="0">
                <a:solidFill>
                  <a:srgbClr val="A50021"/>
                </a:solidFill>
                <a:latin typeface="맑은 고딕" pitchFamily="50" charset="-127"/>
              </a:rPr>
              <a:t>38 </a:t>
            </a:r>
            <a:r>
              <a:rPr lang="ko-KR" altLang="en-US" u="none" spc="-50" dirty="0">
                <a:solidFill>
                  <a:srgbClr val="000000"/>
                </a:solidFill>
                <a:latin typeface="맑은 고딕" pitchFamily="50" charset="-127"/>
              </a:rPr>
              <a:t>개</a:t>
            </a:r>
            <a:endParaRPr lang="en-US" altLang="ko-KR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51" name="직사각형 50"/>
          <p:cNvSpPr/>
          <p:nvPr/>
        </p:nvSpPr>
        <p:spPr>
          <a:xfrm>
            <a:off x="7046913" y="3044825"/>
            <a:ext cx="1165225" cy="361950"/>
          </a:xfrm>
          <a:prstGeom prst="rect">
            <a:avLst/>
          </a:prstGeom>
        </p:spPr>
        <p:txBody>
          <a:bodyPr>
            <a:spAutoFit/>
          </a:bodyPr>
          <a:lstStyle/>
          <a:p>
            <a:pPr marL="95250" indent="-95250" algn="ctr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defRPr/>
            </a:pPr>
            <a:r>
              <a:rPr lang="en-US" altLang="ko-KR" sz="1600" u="none" dirty="0">
                <a:solidFill>
                  <a:srgbClr val="A50021"/>
                </a:solidFill>
                <a:latin typeface="맑은 고딕" pitchFamily="50" charset="-127"/>
              </a:rPr>
              <a:t>11 </a:t>
            </a:r>
            <a:r>
              <a:rPr lang="ko-KR" altLang="en-US" u="none" spc="-50" dirty="0">
                <a:solidFill>
                  <a:srgbClr val="000000"/>
                </a:solidFill>
                <a:latin typeface="맑은 고딕" pitchFamily="50" charset="-127"/>
              </a:rPr>
              <a:t>개</a:t>
            </a:r>
            <a:endParaRPr lang="en-US" altLang="ko-KR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55" name="직사각형 54"/>
          <p:cNvSpPr/>
          <p:nvPr/>
        </p:nvSpPr>
        <p:spPr>
          <a:xfrm>
            <a:off x="2817813" y="3773488"/>
            <a:ext cx="1165225" cy="363176"/>
          </a:xfrm>
          <a:prstGeom prst="rect">
            <a:avLst/>
          </a:prstGeom>
        </p:spPr>
        <p:txBody>
          <a:bodyPr>
            <a:spAutoFit/>
          </a:bodyPr>
          <a:lstStyle/>
          <a:p>
            <a:pPr marL="95250" indent="-95250" algn="ctr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defRPr/>
            </a:pPr>
            <a:r>
              <a:rPr lang="en-US" altLang="ko-KR" sz="1600" u="none" dirty="0">
                <a:solidFill>
                  <a:srgbClr val="A50021"/>
                </a:solidFill>
                <a:latin typeface="맑은 고딕" pitchFamily="50" charset="-127"/>
              </a:rPr>
              <a:t>78 </a:t>
            </a:r>
            <a:r>
              <a:rPr lang="ko-KR" altLang="en-US" u="none" spc="-50" dirty="0">
                <a:solidFill>
                  <a:srgbClr val="000000"/>
                </a:solidFill>
                <a:latin typeface="맑은 고딕" pitchFamily="50" charset="-127"/>
              </a:rPr>
              <a:t>개</a:t>
            </a:r>
            <a:endParaRPr lang="en-US" altLang="ko-KR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58" name="직사각형 57"/>
          <p:cNvSpPr/>
          <p:nvPr/>
        </p:nvSpPr>
        <p:spPr>
          <a:xfrm>
            <a:off x="7046913" y="3773488"/>
            <a:ext cx="1165225" cy="363537"/>
          </a:xfrm>
          <a:prstGeom prst="rect">
            <a:avLst/>
          </a:prstGeom>
        </p:spPr>
        <p:txBody>
          <a:bodyPr>
            <a:spAutoFit/>
          </a:bodyPr>
          <a:lstStyle/>
          <a:p>
            <a:pPr marL="95250" indent="-95250" algn="ctr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defRPr/>
            </a:pPr>
            <a:r>
              <a:rPr lang="en-US" altLang="ko-KR" sz="1600" u="none" dirty="0">
                <a:solidFill>
                  <a:srgbClr val="A50021"/>
                </a:solidFill>
                <a:latin typeface="맑은 고딕" pitchFamily="50" charset="-127"/>
              </a:rPr>
              <a:t>73 </a:t>
            </a:r>
            <a:r>
              <a:rPr lang="ko-KR" altLang="en-US" u="none" spc="-50" dirty="0">
                <a:solidFill>
                  <a:srgbClr val="000000"/>
                </a:solidFill>
                <a:latin typeface="맑은 고딕" pitchFamily="50" charset="-127"/>
              </a:rPr>
              <a:t>개</a:t>
            </a:r>
            <a:endParaRPr lang="en-US" altLang="ko-KR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cxnSp>
        <p:nvCxnSpPr>
          <p:cNvPr id="62" name="직선 연결선 61"/>
          <p:cNvCxnSpPr/>
          <p:nvPr/>
        </p:nvCxnSpPr>
        <p:spPr bwMode="auto">
          <a:xfrm rot="5400000">
            <a:off x="2383631" y="3917157"/>
            <a:ext cx="3671887" cy="0"/>
          </a:xfrm>
          <a:prstGeom prst="line">
            <a:avLst/>
          </a:prstGeom>
          <a:solidFill>
            <a:srgbClr val="A3A3A3">
              <a:alpha val="2000"/>
            </a:srgb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4" name="직선 연결선 63"/>
          <p:cNvCxnSpPr/>
          <p:nvPr/>
        </p:nvCxnSpPr>
        <p:spPr bwMode="auto">
          <a:xfrm rot="5400000">
            <a:off x="4725194" y="3906044"/>
            <a:ext cx="3671888" cy="0"/>
          </a:xfrm>
          <a:prstGeom prst="line">
            <a:avLst/>
          </a:prstGeom>
          <a:solidFill>
            <a:srgbClr val="A3A3A3">
              <a:alpha val="2000"/>
            </a:srgb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236564" name="Line 27"/>
          <p:cNvSpPr>
            <a:spLocks noChangeShapeType="1"/>
          </p:cNvSpPr>
          <p:nvPr/>
        </p:nvSpPr>
        <p:spPr bwMode="auto">
          <a:xfrm>
            <a:off x="2541588" y="5788025"/>
            <a:ext cx="621665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ko-KR" altLang="en-US">
              <a:solidFill>
                <a:srgbClr val="000000"/>
              </a:solidFill>
              <a:latin typeface="맑은 고딕" pitchFamily="50" charset="-127"/>
            </a:endParaRPr>
          </a:p>
        </p:txBody>
      </p:sp>
      <p:cxnSp>
        <p:nvCxnSpPr>
          <p:cNvPr id="57" name="직선 연결선 56"/>
          <p:cNvCxnSpPr/>
          <p:nvPr/>
        </p:nvCxnSpPr>
        <p:spPr bwMode="auto">
          <a:xfrm rot="10800000">
            <a:off x="2505075" y="5040677"/>
            <a:ext cx="6216650" cy="0"/>
          </a:xfrm>
          <a:prstGeom prst="line">
            <a:avLst/>
          </a:prstGeom>
          <a:solidFill>
            <a:srgbClr val="A3A3A3">
              <a:alpha val="2000"/>
            </a:srgb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61" name="직사각형 60"/>
          <p:cNvSpPr/>
          <p:nvPr/>
        </p:nvSpPr>
        <p:spPr>
          <a:xfrm>
            <a:off x="7046913" y="5251450"/>
            <a:ext cx="1165225" cy="363176"/>
          </a:xfrm>
          <a:prstGeom prst="rect">
            <a:avLst/>
          </a:prstGeom>
        </p:spPr>
        <p:txBody>
          <a:bodyPr>
            <a:spAutoFit/>
          </a:bodyPr>
          <a:lstStyle/>
          <a:p>
            <a:pPr marL="95250" indent="-95250" algn="ctr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defRPr/>
            </a:pPr>
            <a:r>
              <a:rPr lang="en-US" altLang="ko-KR" sz="1600" u="none" dirty="0">
                <a:solidFill>
                  <a:srgbClr val="A50021"/>
                </a:solidFill>
                <a:latin typeface="맑은 고딕" pitchFamily="50" charset="-127"/>
              </a:rPr>
              <a:t>15 </a:t>
            </a:r>
            <a:r>
              <a:rPr lang="ko-KR" altLang="en-US" u="none" spc="-50" dirty="0">
                <a:solidFill>
                  <a:srgbClr val="000000"/>
                </a:solidFill>
                <a:latin typeface="맑은 고딕" pitchFamily="50" charset="-127"/>
              </a:rPr>
              <a:t>개</a:t>
            </a:r>
            <a:endParaRPr lang="en-US" altLang="ko-KR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66" name="직사각형 65"/>
          <p:cNvSpPr/>
          <p:nvPr/>
        </p:nvSpPr>
        <p:spPr>
          <a:xfrm>
            <a:off x="2770188" y="5838844"/>
            <a:ext cx="1165225" cy="363176"/>
          </a:xfrm>
          <a:prstGeom prst="rect">
            <a:avLst/>
          </a:prstGeom>
        </p:spPr>
        <p:txBody>
          <a:bodyPr>
            <a:spAutoFit/>
          </a:bodyPr>
          <a:lstStyle/>
          <a:p>
            <a:pPr marL="95250" indent="-95250" algn="ctr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defRPr/>
            </a:pPr>
            <a:r>
              <a:rPr lang="en-US" altLang="ko-KR" sz="1600" u="none" dirty="0">
                <a:solidFill>
                  <a:srgbClr val="A50021"/>
                </a:solidFill>
                <a:latin typeface="맑은 고딕" pitchFamily="50" charset="-127"/>
              </a:rPr>
              <a:t>233 </a:t>
            </a:r>
            <a:r>
              <a:rPr lang="ko-KR" altLang="en-US" u="none" spc="-50" dirty="0">
                <a:solidFill>
                  <a:srgbClr val="000000"/>
                </a:solidFill>
                <a:latin typeface="맑은 고딕" pitchFamily="50" charset="-127"/>
              </a:rPr>
              <a:t>개</a:t>
            </a:r>
            <a:endParaRPr lang="en-US" altLang="ko-KR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67" name="직사각형 66"/>
          <p:cNvSpPr/>
          <p:nvPr/>
        </p:nvSpPr>
        <p:spPr>
          <a:xfrm>
            <a:off x="4810125" y="5838844"/>
            <a:ext cx="1166813" cy="363538"/>
          </a:xfrm>
          <a:prstGeom prst="rect">
            <a:avLst/>
          </a:prstGeom>
        </p:spPr>
        <p:txBody>
          <a:bodyPr>
            <a:spAutoFit/>
          </a:bodyPr>
          <a:lstStyle/>
          <a:p>
            <a:pPr marL="95250" indent="-95250" algn="ctr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defRPr/>
            </a:pPr>
            <a:r>
              <a:rPr lang="en-US" altLang="ko-KR" sz="1600" u="none" dirty="0">
                <a:solidFill>
                  <a:srgbClr val="A50021"/>
                </a:solidFill>
                <a:latin typeface="맑은 고딕" pitchFamily="50" charset="-127"/>
              </a:rPr>
              <a:t>214 </a:t>
            </a:r>
            <a:r>
              <a:rPr lang="ko-KR" altLang="en-US" u="none" spc="-50" dirty="0">
                <a:solidFill>
                  <a:srgbClr val="000000"/>
                </a:solidFill>
                <a:latin typeface="맑은 고딕" pitchFamily="50" charset="-127"/>
              </a:rPr>
              <a:t>개</a:t>
            </a:r>
            <a:endParaRPr lang="en-US" altLang="ko-KR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68" name="직사각형 67"/>
          <p:cNvSpPr/>
          <p:nvPr/>
        </p:nvSpPr>
        <p:spPr>
          <a:xfrm>
            <a:off x="6999288" y="5851544"/>
            <a:ext cx="1165225" cy="363538"/>
          </a:xfrm>
          <a:prstGeom prst="rect">
            <a:avLst/>
          </a:prstGeom>
        </p:spPr>
        <p:txBody>
          <a:bodyPr>
            <a:spAutoFit/>
          </a:bodyPr>
          <a:lstStyle/>
          <a:p>
            <a:pPr marL="95250" indent="-95250" algn="ctr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defRPr/>
            </a:pPr>
            <a:r>
              <a:rPr lang="en-US" altLang="ko-KR" sz="1600" u="none" dirty="0">
                <a:solidFill>
                  <a:srgbClr val="A50021"/>
                </a:solidFill>
                <a:latin typeface="맑은 고딕" pitchFamily="50" charset="-127"/>
              </a:rPr>
              <a:t>144 </a:t>
            </a:r>
            <a:r>
              <a:rPr lang="ko-KR" altLang="en-US" u="none" spc="-50" dirty="0">
                <a:solidFill>
                  <a:srgbClr val="000000"/>
                </a:solidFill>
                <a:latin typeface="맑은 고딕" pitchFamily="50" charset="-127"/>
              </a:rPr>
              <a:t>개</a:t>
            </a:r>
            <a:endParaRPr lang="en-US" altLang="ko-KR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69" name="직사각형 68"/>
          <p:cNvSpPr/>
          <p:nvPr/>
        </p:nvSpPr>
        <p:spPr bwMode="auto">
          <a:xfrm>
            <a:off x="1208088" y="5072063"/>
            <a:ext cx="1165225" cy="69532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762000" eaLnBrk="0" hangingPunct="0">
              <a:spcBef>
                <a:spcPct val="20000"/>
              </a:spcBef>
              <a:buSzPct val="80000"/>
              <a:buFont typeface="Wingdings" pitchFamily="2" charset="2"/>
              <a:buNone/>
              <a:defRPr/>
            </a:pPr>
            <a:r>
              <a:rPr lang="ko-KR" altLang="en-US" u="none" dirty="0">
                <a:solidFill>
                  <a:srgbClr val="000000"/>
                </a:solidFill>
                <a:latin typeface="맑은 고딕" pitchFamily="50" charset="-127"/>
              </a:rPr>
              <a:t>판매량</a:t>
            </a:r>
            <a:endParaRPr lang="en-US" altLang="ko-KR" sz="1200" u="none" dirty="0">
              <a:solidFill>
                <a:srgbClr val="000000"/>
              </a:solidFill>
              <a:latin typeface="맑은 고딕" pitchFamily="50" charset="-127"/>
            </a:endParaRPr>
          </a:p>
          <a:p>
            <a:pPr algn="ctr" defTabSz="762000" eaLnBrk="0" hangingPunct="0">
              <a:spcBef>
                <a:spcPct val="20000"/>
              </a:spcBef>
              <a:buSzPct val="80000"/>
              <a:buFont typeface="Wingdings" pitchFamily="2" charset="2"/>
              <a:buNone/>
              <a:defRPr/>
            </a:pPr>
            <a:r>
              <a:rPr lang="en-US" altLang="ko-KR" sz="1200" u="none" dirty="0">
                <a:solidFill>
                  <a:srgbClr val="000000"/>
                </a:solidFill>
                <a:latin typeface="맑은 고딕" pitchFamily="50" charset="-127"/>
              </a:rPr>
              <a:t>(</a:t>
            </a:r>
            <a:r>
              <a:rPr lang="ko-KR" altLang="en-US" sz="1200" u="none" dirty="0">
                <a:solidFill>
                  <a:srgbClr val="000000"/>
                </a:solidFill>
                <a:latin typeface="맑은 고딕" pitchFamily="50" charset="-127"/>
              </a:rPr>
              <a:t>자기상관</a:t>
            </a:r>
            <a:r>
              <a:rPr lang="en-US" altLang="ko-KR" sz="1200" u="none" dirty="0">
                <a:solidFill>
                  <a:srgbClr val="000000"/>
                </a:solidFill>
                <a:latin typeface="맑은 고딕" pitchFamily="50" charset="-127"/>
              </a:rPr>
              <a:t>)</a:t>
            </a:r>
            <a:endParaRPr lang="en-US" altLang="ko-KR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236571" name="AutoShape 52"/>
          <p:cNvSpPr>
            <a:spLocks noChangeArrowheads="1"/>
          </p:cNvSpPr>
          <p:nvPr/>
        </p:nvSpPr>
        <p:spPr bwMode="auto">
          <a:xfrm>
            <a:off x="3854450" y="2235200"/>
            <a:ext cx="776288" cy="323850"/>
          </a:xfrm>
          <a:prstGeom prst="rightArrow">
            <a:avLst>
              <a:gd name="adj1" fmla="val 48657"/>
              <a:gd name="adj2" fmla="val 37132"/>
            </a:avLst>
          </a:prstGeom>
          <a:gradFill rotWithShape="1">
            <a:gsLst>
              <a:gs pos="0">
                <a:srgbClr val="FFDB4D">
                  <a:alpha val="39998"/>
                </a:srgbClr>
              </a:gs>
              <a:gs pos="100000">
                <a:srgbClr val="FFCC00">
                  <a:alpha val="89998"/>
                </a:srgbClr>
              </a:gs>
            </a:gsLst>
            <a:lin ang="0" scaled="1"/>
          </a:gradFill>
          <a:ln w="1270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ko-KR" altLang="en-US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236572" name="AutoShape 52"/>
          <p:cNvSpPr>
            <a:spLocks noChangeArrowheads="1"/>
          </p:cNvSpPr>
          <p:nvPr/>
        </p:nvSpPr>
        <p:spPr bwMode="auto">
          <a:xfrm>
            <a:off x="3854450" y="3025775"/>
            <a:ext cx="776288" cy="323850"/>
          </a:xfrm>
          <a:prstGeom prst="rightArrow">
            <a:avLst>
              <a:gd name="adj1" fmla="val 48657"/>
              <a:gd name="adj2" fmla="val 37132"/>
            </a:avLst>
          </a:prstGeom>
          <a:gradFill rotWithShape="1">
            <a:gsLst>
              <a:gs pos="0">
                <a:srgbClr val="FFDB4D">
                  <a:alpha val="39998"/>
                </a:srgbClr>
              </a:gs>
              <a:gs pos="100000">
                <a:srgbClr val="FFCC00">
                  <a:alpha val="89998"/>
                </a:srgbClr>
              </a:gs>
            </a:gsLst>
            <a:lin ang="0" scaled="1"/>
          </a:gradFill>
          <a:ln w="1270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ko-KR" altLang="en-US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236573" name="AutoShape 52"/>
          <p:cNvSpPr>
            <a:spLocks noChangeArrowheads="1"/>
          </p:cNvSpPr>
          <p:nvPr/>
        </p:nvSpPr>
        <p:spPr bwMode="auto">
          <a:xfrm>
            <a:off x="6091238" y="2235200"/>
            <a:ext cx="777875" cy="323850"/>
          </a:xfrm>
          <a:prstGeom prst="rightArrow">
            <a:avLst>
              <a:gd name="adj1" fmla="val 48657"/>
              <a:gd name="adj2" fmla="val 37208"/>
            </a:avLst>
          </a:prstGeom>
          <a:gradFill rotWithShape="1">
            <a:gsLst>
              <a:gs pos="0">
                <a:srgbClr val="FFDB4D">
                  <a:alpha val="39998"/>
                </a:srgbClr>
              </a:gs>
              <a:gs pos="100000">
                <a:srgbClr val="FFCC00">
                  <a:alpha val="89998"/>
                </a:srgbClr>
              </a:gs>
            </a:gsLst>
            <a:lin ang="0" scaled="1"/>
          </a:gradFill>
          <a:ln w="1270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ko-KR" altLang="en-US" u="none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236574" name="AutoShape 52"/>
          <p:cNvSpPr>
            <a:spLocks noChangeArrowheads="1"/>
          </p:cNvSpPr>
          <p:nvPr/>
        </p:nvSpPr>
        <p:spPr bwMode="auto">
          <a:xfrm>
            <a:off x="6091238" y="3025775"/>
            <a:ext cx="777875" cy="323850"/>
          </a:xfrm>
          <a:prstGeom prst="rightArrow">
            <a:avLst>
              <a:gd name="adj1" fmla="val 48657"/>
              <a:gd name="adj2" fmla="val 37208"/>
            </a:avLst>
          </a:prstGeom>
          <a:gradFill rotWithShape="1">
            <a:gsLst>
              <a:gs pos="0">
                <a:srgbClr val="FFDB4D">
                  <a:alpha val="39998"/>
                </a:srgbClr>
              </a:gs>
              <a:gs pos="100000">
                <a:srgbClr val="FFCC00">
                  <a:alpha val="89998"/>
                </a:srgbClr>
              </a:gs>
            </a:gsLst>
            <a:lin ang="0" scaled="1"/>
          </a:gradFill>
          <a:ln w="1270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ko-KR" altLang="en-US" u="none">
              <a:solidFill>
                <a:srgbClr val="000000"/>
              </a:solidFill>
              <a:latin typeface="맑은 고딕" pitchFamily="50" charset="-127"/>
            </a:endParaRPr>
          </a:p>
        </p:txBody>
      </p:sp>
      <p:cxnSp>
        <p:nvCxnSpPr>
          <p:cNvPr id="38" name="직선 연결선 37"/>
          <p:cNvCxnSpPr/>
          <p:nvPr/>
        </p:nvCxnSpPr>
        <p:spPr bwMode="auto">
          <a:xfrm rot="10800000">
            <a:off x="2505075" y="4292600"/>
            <a:ext cx="6216650" cy="0"/>
          </a:xfrm>
          <a:prstGeom prst="line">
            <a:avLst/>
          </a:prstGeom>
          <a:solidFill>
            <a:srgbClr val="A3A3A3">
              <a:alpha val="2000"/>
            </a:srgb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39" name="직사각형 38"/>
          <p:cNvSpPr/>
          <p:nvPr/>
        </p:nvSpPr>
        <p:spPr bwMode="auto">
          <a:xfrm>
            <a:off x="1208088" y="4313238"/>
            <a:ext cx="1165225" cy="695325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762000" eaLnBrk="0" hangingPunct="0">
              <a:spcBef>
                <a:spcPct val="20000"/>
              </a:spcBef>
              <a:buSzPct val="80000"/>
              <a:buFont typeface="Wingdings" pitchFamily="2" charset="2"/>
              <a:buNone/>
              <a:defRPr/>
            </a:pPr>
            <a:r>
              <a:rPr lang="ko-KR" altLang="en-US" u="none" dirty="0">
                <a:solidFill>
                  <a:srgbClr val="000000"/>
                </a:solidFill>
                <a:latin typeface="맑은 고딕" pitchFamily="50" charset="-127"/>
              </a:rPr>
              <a:t>날씨</a:t>
            </a:r>
            <a:endParaRPr lang="en-US" altLang="ko-KR" u="none" dirty="0">
              <a:solidFill>
                <a:srgbClr val="000000"/>
              </a:solidFill>
              <a:latin typeface="맑은 고딕" pitchFamily="50" charset="-127"/>
            </a:endParaRPr>
          </a:p>
          <a:p>
            <a:pPr algn="ctr" defTabSz="762000" eaLnBrk="0" hangingPunct="0">
              <a:spcBef>
                <a:spcPct val="20000"/>
              </a:spcBef>
              <a:buSzPct val="80000"/>
              <a:buFont typeface="Wingdings" pitchFamily="2" charset="2"/>
              <a:buNone/>
              <a:defRPr/>
            </a:pPr>
            <a:r>
              <a:rPr lang="ko-KR" altLang="en-US" u="none" dirty="0">
                <a:solidFill>
                  <a:srgbClr val="000000"/>
                </a:solidFill>
                <a:latin typeface="맑은 고딕" pitchFamily="50" charset="-127"/>
              </a:rPr>
              <a:t>변수</a:t>
            </a:r>
            <a:endParaRPr lang="en-US" altLang="ko-KR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2817813" y="4497388"/>
            <a:ext cx="1165225" cy="363176"/>
          </a:xfrm>
          <a:prstGeom prst="rect">
            <a:avLst/>
          </a:prstGeom>
        </p:spPr>
        <p:txBody>
          <a:bodyPr>
            <a:spAutoFit/>
          </a:bodyPr>
          <a:lstStyle/>
          <a:p>
            <a:pPr marL="95250" indent="-95250" algn="ctr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defRPr/>
            </a:pPr>
            <a:r>
              <a:rPr lang="en-US" altLang="ko-KR" sz="1600" u="none" dirty="0">
                <a:solidFill>
                  <a:srgbClr val="A50021"/>
                </a:solidFill>
                <a:latin typeface="맑은 고딕" pitchFamily="50" charset="-127"/>
              </a:rPr>
              <a:t>46 </a:t>
            </a:r>
            <a:r>
              <a:rPr lang="ko-KR" altLang="en-US" u="none" spc="-50" dirty="0">
                <a:solidFill>
                  <a:srgbClr val="000000"/>
                </a:solidFill>
                <a:latin typeface="맑은 고딕" pitchFamily="50" charset="-127"/>
              </a:rPr>
              <a:t>개</a:t>
            </a:r>
            <a:endParaRPr lang="en-US" altLang="ko-KR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43" name="직사각형 42"/>
          <p:cNvSpPr/>
          <p:nvPr/>
        </p:nvSpPr>
        <p:spPr>
          <a:xfrm>
            <a:off x="7046913" y="4497388"/>
            <a:ext cx="1165225" cy="361950"/>
          </a:xfrm>
          <a:prstGeom prst="rect">
            <a:avLst/>
          </a:prstGeom>
        </p:spPr>
        <p:txBody>
          <a:bodyPr>
            <a:spAutoFit/>
          </a:bodyPr>
          <a:lstStyle/>
          <a:p>
            <a:pPr marL="95250" indent="-95250" algn="ctr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defRPr/>
            </a:pPr>
            <a:r>
              <a:rPr lang="en-US" altLang="ko-KR" sz="1600" u="none" dirty="0">
                <a:solidFill>
                  <a:srgbClr val="A50021"/>
                </a:solidFill>
                <a:latin typeface="맑은 고딕" pitchFamily="50" charset="-127"/>
              </a:rPr>
              <a:t>34 </a:t>
            </a:r>
            <a:r>
              <a:rPr lang="ko-KR" altLang="en-US" u="none" spc="-50" dirty="0">
                <a:solidFill>
                  <a:srgbClr val="000000"/>
                </a:solidFill>
                <a:latin typeface="맑은 고딕" pitchFamily="50" charset="-127"/>
              </a:rPr>
              <a:t>개</a:t>
            </a:r>
            <a:endParaRPr lang="en-US" altLang="ko-KR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46" name="직사각형 45"/>
          <p:cNvSpPr/>
          <p:nvPr/>
        </p:nvSpPr>
        <p:spPr>
          <a:xfrm>
            <a:off x="4851400" y="3776663"/>
            <a:ext cx="1165225" cy="363537"/>
          </a:xfrm>
          <a:prstGeom prst="rect">
            <a:avLst/>
          </a:prstGeom>
        </p:spPr>
        <p:txBody>
          <a:bodyPr>
            <a:spAutoFit/>
          </a:bodyPr>
          <a:lstStyle/>
          <a:p>
            <a:pPr marL="95250" indent="-95250" algn="ctr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defRPr/>
            </a:pPr>
            <a:r>
              <a:rPr lang="en-US" altLang="ko-KR" sz="1600" u="none" dirty="0">
                <a:solidFill>
                  <a:srgbClr val="A50021"/>
                </a:solidFill>
                <a:latin typeface="맑은 고딕" pitchFamily="50" charset="-127"/>
              </a:rPr>
              <a:t>78 </a:t>
            </a:r>
            <a:r>
              <a:rPr lang="ko-KR" altLang="en-US" u="none" spc="-50" dirty="0">
                <a:solidFill>
                  <a:srgbClr val="000000"/>
                </a:solidFill>
                <a:latin typeface="맑은 고딕" pitchFamily="50" charset="-127"/>
              </a:rPr>
              <a:t>개</a:t>
            </a:r>
            <a:endParaRPr lang="en-US" altLang="ko-KR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47" name="직사각형 46"/>
          <p:cNvSpPr/>
          <p:nvPr/>
        </p:nvSpPr>
        <p:spPr>
          <a:xfrm>
            <a:off x="4851400" y="4500563"/>
            <a:ext cx="1165225" cy="363537"/>
          </a:xfrm>
          <a:prstGeom prst="rect">
            <a:avLst/>
          </a:prstGeom>
        </p:spPr>
        <p:txBody>
          <a:bodyPr>
            <a:spAutoFit/>
          </a:bodyPr>
          <a:lstStyle/>
          <a:p>
            <a:pPr marL="95250" indent="-95250" algn="ctr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defRPr/>
            </a:pPr>
            <a:r>
              <a:rPr lang="en-US" altLang="ko-KR" sz="1600" u="none" dirty="0">
                <a:solidFill>
                  <a:srgbClr val="A50021"/>
                </a:solidFill>
                <a:latin typeface="맑은 고딕" pitchFamily="50" charset="-127"/>
              </a:rPr>
              <a:t>46 </a:t>
            </a:r>
            <a:r>
              <a:rPr lang="ko-KR" altLang="en-US" u="none" spc="-50" dirty="0">
                <a:solidFill>
                  <a:srgbClr val="000000"/>
                </a:solidFill>
                <a:latin typeface="맑은 고딕" pitchFamily="50" charset="-127"/>
              </a:rPr>
              <a:t>개</a:t>
            </a:r>
            <a:endParaRPr lang="en-US" altLang="ko-KR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236581" name="AutoShape 52"/>
          <p:cNvSpPr>
            <a:spLocks noChangeArrowheads="1"/>
          </p:cNvSpPr>
          <p:nvPr/>
        </p:nvSpPr>
        <p:spPr bwMode="auto">
          <a:xfrm>
            <a:off x="3860800" y="3790950"/>
            <a:ext cx="776288" cy="325438"/>
          </a:xfrm>
          <a:prstGeom prst="rightArrow">
            <a:avLst>
              <a:gd name="adj1" fmla="val 48657"/>
              <a:gd name="adj2" fmla="val 36951"/>
            </a:avLst>
          </a:prstGeom>
          <a:gradFill rotWithShape="1">
            <a:gsLst>
              <a:gs pos="0">
                <a:srgbClr val="FFDB4D">
                  <a:alpha val="39998"/>
                </a:srgbClr>
              </a:gs>
              <a:gs pos="100000">
                <a:srgbClr val="FFCC00">
                  <a:alpha val="89998"/>
                </a:srgbClr>
              </a:gs>
            </a:gsLst>
            <a:lin ang="0" scaled="1"/>
          </a:gradFill>
          <a:ln w="1270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ko-KR" altLang="en-US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236582" name="AutoShape 52"/>
          <p:cNvSpPr>
            <a:spLocks noChangeArrowheads="1"/>
          </p:cNvSpPr>
          <p:nvPr/>
        </p:nvSpPr>
        <p:spPr bwMode="auto">
          <a:xfrm>
            <a:off x="3860800" y="4546600"/>
            <a:ext cx="776288" cy="323850"/>
          </a:xfrm>
          <a:prstGeom prst="rightArrow">
            <a:avLst>
              <a:gd name="adj1" fmla="val 48657"/>
              <a:gd name="adj2" fmla="val 37132"/>
            </a:avLst>
          </a:prstGeom>
          <a:gradFill rotWithShape="1">
            <a:gsLst>
              <a:gs pos="0">
                <a:srgbClr val="FFDB4D">
                  <a:alpha val="39998"/>
                </a:srgbClr>
              </a:gs>
              <a:gs pos="100000">
                <a:srgbClr val="FFCC00">
                  <a:alpha val="89998"/>
                </a:srgbClr>
              </a:gs>
            </a:gsLst>
            <a:lin ang="0" scaled="1"/>
          </a:gradFill>
          <a:ln w="1270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ko-KR" altLang="en-US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236583" name="AutoShape 52"/>
          <p:cNvSpPr>
            <a:spLocks noChangeArrowheads="1"/>
          </p:cNvSpPr>
          <p:nvPr/>
        </p:nvSpPr>
        <p:spPr bwMode="auto">
          <a:xfrm>
            <a:off x="6097588" y="3790950"/>
            <a:ext cx="777875" cy="325438"/>
          </a:xfrm>
          <a:prstGeom prst="rightArrow">
            <a:avLst>
              <a:gd name="adj1" fmla="val 48657"/>
              <a:gd name="adj2" fmla="val 37027"/>
            </a:avLst>
          </a:prstGeom>
          <a:gradFill rotWithShape="1">
            <a:gsLst>
              <a:gs pos="0">
                <a:srgbClr val="FFDB4D">
                  <a:alpha val="39998"/>
                </a:srgbClr>
              </a:gs>
              <a:gs pos="100000">
                <a:srgbClr val="FFCC00">
                  <a:alpha val="89998"/>
                </a:srgbClr>
              </a:gs>
            </a:gsLst>
            <a:lin ang="0" scaled="1"/>
          </a:gradFill>
          <a:ln w="1270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ko-KR" altLang="en-US" u="none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236584" name="AutoShape 52"/>
          <p:cNvSpPr>
            <a:spLocks noChangeArrowheads="1"/>
          </p:cNvSpPr>
          <p:nvPr/>
        </p:nvSpPr>
        <p:spPr bwMode="auto">
          <a:xfrm>
            <a:off x="6097588" y="4546600"/>
            <a:ext cx="777875" cy="323850"/>
          </a:xfrm>
          <a:prstGeom prst="rightArrow">
            <a:avLst>
              <a:gd name="adj1" fmla="val 48657"/>
              <a:gd name="adj2" fmla="val 37208"/>
            </a:avLst>
          </a:prstGeom>
          <a:gradFill rotWithShape="1">
            <a:gsLst>
              <a:gs pos="0">
                <a:srgbClr val="FFDB4D">
                  <a:alpha val="39998"/>
                </a:srgbClr>
              </a:gs>
              <a:gs pos="100000">
                <a:srgbClr val="FFCC00">
                  <a:alpha val="89998"/>
                </a:srgbClr>
              </a:gs>
            </a:gsLst>
            <a:lin ang="0" scaled="1"/>
          </a:gradFill>
          <a:ln w="1270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ko-KR" altLang="en-US" u="none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65" name="직사각형 64"/>
          <p:cNvSpPr/>
          <p:nvPr/>
        </p:nvSpPr>
        <p:spPr bwMode="auto">
          <a:xfrm>
            <a:off x="2373313" y="1428735"/>
            <a:ext cx="1793875" cy="428639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360">
              <a:lnSpc>
                <a:spcPct val="120000"/>
              </a:lnSpc>
              <a:defRPr/>
            </a:pPr>
            <a:r>
              <a:rPr lang="en-US" altLang="ko-KR" u="none" kern="0" dirty="0">
                <a:solidFill>
                  <a:srgbClr val="FFFFFF"/>
                </a:solidFill>
                <a:latin typeface="맑은 고딕" pitchFamily="50" charset="-127"/>
              </a:rPr>
              <a:t>Data </a:t>
            </a:r>
            <a:r>
              <a:rPr lang="ko-KR" altLang="en-US" u="none" kern="0" dirty="0">
                <a:solidFill>
                  <a:srgbClr val="FFFFFF"/>
                </a:solidFill>
                <a:latin typeface="맑은 고딕" pitchFamily="50" charset="-127"/>
              </a:rPr>
              <a:t>준비</a:t>
            </a:r>
            <a:endParaRPr lang="en-US" altLang="ko-KR" u="none" kern="0" dirty="0">
              <a:solidFill>
                <a:srgbClr val="FFFFFF"/>
              </a:solidFill>
              <a:latin typeface="맑은 고딕" pitchFamily="50" charset="-127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4251325" y="1428735"/>
            <a:ext cx="2260600" cy="428639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360">
              <a:lnSpc>
                <a:spcPct val="120000"/>
              </a:lnSpc>
              <a:defRPr/>
            </a:pPr>
            <a:r>
              <a:rPr lang="en-US" altLang="ko-KR" u="none" kern="0" dirty="0">
                <a:solidFill>
                  <a:srgbClr val="FFFFFF"/>
                </a:solidFill>
                <a:latin typeface="맑은 고딕" pitchFamily="50" charset="-127"/>
              </a:rPr>
              <a:t>Data </a:t>
            </a:r>
            <a:r>
              <a:rPr lang="ko-KR" altLang="en-US" u="none" kern="0" dirty="0">
                <a:solidFill>
                  <a:srgbClr val="FFFFFF"/>
                </a:solidFill>
                <a:latin typeface="맑은 고딕" pitchFamily="50" charset="-127"/>
              </a:rPr>
              <a:t>탐색 </a:t>
            </a:r>
            <a:r>
              <a:rPr lang="en-US" altLang="ko-KR" u="none" kern="0" dirty="0">
                <a:solidFill>
                  <a:srgbClr val="FFFFFF"/>
                </a:solidFill>
                <a:latin typeface="맑은 고딕" pitchFamily="50" charset="-127"/>
              </a:rPr>
              <a:t>/ </a:t>
            </a:r>
            <a:r>
              <a:rPr lang="ko-KR" altLang="en-US" u="none" kern="0" dirty="0">
                <a:solidFill>
                  <a:srgbClr val="FFFFFF"/>
                </a:solidFill>
                <a:latin typeface="맑은 고딕" pitchFamily="50" charset="-127"/>
              </a:rPr>
              <a:t>변수 선별</a:t>
            </a:r>
            <a:endParaRPr lang="en-US" altLang="ko-KR" u="none" kern="0" dirty="0">
              <a:solidFill>
                <a:srgbClr val="FFFFFF"/>
              </a:solidFill>
              <a:latin typeface="맑은 고딕" pitchFamily="50" charset="-127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6596063" y="1428735"/>
            <a:ext cx="2071687" cy="428639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 w="1270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360">
              <a:lnSpc>
                <a:spcPct val="120000"/>
              </a:lnSpc>
              <a:defRPr/>
            </a:pPr>
            <a:r>
              <a:rPr lang="ko-KR" altLang="en-US" u="none" kern="0" dirty="0" smtClean="0">
                <a:solidFill>
                  <a:srgbClr val="FFFFFF"/>
                </a:solidFill>
                <a:latin typeface="맑은 고딕" pitchFamily="50" charset="-127"/>
              </a:rPr>
              <a:t>모델링</a:t>
            </a:r>
            <a:endParaRPr lang="en-US" altLang="ko-KR" u="none" kern="0" dirty="0">
              <a:solidFill>
                <a:srgbClr val="FFFFFF"/>
              </a:solidFill>
              <a:latin typeface="맑은 고딕" pitchFamily="50" charset="-127"/>
            </a:endParaRPr>
          </a:p>
        </p:txBody>
      </p:sp>
      <p:sp>
        <p:nvSpPr>
          <p:cNvPr id="236586" name="Line 27"/>
          <p:cNvSpPr>
            <a:spLocks noChangeShapeType="1"/>
          </p:cNvSpPr>
          <p:nvPr/>
        </p:nvSpPr>
        <p:spPr bwMode="auto">
          <a:xfrm>
            <a:off x="1201738" y="1928813"/>
            <a:ext cx="757396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ko-KR" altLang="en-US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50" name="실행 단추: 앞으로 또는 다음 49">
            <a:hlinkClick r:id="rId2" action="ppaction://hlinksldjump" highlightClick="1"/>
          </p:cNvPr>
          <p:cNvSpPr/>
          <p:nvPr/>
        </p:nvSpPr>
        <p:spPr bwMode="auto">
          <a:xfrm>
            <a:off x="4289166" y="242672"/>
            <a:ext cx="231786" cy="234000"/>
          </a:xfrm>
          <a:prstGeom prst="actionButtonForwardNext">
            <a:avLst/>
          </a:prstGeom>
          <a:solidFill>
            <a:sysClr val="window" lastClr="FFFFFF"/>
          </a:solidFill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36000" rIns="90000" bIns="3600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ko-KR" altLang="en-US" sz="1300" b="0" u="none" kern="0" dirty="0" smtClean="0">
              <a:solidFill>
                <a:sysClr val="windowText" lastClr="000000"/>
              </a:solidFill>
              <a:latin typeface="맑은 고딕" pitchFamily="50" charset="-127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pPr eaLnBrk="1" hangingPunct="1"/>
            <a:r>
              <a:rPr lang="ko-KR" altLang="en-US" dirty="0" smtClean="0">
                <a:latin typeface="맑은 고딕" pitchFamily="50" charset="-127"/>
              </a:rPr>
              <a:t>모형 구축방안 </a:t>
            </a:r>
            <a:r>
              <a:rPr lang="en-US" altLang="ko-KR" dirty="0" smtClean="0">
                <a:latin typeface="맑은 고딕" pitchFamily="50" charset="-127"/>
              </a:rPr>
              <a:t>– </a:t>
            </a:r>
            <a:r>
              <a:rPr lang="ko-KR" altLang="en-US" dirty="0" smtClean="0">
                <a:latin typeface="맑은 고딕" pitchFamily="50" charset="-127"/>
              </a:rPr>
              <a:t>회귀 분석 모델링 </a:t>
            </a:r>
            <a:r>
              <a:rPr lang="en-US" altLang="ko-KR" dirty="0" smtClean="0">
                <a:latin typeface="맑은 고딕" pitchFamily="50" charset="-127"/>
              </a:rPr>
              <a:t>; </a:t>
            </a:r>
            <a:r>
              <a:rPr lang="ko-KR" altLang="en-US" dirty="0" smtClean="0">
                <a:latin typeface="맑은 고딕" pitchFamily="50" charset="-127"/>
              </a:rPr>
              <a:t>계속</a:t>
            </a:r>
            <a:endParaRPr lang="en-US" altLang="ko-KR" dirty="0" smtClean="0">
              <a:latin typeface="맑은 고딕" pitchFamily="50" charset="-127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57240">
              <a:defRPr/>
            </a:pPr>
            <a:r>
              <a:rPr kumimoji="1" lang="ko-KR" altLang="en-US" sz="1600" u="none" dirty="0" smtClean="0">
                <a:solidFill>
                  <a:prstClr val="black"/>
                </a:solidFill>
                <a:latin typeface="맑은 고딕"/>
                <a:ea typeface="맑은 고딕"/>
                <a:cs typeface="Meiryo UI" pitchFamily="34" charset="-128"/>
              </a:rPr>
              <a:t>영업</a:t>
            </a:r>
            <a:r>
              <a:rPr kumimoji="1" lang="en-US" altLang="ko-KR" sz="1600" u="none" dirty="0" smtClean="0">
                <a:solidFill>
                  <a:prstClr val="black"/>
                </a:solidFill>
                <a:latin typeface="맑은 고딕"/>
                <a:ea typeface="맑은 고딕"/>
                <a:cs typeface="Meiryo UI" pitchFamily="34" charset="-128"/>
              </a:rPr>
              <a:t>(On, KWAM, SPPM), </a:t>
            </a:r>
            <a:r>
              <a:rPr kumimoji="1" lang="ko-KR" altLang="en-US" sz="1600" u="none" dirty="0" smtClean="0">
                <a:solidFill>
                  <a:prstClr val="black"/>
                </a:solidFill>
                <a:latin typeface="맑은 고딕"/>
                <a:ea typeface="맑은 고딕"/>
                <a:cs typeface="Meiryo UI" pitchFamily="34" charset="-128"/>
              </a:rPr>
              <a:t>마케팅 영역으로부터 수집한 </a:t>
            </a:r>
            <a:r>
              <a:rPr kumimoji="1" lang="en-US" altLang="ko-KR" sz="1600" u="none" dirty="0" smtClean="0">
                <a:solidFill>
                  <a:prstClr val="black"/>
                </a:solidFill>
                <a:latin typeface="맑은 고딕"/>
                <a:ea typeface="맑은 고딕"/>
                <a:cs typeface="Meiryo UI" pitchFamily="34" charset="-128"/>
              </a:rPr>
              <a:t>Data </a:t>
            </a:r>
            <a:r>
              <a:rPr kumimoji="1" lang="ko-KR" altLang="en-US" sz="1600" u="none" dirty="0" smtClean="0">
                <a:solidFill>
                  <a:prstClr val="black"/>
                </a:solidFill>
                <a:latin typeface="맑은 고딕"/>
                <a:ea typeface="맑은 고딕"/>
                <a:cs typeface="Meiryo UI" pitchFamily="34" charset="-128"/>
              </a:rPr>
              <a:t>리스트임</a:t>
            </a:r>
          </a:p>
        </p:txBody>
      </p:sp>
      <p:sp>
        <p:nvSpPr>
          <p:cNvPr id="6" name="AutoShape 122"/>
          <p:cNvSpPr>
            <a:spLocks noChangeArrowheads="1"/>
          </p:cNvSpPr>
          <p:nvPr/>
        </p:nvSpPr>
        <p:spPr bwMode="auto">
          <a:xfrm rot="10800000">
            <a:off x="369262" y="1570967"/>
            <a:ext cx="9216000" cy="4752000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6350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190800" anchorCtr="1"/>
          <a:lstStyle/>
          <a:p>
            <a:pPr marL="180975" indent="-180975" defTabSz="762000">
              <a:spcBef>
                <a:spcPct val="50000"/>
              </a:spcBef>
              <a:buFont typeface="Wingdings" pitchFamily="2" charset="2"/>
              <a:buChar char="§"/>
              <a:defRPr/>
            </a:pPr>
            <a:endParaRPr lang="ko-KR" altLang="en-US" sz="1800" b="0" u="none" dirty="0" smtClean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7" name="Freeform 6"/>
          <p:cNvSpPr>
            <a:spLocks/>
          </p:cNvSpPr>
          <p:nvPr>
            <p:custDataLst>
              <p:tags r:id="rId1"/>
            </p:custDataLst>
          </p:nvPr>
        </p:nvSpPr>
        <p:spPr bwMode="blackWhite">
          <a:xfrm>
            <a:off x="469906" y="3616300"/>
            <a:ext cx="637803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glow rad="63500">
              <a:schemeClr val="bg1">
                <a:lumMod val="85000"/>
                <a:alpha val="40000"/>
              </a:schemeClr>
            </a:glow>
          </a:effectLst>
        </p:spPr>
        <p:txBody>
          <a:bodyPr wrap="none" anchor="ctr"/>
          <a:lstStyle/>
          <a:p>
            <a:pPr algn="ctr" defTabSz="895311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20000"/>
              <a:defRPr/>
            </a:pPr>
            <a:r>
              <a:rPr lang="ko-KR" altLang="en-US" sz="1500" u="none" kern="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영업</a:t>
            </a:r>
            <a:endParaRPr lang="en-US" altLang="ko-KR" sz="15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cxnSp>
        <p:nvCxnSpPr>
          <p:cNvPr id="8" name="Shape 38"/>
          <p:cNvCxnSpPr>
            <a:stCxn id="7" idx="3"/>
            <a:endCxn id="16" idx="1"/>
          </p:cNvCxnSpPr>
          <p:nvPr/>
        </p:nvCxnSpPr>
        <p:spPr bwMode="auto">
          <a:xfrm flipV="1">
            <a:off x="1107709" y="3167767"/>
            <a:ext cx="334906" cy="808533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9" name="그룹 52"/>
          <p:cNvGrpSpPr/>
          <p:nvPr/>
        </p:nvGrpSpPr>
        <p:grpSpPr>
          <a:xfrm rot="20880000">
            <a:off x="523363" y="2009587"/>
            <a:ext cx="1224000" cy="360000"/>
            <a:chOff x="-162410" y="2132856"/>
            <a:chExt cx="1491428" cy="432048"/>
          </a:xfrm>
        </p:grpSpPr>
        <p:sp>
          <p:nvSpPr>
            <p:cNvPr id="10" name="Line 17"/>
            <p:cNvSpPr>
              <a:spLocks noChangeShapeType="1"/>
            </p:cNvSpPr>
            <p:nvPr/>
          </p:nvSpPr>
          <p:spPr bwMode="auto">
            <a:xfrm flipV="1">
              <a:off x="-142612" y="2132856"/>
              <a:ext cx="1440000" cy="0"/>
            </a:xfrm>
            <a:prstGeom prst="line">
              <a:avLst/>
            </a:prstGeom>
            <a:noFill/>
            <a:ln w="25400" cmpd="tri">
              <a:solidFill>
                <a:schemeClr val="tx1">
                  <a:lumMod val="65000"/>
                  <a:lumOff val="3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u="none" spc="-100" dirty="0">
                <a:solidFill>
                  <a:prstClr val="black">
                    <a:lumMod val="65000"/>
                    <a:lumOff val="35000"/>
                  </a:prstClr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11" name="Line 17"/>
            <p:cNvSpPr>
              <a:spLocks noChangeShapeType="1"/>
            </p:cNvSpPr>
            <p:nvPr/>
          </p:nvSpPr>
          <p:spPr bwMode="auto">
            <a:xfrm flipV="1">
              <a:off x="-142612" y="2564904"/>
              <a:ext cx="1440000" cy="0"/>
            </a:xfrm>
            <a:prstGeom prst="line">
              <a:avLst/>
            </a:prstGeom>
            <a:noFill/>
            <a:ln w="25400" cmpd="tri">
              <a:solidFill>
                <a:schemeClr val="tx1">
                  <a:lumMod val="65000"/>
                  <a:lumOff val="3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u="none" spc="-100" dirty="0">
                <a:solidFill>
                  <a:prstClr val="black">
                    <a:lumMod val="65000"/>
                    <a:lumOff val="35000"/>
                  </a:prstClr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12" name="Text Box 16"/>
            <p:cNvSpPr txBox="1">
              <a:spLocks noChangeArrowheads="1"/>
            </p:cNvSpPr>
            <p:nvPr/>
          </p:nvSpPr>
          <p:spPr bwMode="auto">
            <a:xfrm>
              <a:off x="-162410" y="2166573"/>
              <a:ext cx="1491428" cy="36937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anchor="ctr">
              <a:spAutoFit/>
            </a:bodyPr>
            <a:lstStyle/>
            <a:p>
              <a:pPr algn="ctr" defTabSz="762000" fontAlgn="auto" latinLnBrk="1">
                <a:spcBef>
                  <a:spcPct val="50000"/>
                </a:spcBef>
                <a:spcAft>
                  <a:spcPts val="0"/>
                </a:spcAft>
              </a:pPr>
              <a:r>
                <a:rPr lang="en-US" altLang="ko-KR" u="none" spc="-10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맑은 고딕"/>
                  <a:ea typeface="맑은 고딕"/>
                </a:rPr>
                <a:t>Illustrative</a:t>
              </a:r>
              <a:endParaRPr lang="ko-KR" altLang="en-US" u="none" spc="-100" dirty="0">
                <a:solidFill>
                  <a:prstClr val="black">
                    <a:lumMod val="65000"/>
                    <a:lumOff val="35000"/>
                  </a:prstClr>
                </a:solidFill>
                <a:latin typeface="맑은 고딕"/>
                <a:ea typeface="맑은 고딕"/>
              </a:endParaRPr>
            </a:p>
          </p:txBody>
        </p:sp>
      </p:grpSp>
      <p:grpSp>
        <p:nvGrpSpPr>
          <p:cNvPr id="13" name="Group 15"/>
          <p:cNvGrpSpPr>
            <a:grpSpLocks/>
          </p:cNvGrpSpPr>
          <p:nvPr/>
        </p:nvGrpSpPr>
        <p:grpSpPr bwMode="auto">
          <a:xfrm>
            <a:off x="2457261" y="1604292"/>
            <a:ext cx="5040000" cy="329188"/>
            <a:chOff x="172" y="887"/>
            <a:chExt cx="1323" cy="211"/>
          </a:xfrm>
        </p:grpSpPr>
        <p:sp>
          <p:nvSpPr>
            <p:cNvPr id="14" name="Text Box 16"/>
            <p:cNvSpPr txBox="1">
              <a:spLocks noChangeArrowheads="1"/>
            </p:cNvSpPr>
            <p:nvPr/>
          </p:nvSpPr>
          <p:spPr bwMode="auto">
            <a:xfrm>
              <a:off x="207" y="887"/>
              <a:ext cx="1288" cy="20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 defTabSz="762000" fontAlgn="auto" latinLnBrk="1">
                <a:spcBef>
                  <a:spcPct val="50000"/>
                </a:spcBef>
                <a:spcAft>
                  <a:spcPts val="0"/>
                </a:spcAft>
              </a:pPr>
              <a:r>
                <a:rPr lang="en-US" altLang="ko-KR" sz="1500" u="none" dirty="0" smtClean="0">
                  <a:solidFill>
                    <a:prstClr val="black"/>
                  </a:solidFill>
                  <a:latin typeface="맑은 고딕"/>
                  <a:ea typeface="맑은 고딕"/>
                </a:rPr>
                <a:t>Data </a:t>
              </a:r>
              <a:r>
                <a:rPr lang="ko-KR" altLang="en-US" sz="1500" u="none" dirty="0" smtClean="0">
                  <a:solidFill>
                    <a:prstClr val="black"/>
                  </a:solidFill>
                  <a:latin typeface="맑은 고딕"/>
                  <a:ea typeface="맑은 고딕"/>
                </a:rPr>
                <a:t>수집</a:t>
              </a:r>
              <a:endParaRPr lang="ko-KR" altLang="en-US" sz="1600" u="none" baseline="30000" dirty="0">
                <a:solidFill>
                  <a:prstClr val="black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15" name="Line 17"/>
            <p:cNvSpPr>
              <a:spLocks noChangeShapeType="1"/>
            </p:cNvSpPr>
            <p:nvPr/>
          </p:nvSpPr>
          <p:spPr bwMode="auto">
            <a:xfrm flipV="1">
              <a:off x="172" y="1098"/>
              <a:ext cx="128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500" u="none" dirty="0">
                <a:solidFill>
                  <a:prstClr val="black"/>
                </a:solidFill>
                <a:latin typeface="맑은 고딕"/>
                <a:ea typeface="맑은 고딕"/>
              </a:endParaRPr>
            </a:p>
          </p:txBody>
        </p:sp>
      </p:grpSp>
      <p:sp>
        <p:nvSpPr>
          <p:cNvPr id="16" name="Freeform 6"/>
          <p:cNvSpPr>
            <a:spLocks/>
          </p:cNvSpPr>
          <p:nvPr>
            <p:custDataLst>
              <p:tags r:id="rId2"/>
            </p:custDataLst>
          </p:nvPr>
        </p:nvSpPr>
        <p:spPr bwMode="blackWhite">
          <a:xfrm>
            <a:off x="1442615" y="2837827"/>
            <a:ext cx="648000" cy="65988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glow rad="63500">
              <a:schemeClr val="bg1">
                <a:lumMod val="85000"/>
                <a:alpha val="40000"/>
              </a:schemeClr>
            </a:glow>
          </a:effectLst>
        </p:spPr>
        <p:txBody>
          <a:bodyPr wrap="none" anchor="ctr"/>
          <a:lstStyle/>
          <a:p>
            <a:pPr algn="ctr" defTabSz="895311" fontAlgn="auto">
              <a:spcBef>
                <a:spcPts val="0"/>
              </a:spcBef>
              <a:spcAft>
                <a:spcPts val="0"/>
              </a:spcAft>
              <a:buSzPct val="120000"/>
              <a:defRPr/>
            </a:pPr>
            <a:r>
              <a:rPr lang="en-US" altLang="ko-KR" sz="1500" u="none" kern="0" spc="-10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On</a:t>
            </a:r>
          </a:p>
          <a:p>
            <a:pPr algn="ctr" defTabSz="895311" fontAlgn="auto">
              <a:spcBef>
                <a:spcPts val="0"/>
              </a:spcBef>
              <a:spcAft>
                <a:spcPts val="0"/>
              </a:spcAft>
              <a:buSzPct val="120000"/>
              <a:defRPr/>
            </a:pPr>
            <a:r>
              <a:rPr lang="en-US" altLang="ko-KR" sz="1500" u="none" kern="0" spc="-10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(</a:t>
            </a:r>
            <a:r>
              <a:rPr lang="ko-KR" altLang="en-US" sz="1500" u="none" kern="0" spc="-10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유흥</a:t>
            </a:r>
            <a:r>
              <a:rPr lang="en-US" altLang="ko-KR" sz="1500" u="none" kern="0" spc="-10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)</a:t>
            </a:r>
            <a:endParaRPr lang="ko-KR" altLang="en-US" sz="1500" u="none" kern="0" spc="-10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cxnSp>
        <p:nvCxnSpPr>
          <p:cNvPr id="17" name="Shape 38"/>
          <p:cNvCxnSpPr>
            <a:stCxn id="16" idx="3"/>
            <a:endCxn id="20" idx="1"/>
          </p:cNvCxnSpPr>
          <p:nvPr/>
        </p:nvCxnSpPr>
        <p:spPr bwMode="auto">
          <a:xfrm flipV="1">
            <a:off x="2090615" y="2548934"/>
            <a:ext cx="191269" cy="618833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Shape 38"/>
          <p:cNvCxnSpPr>
            <a:stCxn id="16" idx="3"/>
            <a:endCxn id="21" idx="1"/>
          </p:cNvCxnSpPr>
          <p:nvPr/>
        </p:nvCxnSpPr>
        <p:spPr bwMode="auto">
          <a:xfrm>
            <a:off x="2090615" y="3167767"/>
            <a:ext cx="191269" cy="7033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Shape 38"/>
          <p:cNvCxnSpPr>
            <a:stCxn id="16" idx="3"/>
            <a:endCxn id="22" idx="1"/>
          </p:cNvCxnSpPr>
          <p:nvPr/>
        </p:nvCxnSpPr>
        <p:spPr bwMode="auto">
          <a:xfrm>
            <a:off x="2090615" y="3167767"/>
            <a:ext cx="191269" cy="68997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Freeform 6"/>
          <p:cNvSpPr>
            <a:spLocks/>
          </p:cNvSpPr>
          <p:nvPr>
            <p:custDataLst>
              <p:tags r:id="rId3"/>
            </p:custDataLst>
          </p:nvPr>
        </p:nvSpPr>
        <p:spPr bwMode="blackWhite">
          <a:xfrm>
            <a:off x="2281884" y="2291104"/>
            <a:ext cx="744104" cy="51565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glow rad="63500">
              <a:schemeClr val="bg1">
                <a:lumMod val="85000"/>
                <a:alpha val="40000"/>
              </a:schemeClr>
            </a:glow>
          </a:effectLst>
        </p:spPr>
        <p:txBody>
          <a:bodyPr wrap="none" anchor="ctr"/>
          <a:lstStyle/>
          <a:p>
            <a:pPr algn="ctr" defTabSz="895311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20000"/>
              <a:defRPr/>
            </a:pPr>
            <a:r>
              <a:rPr lang="en-US" altLang="ko-KR" u="none" kern="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Draft</a:t>
            </a:r>
            <a:endParaRPr lang="ko-KR" altLang="en-US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sp>
        <p:nvSpPr>
          <p:cNvPr id="21" name="Freeform 6"/>
          <p:cNvSpPr>
            <a:spLocks/>
          </p:cNvSpPr>
          <p:nvPr>
            <p:custDataLst>
              <p:tags r:id="rId4"/>
            </p:custDataLst>
          </p:nvPr>
        </p:nvSpPr>
        <p:spPr bwMode="blackWhite">
          <a:xfrm>
            <a:off x="2281884" y="2916970"/>
            <a:ext cx="744104" cy="51565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glow rad="63500">
              <a:schemeClr val="bg1">
                <a:lumMod val="85000"/>
                <a:alpha val="40000"/>
              </a:schemeClr>
            </a:glow>
          </a:effectLst>
        </p:spPr>
        <p:txBody>
          <a:bodyPr wrap="none" anchor="ctr"/>
          <a:lstStyle/>
          <a:p>
            <a:pPr algn="ctr" defTabSz="895311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20000"/>
              <a:defRPr/>
            </a:pPr>
            <a:r>
              <a:rPr lang="en-US" altLang="ko-KR" u="none" kern="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KR</a:t>
            </a:r>
            <a:endParaRPr lang="ko-KR" altLang="en-US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sp>
        <p:nvSpPr>
          <p:cNvPr id="22" name="Freeform 6"/>
          <p:cNvSpPr>
            <a:spLocks/>
          </p:cNvSpPr>
          <p:nvPr>
            <p:custDataLst>
              <p:tags r:id="rId5"/>
            </p:custDataLst>
          </p:nvPr>
        </p:nvSpPr>
        <p:spPr bwMode="blackWhite">
          <a:xfrm>
            <a:off x="2281884" y="3599908"/>
            <a:ext cx="744104" cy="51565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glow rad="63500">
              <a:schemeClr val="bg1">
                <a:lumMod val="85000"/>
                <a:alpha val="40000"/>
              </a:schemeClr>
            </a:glow>
          </a:effectLst>
        </p:spPr>
        <p:txBody>
          <a:bodyPr wrap="none" anchor="ctr"/>
          <a:lstStyle/>
          <a:p>
            <a:pPr algn="ctr" defTabSz="895311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20000"/>
              <a:defRPr/>
            </a:pPr>
            <a:r>
              <a:rPr lang="en-US" altLang="ko-KR" u="none" kern="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BNO</a:t>
            </a:r>
            <a:endParaRPr lang="ko-KR" altLang="en-US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092560" y="2326445"/>
            <a:ext cx="1800000" cy="425758"/>
          </a:xfrm>
          <a:prstGeom prst="rect">
            <a:avLst/>
          </a:prstGeom>
          <a:noFill/>
        </p:spPr>
        <p:txBody>
          <a:bodyPr wrap="square" lIns="9000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en-US" altLang="ko-KR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POC Data</a:t>
            </a:r>
            <a:endParaRPr lang="en-US" altLang="ko-KR" sz="13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ko-KR" altLang="en-US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비용집행 </a:t>
            </a:r>
            <a:r>
              <a:rPr lang="en-US" altLang="ko-KR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Data</a:t>
            </a:r>
            <a:endParaRPr lang="en-US" altLang="ko-KR" sz="13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092560" y="2964048"/>
            <a:ext cx="1800000" cy="425758"/>
          </a:xfrm>
          <a:prstGeom prst="rect">
            <a:avLst/>
          </a:prstGeom>
          <a:noFill/>
        </p:spPr>
        <p:txBody>
          <a:bodyPr wrap="square" lIns="9000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en-US" altLang="ko-KR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POC Data</a:t>
            </a:r>
            <a:endParaRPr lang="en-US" altLang="ko-KR" sz="13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ko-KR" altLang="en-US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비용집행 </a:t>
            </a:r>
            <a:r>
              <a:rPr lang="en-US" altLang="ko-KR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Data</a:t>
            </a:r>
            <a:endParaRPr lang="en-US" altLang="ko-KR" sz="13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92560" y="3602797"/>
            <a:ext cx="1800000" cy="425758"/>
          </a:xfrm>
          <a:prstGeom prst="rect">
            <a:avLst/>
          </a:prstGeom>
          <a:noFill/>
        </p:spPr>
        <p:txBody>
          <a:bodyPr wrap="square" lIns="9000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en-US" altLang="ko-KR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POC Data</a:t>
            </a:r>
            <a:endParaRPr lang="en-US" altLang="ko-KR" sz="13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ko-KR" altLang="en-US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비용집행 </a:t>
            </a:r>
            <a:r>
              <a:rPr lang="en-US" altLang="ko-KR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Data</a:t>
            </a:r>
            <a:endParaRPr lang="en-US" altLang="ko-KR" sz="13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sp>
        <p:nvSpPr>
          <p:cNvPr id="26" name="Freeform 6"/>
          <p:cNvSpPr>
            <a:spLocks/>
          </p:cNvSpPr>
          <p:nvPr>
            <p:custDataLst>
              <p:tags r:id="rId6"/>
            </p:custDataLst>
          </p:nvPr>
        </p:nvSpPr>
        <p:spPr bwMode="blackWhite">
          <a:xfrm>
            <a:off x="1457909" y="4309599"/>
            <a:ext cx="648000" cy="65988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glow rad="63500">
              <a:schemeClr val="bg1">
                <a:lumMod val="85000"/>
                <a:alpha val="40000"/>
              </a:schemeClr>
            </a:glow>
          </a:effectLst>
        </p:spPr>
        <p:txBody>
          <a:bodyPr wrap="none" anchor="ctr"/>
          <a:lstStyle/>
          <a:p>
            <a:pPr algn="ctr" defTabSz="895311" fontAlgn="auto">
              <a:spcBef>
                <a:spcPts val="0"/>
              </a:spcBef>
              <a:spcAft>
                <a:spcPts val="0"/>
              </a:spcAft>
              <a:buSzPct val="120000"/>
              <a:defRPr/>
            </a:pPr>
            <a:r>
              <a:rPr lang="en-US" altLang="ko-KR" sz="1500" u="none" kern="0" spc="-10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KWAM</a:t>
            </a:r>
            <a:endParaRPr lang="ko-KR" altLang="en-US" sz="1500" u="none" kern="0" spc="-10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sp>
        <p:nvSpPr>
          <p:cNvPr id="27" name="Freeform 6"/>
          <p:cNvSpPr>
            <a:spLocks/>
          </p:cNvSpPr>
          <p:nvPr>
            <p:custDataLst>
              <p:tags r:id="rId7"/>
            </p:custDataLst>
          </p:nvPr>
        </p:nvSpPr>
        <p:spPr bwMode="blackWhite">
          <a:xfrm>
            <a:off x="1469784" y="5249194"/>
            <a:ext cx="648000" cy="65988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glow rad="63500">
              <a:schemeClr val="bg1">
                <a:lumMod val="85000"/>
                <a:alpha val="40000"/>
              </a:schemeClr>
            </a:glow>
          </a:effectLst>
        </p:spPr>
        <p:txBody>
          <a:bodyPr wrap="none" anchor="ctr"/>
          <a:lstStyle/>
          <a:p>
            <a:pPr algn="ctr" defTabSz="895311" fontAlgn="auto">
              <a:spcBef>
                <a:spcPts val="0"/>
              </a:spcBef>
              <a:spcAft>
                <a:spcPts val="0"/>
              </a:spcAft>
              <a:buSzPct val="120000"/>
              <a:defRPr/>
            </a:pPr>
            <a:r>
              <a:rPr lang="en-US" altLang="ko-KR" sz="1500" u="none" kern="0" spc="-10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SPPM</a:t>
            </a:r>
            <a:endParaRPr lang="ko-KR" altLang="en-US" sz="1500" u="none" kern="0" spc="-10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cxnSp>
        <p:nvCxnSpPr>
          <p:cNvPr id="28" name="Shape 38"/>
          <p:cNvCxnSpPr>
            <a:stCxn id="7" idx="3"/>
            <a:endCxn id="26" idx="1"/>
          </p:cNvCxnSpPr>
          <p:nvPr/>
        </p:nvCxnSpPr>
        <p:spPr bwMode="auto">
          <a:xfrm>
            <a:off x="1107709" y="3976300"/>
            <a:ext cx="350200" cy="663239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TextBox 28"/>
          <p:cNvSpPr txBox="1"/>
          <p:nvPr/>
        </p:nvSpPr>
        <p:spPr>
          <a:xfrm>
            <a:off x="3104930" y="4326633"/>
            <a:ext cx="1800000" cy="625812"/>
          </a:xfrm>
          <a:prstGeom prst="rect">
            <a:avLst/>
          </a:prstGeom>
          <a:noFill/>
        </p:spPr>
        <p:txBody>
          <a:bodyPr wrap="square" lIns="9000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en-US" altLang="ko-KR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Traditional </a:t>
            </a:r>
            <a:r>
              <a:rPr lang="ko-KR" altLang="en-US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판매 </a:t>
            </a:r>
            <a:r>
              <a:rPr lang="en-US" altLang="ko-KR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Data</a:t>
            </a:r>
            <a:endParaRPr lang="en-US" altLang="ko-KR" sz="13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ko-KR" altLang="en-US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주류 판매 </a:t>
            </a:r>
            <a:r>
              <a:rPr lang="en-US" altLang="ko-KR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Data</a:t>
            </a:r>
            <a:endParaRPr lang="en-US" altLang="ko-KR" sz="13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104930" y="5270282"/>
            <a:ext cx="1800000" cy="651460"/>
          </a:xfrm>
          <a:prstGeom prst="rect">
            <a:avLst/>
          </a:prstGeom>
          <a:noFill/>
        </p:spPr>
        <p:txBody>
          <a:bodyPr wrap="square" lIns="9000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ko-KR" altLang="en-US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도매사 재고 </a:t>
            </a:r>
            <a:r>
              <a:rPr lang="en-US" altLang="ko-KR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Data</a:t>
            </a:r>
            <a:endParaRPr lang="en-US" altLang="ko-KR" sz="13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ko-KR" altLang="en-US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판매 </a:t>
            </a:r>
            <a:r>
              <a:rPr lang="en-US" altLang="ko-KR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Target Data</a:t>
            </a:r>
            <a:endParaRPr lang="en-US" altLang="ko-KR" sz="13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ko-KR" altLang="en-US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거래처 결제조건</a:t>
            </a:r>
            <a:endParaRPr lang="en-US" altLang="ko-KR" sz="13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cxnSp>
        <p:nvCxnSpPr>
          <p:cNvPr id="31" name="직선 연결선 30"/>
          <p:cNvCxnSpPr/>
          <p:nvPr/>
        </p:nvCxnSpPr>
        <p:spPr bwMode="auto">
          <a:xfrm>
            <a:off x="3120680" y="2819484"/>
            <a:ext cx="1728000" cy="0"/>
          </a:xfrm>
          <a:prstGeom prst="line">
            <a:avLst/>
          </a:prstGeom>
          <a:solidFill>
            <a:srgbClr val="A3A3A3">
              <a:alpha val="2000"/>
            </a:srgbClr>
          </a:solidFill>
          <a:ln w="9525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직선 연결선 31"/>
          <p:cNvCxnSpPr/>
          <p:nvPr/>
        </p:nvCxnSpPr>
        <p:spPr bwMode="auto">
          <a:xfrm>
            <a:off x="3120680" y="3490815"/>
            <a:ext cx="1728000" cy="0"/>
          </a:xfrm>
          <a:prstGeom prst="line">
            <a:avLst/>
          </a:prstGeom>
          <a:solidFill>
            <a:srgbClr val="A3A3A3">
              <a:alpha val="2000"/>
            </a:srgbClr>
          </a:solidFill>
          <a:ln w="9525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직선 연결선 32"/>
          <p:cNvCxnSpPr/>
          <p:nvPr/>
        </p:nvCxnSpPr>
        <p:spPr bwMode="auto">
          <a:xfrm>
            <a:off x="3131860" y="5002159"/>
            <a:ext cx="1728000" cy="0"/>
          </a:xfrm>
          <a:prstGeom prst="line">
            <a:avLst/>
          </a:prstGeom>
          <a:solidFill>
            <a:srgbClr val="A3A3A3">
              <a:alpha val="2000"/>
            </a:srgb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4" name="직선 연결선 33"/>
          <p:cNvCxnSpPr/>
          <p:nvPr/>
        </p:nvCxnSpPr>
        <p:spPr bwMode="auto">
          <a:xfrm>
            <a:off x="3131860" y="6065487"/>
            <a:ext cx="1728000" cy="0"/>
          </a:xfrm>
          <a:prstGeom prst="line">
            <a:avLst/>
          </a:prstGeom>
          <a:solidFill>
            <a:srgbClr val="A3A3A3">
              <a:alpha val="2000"/>
            </a:srgb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" name="직선 연결선 34"/>
          <p:cNvCxnSpPr/>
          <p:nvPr/>
        </p:nvCxnSpPr>
        <p:spPr bwMode="auto">
          <a:xfrm>
            <a:off x="3120680" y="4153864"/>
            <a:ext cx="1728000" cy="0"/>
          </a:xfrm>
          <a:prstGeom prst="line">
            <a:avLst/>
          </a:prstGeom>
          <a:solidFill>
            <a:srgbClr val="A3A3A3">
              <a:alpha val="2000"/>
            </a:srgb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6" name="Freeform 6"/>
          <p:cNvSpPr>
            <a:spLocks/>
          </p:cNvSpPr>
          <p:nvPr>
            <p:custDataLst>
              <p:tags r:id="rId8"/>
            </p:custDataLst>
          </p:nvPr>
        </p:nvSpPr>
        <p:spPr bwMode="blackWhite">
          <a:xfrm>
            <a:off x="2238210" y="4307860"/>
            <a:ext cx="789427" cy="663358"/>
          </a:xfrm>
          <a:prstGeom prst="roundRect">
            <a:avLst/>
          </a:prstGeom>
          <a:solidFill>
            <a:srgbClr val="F8F8F8"/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ysDash"/>
            <a:round/>
            <a:headEnd/>
            <a:tailEnd/>
          </a:ln>
          <a:effectLst/>
        </p:spPr>
        <p:txBody>
          <a:bodyPr wrap="none" anchor="ctr"/>
          <a:lstStyle/>
          <a:p>
            <a:pPr algn="ctr" defTabSz="895311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20000"/>
              <a:defRPr/>
            </a:pPr>
            <a:endParaRPr lang="ko-KR" altLang="en-US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273288" y="4426660"/>
            <a:ext cx="701966" cy="425758"/>
          </a:xfrm>
          <a:prstGeom prst="rect">
            <a:avLst/>
          </a:prstGeom>
          <a:noFill/>
        </p:spPr>
        <p:txBody>
          <a:bodyPr wrap="square" lIns="9000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ctr" defTabSz="914360">
              <a:spcBef>
                <a:spcPts val="200"/>
              </a:spcBef>
              <a:buClr>
                <a:prstClr val="black"/>
              </a:buClr>
              <a:defRPr/>
            </a:pPr>
            <a:r>
              <a:rPr lang="ko-KR" altLang="en-US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거래처 </a:t>
            </a:r>
            <a:endParaRPr lang="en-US" altLang="ko-KR" sz="13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  <a:p>
            <a:pPr algn="ctr" defTabSz="914360">
              <a:spcBef>
                <a:spcPts val="200"/>
              </a:spcBef>
              <a:buClr>
                <a:prstClr val="black"/>
              </a:buClr>
              <a:defRPr/>
            </a:pPr>
            <a:r>
              <a:rPr lang="ko-KR" altLang="en-US" sz="1300" u="none" kern="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컨설팅</a:t>
            </a:r>
            <a:endParaRPr lang="en-US" altLang="ko-KR" sz="13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sp>
        <p:nvSpPr>
          <p:cNvPr id="38" name="Freeform 6"/>
          <p:cNvSpPr>
            <a:spLocks/>
          </p:cNvSpPr>
          <p:nvPr>
            <p:custDataLst>
              <p:tags r:id="rId9"/>
            </p:custDataLst>
          </p:nvPr>
        </p:nvSpPr>
        <p:spPr bwMode="blackWhite">
          <a:xfrm>
            <a:off x="2240783" y="5246920"/>
            <a:ext cx="789427" cy="663358"/>
          </a:xfrm>
          <a:prstGeom prst="roundRect">
            <a:avLst/>
          </a:prstGeom>
          <a:solidFill>
            <a:srgbClr val="F8F8F8"/>
          </a:solidFill>
          <a:ln w="9525">
            <a:solidFill>
              <a:schemeClr val="tx1">
                <a:lumMod val="65000"/>
                <a:lumOff val="35000"/>
              </a:schemeClr>
            </a:solidFill>
            <a:prstDash val="sysDash"/>
            <a:round/>
            <a:headEnd/>
            <a:tailEnd/>
          </a:ln>
          <a:effectLst/>
        </p:spPr>
        <p:txBody>
          <a:bodyPr wrap="none" anchor="ctr"/>
          <a:lstStyle/>
          <a:p>
            <a:pPr algn="ctr" defTabSz="895311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20000"/>
              <a:defRPr/>
            </a:pPr>
            <a:endParaRPr lang="ko-KR" altLang="en-US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2189863" y="5364254"/>
            <a:ext cx="864095" cy="425758"/>
          </a:xfrm>
          <a:prstGeom prst="rect">
            <a:avLst/>
          </a:prstGeom>
          <a:noFill/>
        </p:spPr>
        <p:txBody>
          <a:bodyPr wrap="square" lIns="9000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ctr" defTabSz="914360">
              <a:spcBef>
                <a:spcPts val="200"/>
              </a:spcBef>
              <a:buClr>
                <a:prstClr val="black"/>
              </a:buClr>
              <a:defRPr/>
            </a:pPr>
            <a:r>
              <a:rPr lang="ko-KR" altLang="en-US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영업 </a:t>
            </a:r>
            <a:endParaRPr lang="en-US" altLang="ko-KR" sz="13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  <a:p>
            <a:pPr algn="ctr" defTabSz="914360">
              <a:spcBef>
                <a:spcPts val="200"/>
              </a:spcBef>
              <a:buClr>
                <a:prstClr val="black"/>
              </a:buClr>
              <a:defRPr/>
            </a:pPr>
            <a:r>
              <a:rPr lang="ko-KR" altLang="en-US" sz="1300" u="none" kern="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성과분석</a:t>
            </a:r>
            <a:endParaRPr lang="en-US" altLang="ko-KR" sz="13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cxnSp>
        <p:nvCxnSpPr>
          <p:cNvPr id="40" name="Shape 38"/>
          <p:cNvCxnSpPr>
            <a:stCxn id="7" idx="3"/>
            <a:endCxn id="27" idx="1"/>
          </p:cNvCxnSpPr>
          <p:nvPr/>
        </p:nvCxnSpPr>
        <p:spPr bwMode="auto">
          <a:xfrm>
            <a:off x="1107709" y="3976300"/>
            <a:ext cx="362075" cy="1602834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1" name="Freeform 6"/>
          <p:cNvSpPr>
            <a:spLocks/>
          </p:cNvSpPr>
          <p:nvPr>
            <p:custDataLst>
              <p:tags r:id="rId10"/>
            </p:custDataLst>
          </p:nvPr>
        </p:nvSpPr>
        <p:spPr bwMode="blackWhite">
          <a:xfrm>
            <a:off x="5133010" y="3616300"/>
            <a:ext cx="637803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glow rad="63500">
              <a:schemeClr val="bg1">
                <a:lumMod val="85000"/>
                <a:alpha val="40000"/>
              </a:schemeClr>
            </a:glow>
          </a:effectLst>
        </p:spPr>
        <p:txBody>
          <a:bodyPr wrap="none" anchor="ctr"/>
          <a:lstStyle/>
          <a:p>
            <a:pPr algn="ctr" defTabSz="895311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20000"/>
              <a:defRPr/>
            </a:pPr>
            <a:r>
              <a:rPr lang="ko-KR" altLang="en-US" sz="1500" u="none" kern="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마케팅</a:t>
            </a:r>
            <a:endParaRPr lang="en-US" altLang="ko-KR" sz="15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cxnSp>
        <p:nvCxnSpPr>
          <p:cNvPr id="42" name="Shape 38"/>
          <p:cNvCxnSpPr>
            <a:stCxn id="41" idx="3"/>
            <a:endCxn id="43" idx="1"/>
          </p:cNvCxnSpPr>
          <p:nvPr/>
        </p:nvCxnSpPr>
        <p:spPr bwMode="auto">
          <a:xfrm flipV="1">
            <a:off x="5770813" y="2627328"/>
            <a:ext cx="308925" cy="134897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3" name="Freeform 6"/>
          <p:cNvSpPr>
            <a:spLocks/>
          </p:cNvSpPr>
          <p:nvPr>
            <p:custDataLst>
              <p:tags r:id="rId11"/>
            </p:custDataLst>
          </p:nvPr>
        </p:nvSpPr>
        <p:spPr bwMode="blackWhite">
          <a:xfrm>
            <a:off x="6079738" y="2297388"/>
            <a:ext cx="792000" cy="65988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glow rad="63500">
              <a:schemeClr val="bg1">
                <a:lumMod val="85000"/>
                <a:alpha val="40000"/>
              </a:schemeClr>
            </a:glow>
          </a:effectLst>
        </p:spPr>
        <p:txBody>
          <a:bodyPr wrap="none" anchor="ctr"/>
          <a:lstStyle/>
          <a:p>
            <a:pPr algn="ctr" defTabSz="895311" fontAlgn="auto">
              <a:spcBef>
                <a:spcPts val="0"/>
              </a:spcBef>
              <a:spcAft>
                <a:spcPts val="0"/>
              </a:spcAft>
              <a:buSzPct val="120000"/>
              <a:defRPr/>
            </a:pPr>
            <a:r>
              <a:rPr lang="en-US" altLang="ko-KR" sz="1500" u="none" kern="0" spc="-10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Insight</a:t>
            </a:r>
          </a:p>
        </p:txBody>
      </p:sp>
      <p:cxnSp>
        <p:nvCxnSpPr>
          <p:cNvPr id="44" name="직선 연결선 43"/>
          <p:cNvCxnSpPr/>
          <p:nvPr/>
        </p:nvCxnSpPr>
        <p:spPr bwMode="auto">
          <a:xfrm>
            <a:off x="6995484" y="3747840"/>
            <a:ext cx="2232000" cy="0"/>
          </a:xfrm>
          <a:prstGeom prst="line">
            <a:avLst/>
          </a:prstGeom>
          <a:solidFill>
            <a:srgbClr val="A3A3A3">
              <a:alpha val="2000"/>
            </a:srgbClr>
          </a:solidFill>
          <a:ln w="9525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45" name="Freeform 6"/>
          <p:cNvSpPr>
            <a:spLocks/>
          </p:cNvSpPr>
          <p:nvPr>
            <p:custDataLst>
              <p:tags r:id="rId12"/>
            </p:custDataLst>
          </p:nvPr>
        </p:nvSpPr>
        <p:spPr bwMode="blackWhite">
          <a:xfrm>
            <a:off x="6079738" y="3854525"/>
            <a:ext cx="792000" cy="65988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glow rad="63500">
              <a:schemeClr val="bg1">
                <a:lumMod val="85000"/>
                <a:alpha val="40000"/>
              </a:schemeClr>
            </a:glow>
          </a:effectLst>
        </p:spPr>
        <p:txBody>
          <a:bodyPr wrap="none" anchor="ctr"/>
          <a:lstStyle/>
          <a:p>
            <a:pPr algn="ctr" defTabSz="895311" fontAlgn="auto">
              <a:spcBef>
                <a:spcPts val="0"/>
              </a:spcBef>
              <a:spcAft>
                <a:spcPts val="0"/>
              </a:spcAft>
              <a:buSzPct val="120000"/>
              <a:defRPr/>
            </a:pPr>
            <a:r>
              <a:rPr lang="en-US" altLang="ko-KR" sz="1500" u="none" kern="0" spc="-10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Premium</a:t>
            </a:r>
            <a:endParaRPr lang="ko-KR" altLang="en-US" sz="1500" u="none" kern="0" spc="-10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sp>
        <p:nvSpPr>
          <p:cNvPr id="46" name="Freeform 6"/>
          <p:cNvSpPr>
            <a:spLocks/>
          </p:cNvSpPr>
          <p:nvPr>
            <p:custDataLst>
              <p:tags r:id="rId13"/>
            </p:custDataLst>
          </p:nvPr>
        </p:nvSpPr>
        <p:spPr bwMode="blackWhite">
          <a:xfrm>
            <a:off x="6079738" y="5369157"/>
            <a:ext cx="792000" cy="65988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glow rad="63500">
              <a:schemeClr val="bg1">
                <a:lumMod val="85000"/>
                <a:alpha val="40000"/>
              </a:schemeClr>
            </a:glow>
          </a:effectLst>
        </p:spPr>
        <p:txBody>
          <a:bodyPr wrap="none" anchor="ctr"/>
          <a:lstStyle/>
          <a:p>
            <a:pPr algn="ctr" defTabSz="895311" fontAlgn="auto">
              <a:spcBef>
                <a:spcPts val="0"/>
              </a:spcBef>
              <a:spcAft>
                <a:spcPts val="0"/>
              </a:spcAft>
              <a:buSzPct val="120000"/>
              <a:defRPr/>
            </a:pPr>
            <a:r>
              <a:rPr lang="ko-KR" altLang="en-US" sz="1500" u="none" kern="0" spc="-100" dirty="0" err="1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오비</a:t>
            </a:r>
            <a:endParaRPr lang="en-US" altLang="ko-KR" sz="1500" u="none" kern="0" spc="-10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  <a:p>
            <a:pPr algn="ctr" defTabSz="895311" fontAlgn="auto">
              <a:spcBef>
                <a:spcPts val="0"/>
              </a:spcBef>
              <a:spcAft>
                <a:spcPts val="0"/>
              </a:spcAft>
              <a:buSzPct val="120000"/>
              <a:defRPr/>
            </a:pPr>
            <a:r>
              <a:rPr lang="ko-KR" altLang="en-US" sz="1500" u="none" kern="0" spc="-10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브랜드</a:t>
            </a:r>
          </a:p>
        </p:txBody>
      </p:sp>
      <p:cxnSp>
        <p:nvCxnSpPr>
          <p:cNvPr id="47" name="Shape 38"/>
          <p:cNvCxnSpPr>
            <a:stCxn id="41" idx="3"/>
            <a:endCxn id="45" idx="1"/>
          </p:cNvCxnSpPr>
          <p:nvPr/>
        </p:nvCxnSpPr>
        <p:spPr bwMode="auto">
          <a:xfrm>
            <a:off x="5770813" y="3976300"/>
            <a:ext cx="308925" cy="208165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8" name="직선 연결선 47"/>
          <p:cNvCxnSpPr/>
          <p:nvPr/>
        </p:nvCxnSpPr>
        <p:spPr bwMode="auto">
          <a:xfrm>
            <a:off x="6995484" y="4613237"/>
            <a:ext cx="2232000" cy="0"/>
          </a:xfrm>
          <a:prstGeom prst="line">
            <a:avLst/>
          </a:prstGeom>
          <a:solidFill>
            <a:srgbClr val="A3A3A3">
              <a:alpha val="2000"/>
            </a:srgb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9" name="직선 연결선 48"/>
          <p:cNvCxnSpPr/>
          <p:nvPr/>
        </p:nvCxnSpPr>
        <p:spPr bwMode="auto">
          <a:xfrm>
            <a:off x="6995484" y="6053612"/>
            <a:ext cx="2232000" cy="0"/>
          </a:xfrm>
          <a:prstGeom prst="line">
            <a:avLst/>
          </a:prstGeom>
          <a:solidFill>
            <a:srgbClr val="A3A3A3">
              <a:alpha val="2000"/>
            </a:srgb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0" name="TextBox 49"/>
          <p:cNvSpPr txBox="1"/>
          <p:nvPr/>
        </p:nvSpPr>
        <p:spPr>
          <a:xfrm>
            <a:off x="6995484" y="3990655"/>
            <a:ext cx="2397302" cy="425758"/>
          </a:xfrm>
          <a:prstGeom prst="rect">
            <a:avLst/>
          </a:prstGeom>
          <a:noFill/>
        </p:spPr>
        <p:txBody>
          <a:bodyPr wrap="square" lIns="9000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en-US" altLang="ko-KR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Price-off </a:t>
            </a:r>
            <a:r>
              <a:rPr lang="ko-KR" altLang="en-US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행사 관리</a:t>
            </a:r>
            <a:endParaRPr lang="ko-KR" altLang="en-US" sz="13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en-US" altLang="ko-KR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BUD </a:t>
            </a:r>
            <a:r>
              <a:rPr lang="ko-KR" altLang="en-US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호가든 프로모션 </a:t>
            </a:r>
            <a:r>
              <a:rPr lang="en-US" altLang="ko-KR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Plan</a:t>
            </a:r>
            <a:endParaRPr lang="en-US" altLang="ko-KR" sz="13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6995484" y="5615947"/>
            <a:ext cx="2232248" cy="200055"/>
          </a:xfrm>
          <a:prstGeom prst="rect">
            <a:avLst/>
          </a:prstGeom>
          <a:noFill/>
        </p:spPr>
        <p:txBody>
          <a:bodyPr wrap="square" lIns="9000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en-US" altLang="ko-KR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LE </a:t>
            </a:r>
            <a:r>
              <a:rPr lang="ko-KR" altLang="en-US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및 마케팅 플랜</a:t>
            </a:r>
            <a:endParaRPr lang="en-US" altLang="ko-KR" sz="13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cxnSp>
        <p:nvCxnSpPr>
          <p:cNvPr id="52" name="Shape 38"/>
          <p:cNvCxnSpPr>
            <a:stCxn id="41" idx="3"/>
            <a:endCxn id="46" idx="1"/>
          </p:cNvCxnSpPr>
          <p:nvPr/>
        </p:nvCxnSpPr>
        <p:spPr bwMode="auto">
          <a:xfrm>
            <a:off x="5770813" y="3976300"/>
            <a:ext cx="308925" cy="1722797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3" name="TextBox 52"/>
          <p:cNvSpPr txBox="1"/>
          <p:nvPr/>
        </p:nvSpPr>
        <p:spPr>
          <a:xfrm>
            <a:off x="6995484" y="2132856"/>
            <a:ext cx="2088232" cy="1554272"/>
          </a:xfrm>
          <a:prstGeom prst="rect">
            <a:avLst/>
          </a:prstGeom>
          <a:noFill/>
        </p:spPr>
        <p:txBody>
          <a:bodyPr wrap="square" lIns="9000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ko-KR" altLang="en-US" sz="1300" u="none" kern="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경기지표</a:t>
            </a:r>
            <a:endParaRPr lang="en-US" altLang="ko-KR" sz="13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ko-KR" altLang="en-US" sz="1300" u="none" kern="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브랜드지표</a:t>
            </a:r>
            <a:endParaRPr lang="en-US" altLang="ko-KR" sz="13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ko-KR" altLang="en-US" sz="1300" u="none" kern="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광고지표</a:t>
            </a:r>
          </a:p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en-US" altLang="ko-KR" sz="1300" u="none" kern="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Media</a:t>
            </a:r>
          </a:p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en-US" altLang="ko-KR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Nielsen Retail Index</a:t>
            </a:r>
            <a:endParaRPr lang="en-US" altLang="ko-KR" sz="13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en-US" altLang="ko-KR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Modern Channel Index</a:t>
            </a:r>
            <a:endParaRPr lang="en-US" altLang="ko-KR" sz="13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ko-KR" altLang="en-US" sz="1300" u="none" kern="0" dirty="0" err="1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던험비</a:t>
            </a:r>
            <a:endParaRPr lang="en-US" altLang="ko-KR" sz="13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sp>
        <p:nvSpPr>
          <p:cNvPr id="54" name="Freeform 6"/>
          <p:cNvSpPr>
            <a:spLocks/>
          </p:cNvSpPr>
          <p:nvPr>
            <p:custDataLst>
              <p:tags r:id="rId14"/>
            </p:custDataLst>
          </p:nvPr>
        </p:nvSpPr>
        <p:spPr bwMode="blackWhite">
          <a:xfrm>
            <a:off x="6079738" y="4624855"/>
            <a:ext cx="792000" cy="65988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glow rad="63500">
              <a:schemeClr val="bg1">
                <a:lumMod val="85000"/>
                <a:alpha val="40000"/>
              </a:schemeClr>
            </a:glow>
          </a:effectLst>
        </p:spPr>
        <p:txBody>
          <a:bodyPr wrap="none" anchor="ctr"/>
          <a:lstStyle/>
          <a:p>
            <a:pPr algn="ctr" defTabSz="895311" fontAlgn="auto">
              <a:spcBef>
                <a:spcPts val="0"/>
              </a:spcBef>
              <a:spcAft>
                <a:spcPts val="0"/>
              </a:spcAft>
              <a:buSzPct val="120000"/>
              <a:defRPr/>
            </a:pPr>
            <a:r>
              <a:rPr lang="ko-KR" altLang="en-US" sz="1500" u="none" kern="0" spc="-100" dirty="0" err="1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카스</a:t>
            </a:r>
            <a:endParaRPr lang="en-US" altLang="ko-KR" sz="1500" u="none" kern="0" spc="-10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  <a:p>
            <a:pPr algn="ctr" defTabSz="895311" fontAlgn="auto">
              <a:spcBef>
                <a:spcPts val="0"/>
              </a:spcBef>
              <a:spcAft>
                <a:spcPts val="0"/>
              </a:spcAft>
              <a:buSzPct val="120000"/>
              <a:defRPr/>
            </a:pPr>
            <a:r>
              <a:rPr lang="ko-KR" altLang="en-US" sz="1500" u="none" kern="0" spc="-10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브랜드</a:t>
            </a:r>
          </a:p>
        </p:txBody>
      </p:sp>
      <p:cxnSp>
        <p:nvCxnSpPr>
          <p:cNvPr id="55" name="직선 연결선 54"/>
          <p:cNvCxnSpPr/>
          <p:nvPr/>
        </p:nvCxnSpPr>
        <p:spPr bwMode="auto">
          <a:xfrm>
            <a:off x="6995484" y="5347180"/>
            <a:ext cx="2232000" cy="0"/>
          </a:xfrm>
          <a:prstGeom prst="line">
            <a:avLst/>
          </a:prstGeom>
          <a:solidFill>
            <a:srgbClr val="A3A3A3">
              <a:alpha val="2000"/>
            </a:srgb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6" name="TextBox 55"/>
          <p:cNvSpPr txBox="1"/>
          <p:nvPr/>
        </p:nvSpPr>
        <p:spPr>
          <a:xfrm>
            <a:off x="6995484" y="4871645"/>
            <a:ext cx="2232248" cy="200055"/>
          </a:xfrm>
          <a:prstGeom prst="rect">
            <a:avLst/>
          </a:prstGeom>
          <a:noFill/>
        </p:spPr>
        <p:txBody>
          <a:bodyPr wrap="square" lIns="9000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en-US" altLang="ko-KR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LE </a:t>
            </a:r>
            <a:r>
              <a:rPr lang="ko-KR" altLang="en-US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및 마케팅 플랜</a:t>
            </a:r>
            <a:endParaRPr lang="en-US" altLang="ko-KR" sz="13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cxnSp>
        <p:nvCxnSpPr>
          <p:cNvPr id="57" name="Shape 38"/>
          <p:cNvCxnSpPr>
            <a:stCxn id="41" idx="3"/>
            <a:endCxn id="54" idx="1"/>
          </p:cNvCxnSpPr>
          <p:nvPr/>
        </p:nvCxnSpPr>
        <p:spPr bwMode="auto">
          <a:xfrm>
            <a:off x="5770813" y="3976300"/>
            <a:ext cx="308925" cy="978495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pPr eaLnBrk="1" hangingPunct="1"/>
            <a:r>
              <a:rPr lang="ko-KR" altLang="en-US" dirty="0" smtClean="0">
                <a:latin typeface="맑은 고딕" pitchFamily="50" charset="-127"/>
              </a:rPr>
              <a:t>모형 구축방안 </a:t>
            </a:r>
            <a:r>
              <a:rPr lang="en-US" altLang="ko-KR" dirty="0" smtClean="0">
                <a:latin typeface="맑은 고딕" pitchFamily="50" charset="-127"/>
              </a:rPr>
              <a:t>– </a:t>
            </a:r>
            <a:r>
              <a:rPr lang="ko-KR" altLang="en-US" dirty="0" smtClean="0">
                <a:latin typeface="맑은 고딕" pitchFamily="50" charset="-127"/>
              </a:rPr>
              <a:t>회귀 분석 모델링 </a:t>
            </a:r>
            <a:r>
              <a:rPr lang="en-US" altLang="ko-KR" dirty="0" smtClean="0">
                <a:latin typeface="맑은 고딕" pitchFamily="50" charset="-127"/>
              </a:rPr>
              <a:t>; </a:t>
            </a:r>
            <a:r>
              <a:rPr lang="ko-KR" altLang="en-US" dirty="0" smtClean="0">
                <a:latin typeface="맑은 고딕" pitchFamily="50" charset="-127"/>
              </a:rPr>
              <a:t>계속</a:t>
            </a:r>
            <a:endParaRPr lang="en-US" altLang="ko-KR" dirty="0" smtClean="0">
              <a:latin typeface="맑은 고딕" pitchFamily="50" charset="-127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57240">
              <a:defRPr/>
            </a:pPr>
            <a:r>
              <a:rPr kumimoji="1" lang="ko-KR" altLang="en-US" sz="1600" u="none" dirty="0" smtClean="0">
                <a:solidFill>
                  <a:prstClr val="black"/>
                </a:solidFill>
                <a:latin typeface="맑은 고딕"/>
                <a:ea typeface="맑은 고딕"/>
                <a:cs typeface="Meiryo UI" pitchFamily="34" charset="-128"/>
              </a:rPr>
              <a:t>외부에서 수집한 날씨 </a:t>
            </a:r>
            <a:r>
              <a:rPr kumimoji="1" lang="en-US" altLang="ko-KR" sz="1600" u="none" dirty="0" smtClean="0">
                <a:solidFill>
                  <a:prstClr val="black"/>
                </a:solidFill>
                <a:latin typeface="맑은 고딕"/>
                <a:ea typeface="맑은 고딕"/>
                <a:cs typeface="Meiryo UI" pitchFamily="34" charset="-128"/>
              </a:rPr>
              <a:t>Data, </a:t>
            </a:r>
            <a:r>
              <a:rPr kumimoji="1" lang="ko-KR" altLang="en-US" sz="1600" u="none" dirty="0" smtClean="0">
                <a:solidFill>
                  <a:prstClr val="black"/>
                </a:solidFill>
                <a:latin typeface="맑은 고딕"/>
                <a:ea typeface="맑은 고딕"/>
                <a:cs typeface="Meiryo UI" pitchFamily="34" charset="-128"/>
              </a:rPr>
              <a:t>업무 요건에 맞게 생성한 날짜 </a:t>
            </a:r>
            <a:r>
              <a:rPr kumimoji="1" lang="en-US" altLang="ko-KR" sz="1600" u="none" dirty="0" smtClean="0">
                <a:solidFill>
                  <a:prstClr val="black"/>
                </a:solidFill>
                <a:latin typeface="맑은 고딕"/>
                <a:ea typeface="맑은 고딕"/>
                <a:cs typeface="Meiryo UI" pitchFamily="34" charset="-128"/>
              </a:rPr>
              <a:t>Data</a:t>
            </a:r>
            <a:r>
              <a:rPr kumimoji="1" lang="ko-KR" altLang="en-US" sz="1600" u="none" dirty="0" smtClean="0">
                <a:solidFill>
                  <a:prstClr val="black"/>
                </a:solidFill>
                <a:latin typeface="맑은 고딕"/>
                <a:ea typeface="맑은 고딕"/>
                <a:cs typeface="Meiryo UI" pitchFamily="34" charset="-128"/>
              </a:rPr>
              <a:t>임</a:t>
            </a:r>
          </a:p>
        </p:txBody>
      </p:sp>
      <p:sp>
        <p:nvSpPr>
          <p:cNvPr id="6" name="AutoShape 122"/>
          <p:cNvSpPr>
            <a:spLocks noChangeArrowheads="1"/>
          </p:cNvSpPr>
          <p:nvPr/>
        </p:nvSpPr>
        <p:spPr bwMode="auto">
          <a:xfrm rot="10800000">
            <a:off x="369262" y="1570967"/>
            <a:ext cx="9216000" cy="4752000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6350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190800" anchorCtr="1"/>
          <a:lstStyle/>
          <a:p>
            <a:pPr marL="180975" indent="-180975" defTabSz="762000">
              <a:spcBef>
                <a:spcPct val="50000"/>
              </a:spcBef>
              <a:buFont typeface="Wingdings" pitchFamily="2" charset="2"/>
              <a:buChar char="§"/>
              <a:defRPr/>
            </a:pPr>
            <a:endParaRPr lang="ko-KR" altLang="en-US" sz="1800" b="0" u="none" dirty="0" smtClean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7" name="Freeform 6"/>
          <p:cNvSpPr>
            <a:spLocks/>
          </p:cNvSpPr>
          <p:nvPr>
            <p:custDataLst>
              <p:tags r:id="rId1"/>
            </p:custDataLst>
          </p:nvPr>
        </p:nvSpPr>
        <p:spPr bwMode="blackWhite">
          <a:xfrm>
            <a:off x="595987" y="3404102"/>
            <a:ext cx="637803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glow rad="63500">
              <a:schemeClr val="bg1">
                <a:lumMod val="85000"/>
                <a:alpha val="40000"/>
              </a:schemeClr>
            </a:glow>
          </a:effectLst>
        </p:spPr>
        <p:txBody>
          <a:bodyPr wrap="none" anchor="ctr"/>
          <a:lstStyle/>
          <a:p>
            <a:pPr algn="ctr" defTabSz="895311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20000"/>
              <a:defRPr/>
            </a:pPr>
            <a:r>
              <a:rPr lang="ko-KR" altLang="en-US" sz="1500" u="none" kern="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날씨</a:t>
            </a:r>
            <a:endParaRPr lang="en-US" altLang="ko-KR" sz="15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cxnSp>
        <p:nvCxnSpPr>
          <p:cNvPr id="8" name="Shape 38"/>
          <p:cNvCxnSpPr>
            <a:stCxn id="7" idx="3"/>
            <a:endCxn id="16" idx="1"/>
          </p:cNvCxnSpPr>
          <p:nvPr/>
        </p:nvCxnSpPr>
        <p:spPr bwMode="auto">
          <a:xfrm flipV="1">
            <a:off x="1233790" y="2955569"/>
            <a:ext cx="334906" cy="808533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9" name="그룹 52"/>
          <p:cNvGrpSpPr/>
          <p:nvPr/>
        </p:nvGrpSpPr>
        <p:grpSpPr>
          <a:xfrm rot="20880000">
            <a:off x="523363" y="2009587"/>
            <a:ext cx="1224000" cy="360000"/>
            <a:chOff x="-162410" y="2132856"/>
            <a:chExt cx="1491428" cy="432048"/>
          </a:xfrm>
        </p:grpSpPr>
        <p:sp>
          <p:nvSpPr>
            <p:cNvPr id="10" name="Line 17"/>
            <p:cNvSpPr>
              <a:spLocks noChangeShapeType="1"/>
            </p:cNvSpPr>
            <p:nvPr/>
          </p:nvSpPr>
          <p:spPr bwMode="auto">
            <a:xfrm flipV="1">
              <a:off x="-142612" y="2132856"/>
              <a:ext cx="1440000" cy="0"/>
            </a:xfrm>
            <a:prstGeom prst="line">
              <a:avLst/>
            </a:prstGeom>
            <a:noFill/>
            <a:ln w="25400" cmpd="tri">
              <a:solidFill>
                <a:schemeClr val="tx1">
                  <a:lumMod val="65000"/>
                  <a:lumOff val="3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u="none" spc="-100" dirty="0">
                <a:solidFill>
                  <a:prstClr val="black">
                    <a:lumMod val="65000"/>
                    <a:lumOff val="35000"/>
                  </a:prstClr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11" name="Line 17"/>
            <p:cNvSpPr>
              <a:spLocks noChangeShapeType="1"/>
            </p:cNvSpPr>
            <p:nvPr/>
          </p:nvSpPr>
          <p:spPr bwMode="auto">
            <a:xfrm flipV="1">
              <a:off x="-142612" y="2564904"/>
              <a:ext cx="1440000" cy="0"/>
            </a:xfrm>
            <a:prstGeom prst="line">
              <a:avLst/>
            </a:prstGeom>
            <a:noFill/>
            <a:ln w="25400" cmpd="tri">
              <a:solidFill>
                <a:schemeClr val="tx1">
                  <a:lumMod val="65000"/>
                  <a:lumOff val="3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u="none" spc="-100" dirty="0">
                <a:solidFill>
                  <a:prstClr val="black">
                    <a:lumMod val="65000"/>
                    <a:lumOff val="35000"/>
                  </a:prstClr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12" name="Text Box 16"/>
            <p:cNvSpPr txBox="1">
              <a:spLocks noChangeArrowheads="1"/>
            </p:cNvSpPr>
            <p:nvPr/>
          </p:nvSpPr>
          <p:spPr bwMode="auto">
            <a:xfrm>
              <a:off x="-162410" y="2166573"/>
              <a:ext cx="1491428" cy="36937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anchor="ctr">
              <a:spAutoFit/>
            </a:bodyPr>
            <a:lstStyle/>
            <a:p>
              <a:pPr algn="ctr" defTabSz="762000" fontAlgn="auto" latinLnBrk="1">
                <a:spcBef>
                  <a:spcPct val="50000"/>
                </a:spcBef>
                <a:spcAft>
                  <a:spcPts val="0"/>
                </a:spcAft>
              </a:pPr>
              <a:r>
                <a:rPr lang="en-US" altLang="ko-KR" u="none" spc="-10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맑은 고딕"/>
                  <a:ea typeface="맑은 고딕"/>
                </a:rPr>
                <a:t>Illustrative</a:t>
              </a:r>
              <a:endParaRPr lang="ko-KR" altLang="en-US" u="none" spc="-100" dirty="0">
                <a:solidFill>
                  <a:prstClr val="black">
                    <a:lumMod val="65000"/>
                    <a:lumOff val="35000"/>
                  </a:prstClr>
                </a:solidFill>
                <a:latin typeface="맑은 고딕"/>
                <a:ea typeface="맑은 고딕"/>
              </a:endParaRPr>
            </a:p>
          </p:txBody>
        </p:sp>
      </p:grpSp>
      <p:grpSp>
        <p:nvGrpSpPr>
          <p:cNvPr id="13" name="Group 15"/>
          <p:cNvGrpSpPr>
            <a:grpSpLocks/>
          </p:cNvGrpSpPr>
          <p:nvPr/>
        </p:nvGrpSpPr>
        <p:grpSpPr bwMode="auto">
          <a:xfrm>
            <a:off x="2457261" y="1604292"/>
            <a:ext cx="5040000" cy="329188"/>
            <a:chOff x="172" y="887"/>
            <a:chExt cx="1323" cy="211"/>
          </a:xfrm>
        </p:grpSpPr>
        <p:sp>
          <p:nvSpPr>
            <p:cNvPr id="14" name="Text Box 16"/>
            <p:cNvSpPr txBox="1">
              <a:spLocks noChangeArrowheads="1"/>
            </p:cNvSpPr>
            <p:nvPr/>
          </p:nvSpPr>
          <p:spPr bwMode="auto">
            <a:xfrm>
              <a:off x="207" y="887"/>
              <a:ext cx="1288" cy="20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 defTabSz="762000" fontAlgn="auto" latinLnBrk="1">
                <a:spcBef>
                  <a:spcPct val="50000"/>
                </a:spcBef>
                <a:spcAft>
                  <a:spcPts val="0"/>
                </a:spcAft>
              </a:pPr>
              <a:r>
                <a:rPr lang="en-US" altLang="ko-KR" sz="1500" u="none" dirty="0" smtClean="0">
                  <a:solidFill>
                    <a:prstClr val="black"/>
                  </a:solidFill>
                  <a:latin typeface="맑은 고딕"/>
                  <a:ea typeface="맑은 고딕"/>
                </a:rPr>
                <a:t>Data </a:t>
              </a:r>
              <a:r>
                <a:rPr lang="ko-KR" altLang="en-US" sz="1500" u="none" dirty="0" smtClean="0">
                  <a:solidFill>
                    <a:prstClr val="black"/>
                  </a:solidFill>
                  <a:latin typeface="맑은 고딕"/>
                  <a:ea typeface="맑은 고딕"/>
                </a:rPr>
                <a:t>수집</a:t>
              </a:r>
              <a:endParaRPr lang="ko-KR" altLang="en-US" sz="1600" u="none" baseline="30000" dirty="0">
                <a:solidFill>
                  <a:prstClr val="black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15" name="Line 17"/>
            <p:cNvSpPr>
              <a:spLocks noChangeShapeType="1"/>
            </p:cNvSpPr>
            <p:nvPr/>
          </p:nvSpPr>
          <p:spPr bwMode="auto">
            <a:xfrm flipV="1">
              <a:off x="172" y="1098"/>
              <a:ext cx="128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500" u="none" dirty="0">
                <a:solidFill>
                  <a:prstClr val="black"/>
                </a:solidFill>
                <a:latin typeface="맑은 고딕"/>
                <a:ea typeface="맑은 고딕"/>
              </a:endParaRPr>
            </a:p>
          </p:txBody>
        </p:sp>
      </p:grpSp>
      <p:sp>
        <p:nvSpPr>
          <p:cNvPr id="16" name="Freeform 6"/>
          <p:cNvSpPr>
            <a:spLocks/>
          </p:cNvSpPr>
          <p:nvPr>
            <p:custDataLst>
              <p:tags r:id="rId2"/>
            </p:custDataLst>
          </p:nvPr>
        </p:nvSpPr>
        <p:spPr bwMode="blackWhite">
          <a:xfrm>
            <a:off x="1568696" y="2625629"/>
            <a:ext cx="648000" cy="65988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glow rad="63500">
              <a:schemeClr val="bg1">
                <a:lumMod val="85000"/>
                <a:alpha val="40000"/>
              </a:schemeClr>
            </a:glow>
          </a:effectLst>
        </p:spPr>
        <p:txBody>
          <a:bodyPr wrap="none" anchor="ctr"/>
          <a:lstStyle/>
          <a:p>
            <a:pPr algn="ctr" defTabSz="895311" fontAlgn="auto">
              <a:spcBef>
                <a:spcPts val="0"/>
              </a:spcBef>
              <a:spcAft>
                <a:spcPts val="0"/>
              </a:spcAft>
              <a:buSzPct val="120000"/>
              <a:defRPr/>
            </a:pPr>
            <a:r>
              <a:rPr lang="ko-KR" altLang="en-US" sz="1500" u="none" kern="0" spc="-10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기온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288904" y="2522305"/>
            <a:ext cx="1800000" cy="825867"/>
          </a:xfrm>
          <a:prstGeom prst="rect">
            <a:avLst/>
          </a:prstGeom>
          <a:noFill/>
        </p:spPr>
        <p:txBody>
          <a:bodyPr wrap="square" lIns="9000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ko-KR" altLang="en-US" sz="1300" u="none" kern="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예보</a:t>
            </a:r>
            <a:r>
              <a:rPr lang="en-US" altLang="ko-KR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실적 평균기온</a:t>
            </a:r>
            <a:r>
              <a:rPr lang="en-US" altLang="ko-KR" sz="1300" u="none" kern="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Data</a:t>
            </a:r>
          </a:p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ko-KR" altLang="en-US" sz="1300" u="none" kern="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예보</a:t>
            </a:r>
            <a:r>
              <a:rPr lang="en-US" altLang="ko-KR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실적 최고기온</a:t>
            </a:r>
            <a:r>
              <a:rPr lang="en-US" altLang="ko-KR" sz="1300" u="none" kern="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Data</a:t>
            </a:r>
          </a:p>
        </p:txBody>
      </p:sp>
      <p:sp>
        <p:nvSpPr>
          <p:cNvPr id="18" name="Freeform 6"/>
          <p:cNvSpPr>
            <a:spLocks/>
          </p:cNvSpPr>
          <p:nvPr>
            <p:custDataLst>
              <p:tags r:id="rId3"/>
            </p:custDataLst>
          </p:nvPr>
        </p:nvSpPr>
        <p:spPr bwMode="blackWhite">
          <a:xfrm>
            <a:off x="1568696" y="4097401"/>
            <a:ext cx="648000" cy="65988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glow rad="63500">
              <a:schemeClr val="bg1">
                <a:lumMod val="85000"/>
                <a:alpha val="40000"/>
              </a:schemeClr>
            </a:glow>
          </a:effectLst>
        </p:spPr>
        <p:txBody>
          <a:bodyPr wrap="none" anchor="ctr"/>
          <a:lstStyle/>
          <a:p>
            <a:pPr algn="ctr" defTabSz="895311" fontAlgn="auto">
              <a:spcBef>
                <a:spcPts val="0"/>
              </a:spcBef>
              <a:spcAft>
                <a:spcPts val="0"/>
              </a:spcAft>
              <a:buSzPct val="120000"/>
              <a:defRPr/>
            </a:pPr>
            <a:r>
              <a:rPr lang="ko-KR" altLang="en-US" sz="1500" u="none" kern="0" spc="-10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비</a:t>
            </a:r>
            <a:r>
              <a:rPr lang="en-US" altLang="ko-KR" sz="1500" u="none" kern="0" spc="-10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&amp;</a:t>
            </a:r>
            <a:r>
              <a:rPr lang="ko-KR" altLang="en-US" sz="1500" u="none" kern="0" spc="-10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눈</a:t>
            </a:r>
          </a:p>
        </p:txBody>
      </p:sp>
      <p:cxnSp>
        <p:nvCxnSpPr>
          <p:cNvPr id="19" name="Shape 38"/>
          <p:cNvCxnSpPr>
            <a:stCxn id="7" idx="3"/>
            <a:endCxn id="18" idx="1"/>
          </p:cNvCxnSpPr>
          <p:nvPr/>
        </p:nvCxnSpPr>
        <p:spPr bwMode="auto">
          <a:xfrm>
            <a:off x="1233790" y="3764102"/>
            <a:ext cx="334906" cy="663239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직선 연결선 19"/>
          <p:cNvCxnSpPr/>
          <p:nvPr/>
        </p:nvCxnSpPr>
        <p:spPr bwMode="auto">
          <a:xfrm>
            <a:off x="2317024" y="3440642"/>
            <a:ext cx="1728000" cy="0"/>
          </a:xfrm>
          <a:prstGeom prst="line">
            <a:avLst/>
          </a:prstGeom>
          <a:solidFill>
            <a:srgbClr val="A3A3A3">
              <a:alpha val="2000"/>
            </a:srgbClr>
          </a:solidFill>
          <a:ln w="9525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21" name="Freeform 6"/>
          <p:cNvSpPr>
            <a:spLocks/>
          </p:cNvSpPr>
          <p:nvPr>
            <p:custDataLst>
              <p:tags r:id="rId4"/>
            </p:custDataLst>
          </p:nvPr>
        </p:nvSpPr>
        <p:spPr bwMode="blackWhite">
          <a:xfrm>
            <a:off x="4664968" y="3404102"/>
            <a:ext cx="637803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glow rad="63500">
              <a:schemeClr val="bg1">
                <a:lumMod val="85000"/>
                <a:alpha val="40000"/>
              </a:schemeClr>
            </a:glow>
          </a:effectLst>
        </p:spPr>
        <p:txBody>
          <a:bodyPr wrap="none" anchor="ctr"/>
          <a:lstStyle/>
          <a:p>
            <a:pPr algn="ctr" defTabSz="895311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20000"/>
              <a:defRPr/>
            </a:pPr>
            <a:r>
              <a:rPr lang="ko-KR" altLang="en-US" sz="1500" u="none" kern="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날짜</a:t>
            </a:r>
            <a:endParaRPr lang="en-US" altLang="ko-KR" sz="15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cxnSp>
        <p:nvCxnSpPr>
          <p:cNvPr id="22" name="Shape 38"/>
          <p:cNvCxnSpPr>
            <a:stCxn id="21" idx="3"/>
            <a:endCxn id="23" idx="1"/>
          </p:cNvCxnSpPr>
          <p:nvPr/>
        </p:nvCxnSpPr>
        <p:spPr bwMode="auto">
          <a:xfrm flipV="1">
            <a:off x="5302771" y="2822591"/>
            <a:ext cx="308925" cy="94151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Freeform 6"/>
          <p:cNvSpPr>
            <a:spLocks/>
          </p:cNvSpPr>
          <p:nvPr>
            <p:custDataLst>
              <p:tags r:id="rId5"/>
            </p:custDataLst>
          </p:nvPr>
        </p:nvSpPr>
        <p:spPr bwMode="blackWhite">
          <a:xfrm>
            <a:off x="5611696" y="2492651"/>
            <a:ext cx="792000" cy="65988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glow rad="63500">
              <a:schemeClr val="bg1">
                <a:lumMod val="85000"/>
                <a:alpha val="40000"/>
              </a:schemeClr>
            </a:glow>
          </a:effectLst>
        </p:spPr>
        <p:txBody>
          <a:bodyPr wrap="none" anchor="ctr"/>
          <a:lstStyle/>
          <a:p>
            <a:pPr algn="ctr" defTabSz="895311" fontAlgn="auto">
              <a:spcBef>
                <a:spcPts val="0"/>
              </a:spcBef>
              <a:spcAft>
                <a:spcPts val="0"/>
              </a:spcAft>
              <a:buSzPct val="120000"/>
              <a:defRPr/>
            </a:pPr>
            <a:r>
              <a:rPr lang="ko-KR" altLang="en-US" sz="1500" u="none" kern="0" spc="-10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년</a:t>
            </a:r>
            <a:r>
              <a:rPr lang="en-US" altLang="ko-KR" sz="1500" u="none" kern="0" spc="-10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500" u="none" kern="0" spc="-10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월</a:t>
            </a:r>
            <a:r>
              <a:rPr lang="en-US" altLang="ko-KR" sz="1500" u="none" kern="0" spc="-10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/</a:t>
            </a:r>
          </a:p>
          <a:p>
            <a:pPr algn="ctr" defTabSz="895311" fontAlgn="auto">
              <a:spcBef>
                <a:spcPts val="0"/>
              </a:spcBef>
              <a:spcAft>
                <a:spcPts val="0"/>
              </a:spcAft>
              <a:buSzPct val="120000"/>
              <a:defRPr/>
            </a:pPr>
            <a:r>
              <a:rPr lang="ko-KR" altLang="en-US" sz="1500" u="none" kern="0" spc="-10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요일</a:t>
            </a:r>
            <a:r>
              <a:rPr lang="en-US" altLang="ko-KR" sz="1500" u="none" kern="0" spc="-10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/</a:t>
            </a:r>
            <a:r>
              <a:rPr lang="ko-KR" altLang="en-US" sz="1500" u="none" kern="0" spc="-10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일</a:t>
            </a:r>
            <a:endParaRPr lang="en-US" altLang="ko-KR" sz="1500" u="none" kern="0" spc="-10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cxnSp>
        <p:nvCxnSpPr>
          <p:cNvPr id="24" name="직선 연결선 23"/>
          <p:cNvCxnSpPr/>
          <p:nvPr/>
        </p:nvCxnSpPr>
        <p:spPr bwMode="auto">
          <a:xfrm>
            <a:off x="6527442" y="3321134"/>
            <a:ext cx="2376000" cy="0"/>
          </a:xfrm>
          <a:prstGeom prst="line">
            <a:avLst/>
          </a:prstGeom>
          <a:solidFill>
            <a:srgbClr val="A3A3A3">
              <a:alpha val="2000"/>
            </a:srgbClr>
          </a:solidFill>
          <a:ln w="9525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Freeform 6"/>
          <p:cNvSpPr>
            <a:spLocks/>
          </p:cNvSpPr>
          <p:nvPr>
            <p:custDataLst>
              <p:tags r:id="rId6"/>
            </p:custDataLst>
          </p:nvPr>
        </p:nvSpPr>
        <p:spPr bwMode="blackWhite">
          <a:xfrm>
            <a:off x="5611696" y="3403526"/>
            <a:ext cx="792000" cy="65988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glow rad="63500">
              <a:schemeClr val="bg1">
                <a:lumMod val="85000"/>
                <a:alpha val="40000"/>
              </a:schemeClr>
            </a:glow>
          </a:effectLst>
        </p:spPr>
        <p:txBody>
          <a:bodyPr wrap="none" anchor="ctr"/>
          <a:lstStyle/>
          <a:p>
            <a:pPr algn="ctr" defTabSz="895311" fontAlgn="auto">
              <a:spcBef>
                <a:spcPts val="0"/>
              </a:spcBef>
              <a:spcAft>
                <a:spcPts val="0"/>
              </a:spcAft>
              <a:buSzPct val="120000"/>
              <a:defRPr/>
            </a:pPr>
            <a:r>
              <a:rPr lang="en-US" altLang="ko-KR" sz="1500" u="none" kern="0" spc="-10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Trend</a:t>
            </a:r>
            <a:endParaRPr lang="ko-KR" altLang="en-US" sz="1500" u="none" kern="0" spc="-10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sp>
        <p:nvSpPr>
          <p:cNvPr id="26" name="Freeform 6"/>
          <p:cNvSpPr>
            <a:spLocks/>
          </p:cNvSpPr>
          <p:nvPr>
            <p:custDataLst>
              <p:tags r:id="rId7"/>
            </p:custDataLst>
          </p:nvPr>
        </p:nvSpPr>
        <p:spPr bwMode="blackWhite">
          <a:xfrm>
            <a:off x="5611696" y="5061959"/>
            <a:ext cx="792000" cy="576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glow rad="63500">
              <a:schemeClr val="bg1">
                <a:lumMod val="85000"/>
                <a:alpha val="40000"/>
              </a:schemeClr>
            </a:glow>
          </a:effectLst>
        </p:spPr>
        <p:txBody>
          <a:bodyPr wrap="none" anchor="ctr"/>
          <a:lstStyle/>
          <a:p>
            <a:pPr algn="ctr" defTabSz="895311" fontAlgn="auto">
              <a:spcBef>
                <a:spcPts val="0"/>
              </a:spcBef>
              <a:spcAft>
                <a:spcPts val="0"/>
              </a:spcAft>
              <a:buSzPct val="120000"/>
              <a:defRPr/>
            </a:pPr>
            <a:r>
              <a:rPr lang="en-US" altLang="ko-KR" sz="1500" u="none" kern="0" spc="-10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Effect</a:t>
            </a:r>
            <a:endParaRPr lang="ko-KR" altLang="en-US" sz="1500" u="none" kern="0" spc="-10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cxnSp>
        <p:nvCxnSpPr>
          <p:cNvPr id="27" name="Shape 38"/>
          <p:cNvCxnSpPr>
            <a:stCxn id="21" idx="3"/>
            <a:endCxn id="25" idx="1"/>
          </p:cNvCxnSpPr>
          <p:nvPr/>
        </p:nvCxnSpPr>
        <p:spPr bwMode="auto">
          <a:xfrm flipV="1">
            <a:off x="5302771" y="3733466"/>
            <a:ext cx="308925" cy="3063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직선 연결선 27"/>
          <p:cNvCxnSpPr/>
          <p:nvPr/>
        </p:nvCxnSpPr>
        <p:spPr bwMode="auto">
          <a:xfrm>
            <a:off x="6527442" y="4185988"/>
            <a:ext cx="2376000" cy="0"/>
          </a:xfrm>
          <a:prstGeom prst="line">
            <a:avLst/>
          </a:prstGeom>
          <a:solidFill>
            <a:srgbClr val="A3A3A3">
              <a:alpha val="2000"/>
            </a:srgb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9" name="직선 연결선 28"/>
          <p:cNvCxnSpPr/>
          <p:nvPr/>
        </p:nvCxnSpPr>
        <p:spPr bwMode="auto">
          <a:xfrm>
            <a:off x="6527442" y="5675164"/>
            <a:ext cx="2376000" cy="0"/>
          </a:xfrm>
          <a:prstGeom prst="line">
            <a:avLst/>
          </a:prstGeom>
          <a:solidFill>
            <a:srgbClr val="A3A3A3">
              <a:alpha val="2000"/>
            </a:srgb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0" name="TextBox 29"/>
          <p:cNvSpPr txBox="1"/>
          <p:nvPr/>
        </p:nvSpPr>
        <p:spPr>
          <a:xfrm>
            <a:off x="6527442" y="3427472"/>
            <a:ext cx="2397302" cy="697627"/>
          </a:xfrm>
          <a:prstGeom prst="rect">
            <a:avLst/>
          </a:prstGeom>
          <a:noFill/>
        </p:spPr>
        <p:txBody>
          <a:bodyPr wrap="square" lIns="9000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en-US" altLang="ko-KR" u="none" smtClean="0">
                <a:solidFill>
                  <a:srgbClr val="000000"/>
                </a:solidFill>
                <a:latin typeface="맑은 고딕"/>
              </a:rPr>
              <a:t>Year Seq</a:t>
            </a:r>
            <a:endParaRPr lang="en-US" altLang="ko-KR" u="none" dirty="0" smtClean="0">
              <a:solidFill>
                <a:srgbClr val="000000"/>
              </a:solidFill>
              <a:latin typeface="맑은 고딕"/>
            </a:endParaRPr>
          </a:p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en-US" altLang="ko-KR" u="none" smtClean="0">
                <a:solidFill>
                  <a:srgbClr val="000000"/>
                </a:solidFill>
                <a:latin typeface="맑은 고딕"/>
              </a:rPr>
              <a:t>Week Seq</a:t>
            </a:r>
            <a:endParaRPr lang="en-US" altLang="ko-KR" u="none" dirty="0" smtClean="0">
              <a:solidFill>
                <a:srgbClr val="000000"/>
              </a:solidFill>
              <a:latin typeface="맑은 고딕"/>
            </a:endParaRPr>
          </a:p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en-US" altLang="ko-KR" u="none" smtClean="0">
                <a:solidFill>
                  <a:srgbClr val="000000"/>
                </a:solidFill>
                <a:latin typeface="맑은 고딕"/>
              </a:rPr>
              <a:t>Day Seq</a:t>
            </a:r>
            <a:endParaRPr lang="en-US" altLang="ko-KR" sz="13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527442" y="5124648"/>
            <a:ext cx="2494020" cy="425758"/>
          </a:xfrm>
          <a:prstGeom prst="rect">
            <a:avLst/>
          </a:prstGeom>
          <a:noFill/>
        </p:spPr>
        <p:txBody>
          <a:bodyPr wrap="square" lIns="9000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ko-KR" altLang="en-US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월초</a:t>
            </a:r>
            <a:r>
              <a:rPr lang="en-US" altLang="ko-KR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월말</a:t>
            </a:r>
            <a:r>
              <a:rPr lang="en-US" altLang="ko-KR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년초</a:t>
            </a:r>
            <a:r>
              <a:rPr lang="en-US" altLang="ko-KR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년말 </a:t>
            </a:r>
            <a:r>
              <a:rPr lang="en-US" altLang="ko-KR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Effect</a:t>
            </a:r>
            <a:endParaRPr lang="en-US" altLang="ko-KR" sz="13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ko-KR" altLang="en-US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휴일</a:t>
            </a:r>
            <a:r>
              <a:rPr lang="en-US" altLang="ko-KR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휴가</a:t>
            </a:r>
            <a:r>
              <a:rPr lang="en-US" altLang="ko-KR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, </a:t>
            </a:r>
            <a:r>
              <a:rPr lang="ko-KR" altLang="en-US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명절 </a:t>
            </a:r>
            <a:r>
              <a:rPr lang="en-US" altLang="ko-KR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Effect</a:t>
            </a:r>
            <a:endParaRPr lang="en-US" altLang="ko-KR" sz="13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cxnSp>
        <p:nvCxnSpPr>
          <p:cNvPr id="32" name="Shape 38"/>
          <p:cNvCxnSpPr>
            <a:stCxn id="21" idx="3"/>
            <a:endCxn id="26" idx="1"/>
          </p:cNvCxnSpPr>
          <p:nvPr/>
        </p:nvCxnSpPr>
        <p:spPr bwMode="auto">
          <a:xfrm>
            <a:off x="5302771" y="3764102"/>
            <a:ext cx="308925" cy="1585857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/>
          <p:cNvSpPr txBox="1"/>
          <p:nvPr/>
        </p:nvSpPr>
        <p:spPr>
          <a:xfrm>
            <a:off x="6527442" y="2348880"/>
            <a:ext cx="2088232" cy="913070"/>
          </a:xfrm>
          <a:prstGeom prst="rect">
            <a:avLst/>
          </a:prstGeom>
          <a:noFill/>
        </p:spPr>
        <p:txBody>
          <a:bodyPr wrap="square" lIns="9000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ko-KR" altLang="en-US" u="none" spc="-30" smtClean="0">
                <a:solidFill>
                  <a:srgbClr val="000000"/>
                </a:solidFill>
                <a:latin typeface="맑은 고딕"/>
              </a:rPr>
              <a:t>년</a:t>
            </a:r>
            <a:r>
              <a:rPr lang="en-US" altLang="ko-KR" u="none" spc="-30" smtClean="0">
                <a:solidFill>
                  <a:srgbClr val="000000"/>
                </a:solidFill>
                <a:latin typeface="맑은 고딕"/>
              </a:rPr>
              <a:t>, </a:t>
            </a:r>
            <a:r>
              <a:rPr lang="ko-KR" altLang="en-US" u="none" spc="-30" smtClean="0">
                <a:solidFill>
                  <a:srgbClr val="000000"/>
                </a:solidFill>
                <a:latin typeface="맑은 고딕"/>
              </a:rPr>
              <a:t>월</a:t>
            </a:r>
            <a:r>
              <a:rPr lang="en-US" altLang="ko-KR" u="none" spc="-30" smtClean="0">
                <a:solidFill>
                  <a:srgbClr val="000000"/>
                </a:solidFill>
                <a:latin typeface="맑은 고딕"/>
              </a:rPr>
              <a:t>, </a:t>
            </a:r>
            <a:r>
              <a:rPr lang="ko-KR" altLang="en-US" u="none" spc="-30" smtClean="0">
                <a:solidFill>
                  <a:srgbClr val="000000"/>
                </a:solidFill>
                <a:latin typeface="맑은 고딕"/>
              </a:rPr>
              <a:t>요일</a:t>
            </a:r>
            <a:r>
              <a:rPr lang="en-US" altLang="ko-KR" u="none" spc="-30" smtClean="0">
                <a:solidFill>
                  <a:srgbClr val="000000"/>
                </a:solidFill>
                <a:latin typeface="맑은 고딕"/>
              </a:rPr>
              <a:t>, </a:t>
            </a:r>
            <a:r>
              <a:rPr lang="ko-KR" altLang="en-US" u="none" spc="-30" smtClean="0">
                <a:solidFill>
                  <a:srgbClr val="000000"/>
                </a:solidFill>
                <a:latin typeface="맑은 고딕"/>
              </a:rPr>
              <a:t>일</a:t>
            </a:r>
            <a:r>
              <a:rPr lang="en-US" altLang="ko-KR" u="none" spc="-30" smtClean="0">
                <a:solidFill>
                  <a:srgbClr val="000000"/>
                </a:solidFill>
                <a:latin typeface="맑은 고딕"/>
              </a:rPr>
              <a:t>, Working Day</a:t>
            </a:r>
            <a:endParaRPr lang="en-US" altLang="ko-KR" u="none" spc="-30" dirty="0" smtClean="0">
              <a:solidFill>
                <a:srgbClr val="000000"/>
              </a:solidFill>
              <a:latin typeface="맑은 고딕"/>
            </a:endParaRPr>
          </a:p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ko-KR" altLang="en-US" u="none" spc="-30" smtClean="0">
                <a:solidFill>
                  <a:srgbClr val="000000"/>
                </a:solidFill>
                <a:latin typeface="맑은 고딕"/>
              </a:rPr>
              <a:t>월말</a:t>
            </a:r>
            <a:r>
              <a:rPr lang="en-US" altLang="ko-KR" u="none" spc="-30" smtClean="0">
                <a:solidFill>
                  <a:srgbClr val="000000"/>
                </a:solidFill>
                <a:latin typeface="맑은 고딕"/>
              </a:rPr>
              <a:t>, </a:t>
            </a:r>
            <a:r>
              <a:rPr lang="ko-KR" altLang="en-US" u="none" spc="-30" smtClean="0">
                <a:solidFill>
                  <a:srgbClr val="000000"/>
                </a:solidFill>
                <a:latin typeface="맑은 고딕"/>
              </a:rPr>
              <a:t>월초</a:t>
            </a:r>
            <a:endParaRPr lang="en-US" altLang="ko-KR" u="none" spc="-30" dirty="0" smtClean="0">
              <a:solidFill>
                <a:srgbClr val="000000"/>
              </a:solidFill>
              <a:latin typeface="맑은 고딕"/>
            </a:endParaRPr>
          </a:p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ko-KR" altLang="en-US" u="none" spc="-30" err="1" smtClean="0">
                <a:solidFill>
                  <a:srgbClr val="000000"/>
                </a:solidFill>
                <a:latin typeface="맑은 고딕"/>
              </a:rPr>
              <a:t>년말</a:t>
            </a:r>
            <a:r>
              <a:rPr lang="en-US" altLang="ko-KR" u="none" spc="-30" smtClean="0">
                <a:solidFill>
                  <a:srgbClr val="000000"/>
                </a:solidFill>
                <a:latin typeface="맑은 고딕"/>
              </a:rPr>
              <a:t>, </a:t>
            </a:r>
            <a:r>
              <a:rPr lang="ko-KR" altLang="en-US" u="none" spc="-30" smtClean="0">
                <a:solidFill>
                  <a:srgbClr val="000000"/>
                </a:solidFill>
                <a:latin typeface="맑은 고딕"/>
              </a:rPr>
              <a:t>년초</a:t>
            </a:r>
            <a:endParaRPr lang="en-US" altLang="ko-KR" u="none" spc="-30" dirty="0" smtClean="0">
              <a:solidFill>
                <a:srgbClr val="000000"/>
              </a:solidFill>
              <a:latin typeface="맑은 고딕"/>
            </a:endParaRPr>
          </a:p>
        </p:txBody>
      </p:sp>
      <p:sp>
        <p:nvSpPr>
          <p:cNvPr id="34" name="Freeform 6"/>
          <p:cNvSpPr>
            <a:spLocks/>
          </p:cNvSpPr>
          <p:nvPr>
            <p:custDataLst>
              <p:tags r:id="rId8"/>
            </p:custDataLst>
          </p:nvPr>
        </p:nvSpPr>
        <p:spPr bwMode="blackWhite">
          <a:xfrm>
            <a:off x="5611696" y="4317657"/>
            <a:ext cx="792000" cy="576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glow rad="63500">
              <a:schemeClr val="bg1">
                <a:lumMod val="85000"/>
                <a:alpha val="40000"/>
              </a:schemeClr>
            </a:glow>
          </a:effectLst>
        </p:spPr>
        <p:txBody>
          <a:bodyPr wrap="none" anchor="ctr"/>
          <a:lstStyle/>
          <a:p>
            <a:pPr algn="ctr" defTabSz="895311" fontAlgn="auto">
              <a:spcBef>
                <a:spcPts val="0"/>
              </a:spcBef>
              <a:spcAft>
                <a:spcPts val="0"/>
              </a:spcAft>
              <a:buSzPct val="120000"/>
              <a:defRPr/>
            </a:pPr>
            <a:r>
              <a:rPr lang="en-US" altLang="ko-KR" sz="1500" u="none" kern="0" spc="-10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Event</a:t>
            </a:r>
            <a:endParaRPr lang="ko-KR" altLang="en-US" sz="1500" u="none" kern="0" spc="-10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cxnSp>
        <p:nvCxnSpPr>
          <p:cNvPr id="35" name="직선 연결선 34"/>
          <p:cNvCxnSpPr/>
          <p:nvPr/>
        </p:nvCxnSpPr>
        <p:spPr bwMode="auto">
          <a:xfrm>
            <a:off x="6527442" y="4933107"/>
            <a:ext cx="2376000" cy="0"/>
          </a:xfrm>
          <a:prstGeom prst="line">
            <a:avLst/>
          </a:prstGeom>
          <a:solidFill>
            <a:srgbClr val="A3A3A3">
              <a:alpha val="2000"/>
            </a:srgb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6" name="TextBox 35"/>
          <p:cNvSpPr txBox="1"/>
          <p:nvPr/>
        </p:nvSpPr>
        <p:spPr>
          <a:xfrm>
            <a:off x="6527442" y="4380346"/>
            <a:ext cx="2232248" cy="425758"/>
          </a:xfrm>
          <a:prstGeom prst="rect">
            <a:avLst/>
          </a:prstGeom>
          <a:noFill/>
        </p:spPr>
        <p:txBody>
          <a:bodyPr wrap="square" lIns="9000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ko-KR" altLang="en-US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명절 </a:t>
            </a:r>
            <a:r>
              <a:rPr lang="en-US" altLang="ko-KR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Event</a:t>
            </a:r>
            <a:endParaRPr lang="en-US" altLang="ko-KR" sz="13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en-US" altLang="ko-KR" sz="1300" u="none" kern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Special Event</a:t>
            </a:r>
            <a:endParaRPr lang="en-US" altLang="ko-KR" sz="130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cxnSp>
        <p:nvCxnSpPr>
          <p:cNvPr id="37" name="Shape 38"/>
          <p:cNvCxnSpPr>
            <a:stCxn id="21" idx="3"/>
            <a:endCxn id="34" idx="1"/>
          </p:cNvCxnSpPr>
          <p:nvPr/>
        </p:nvCxnSpPr>
        <p:spPr bwMode="auto">
          <a:xfrm>
            <a:off x="5302771" y="3764102"/>
            <a:ext cx="308925" cy="841555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TextBox 37"/>
          <p:cNvSpPr txBox="1"/>
          <p:nvPr/>
        </p:nvSpPr>
        <p:spPr>
          <a:xfrm>
            <a:off x="2288704" y="4185230"/>
            <a:ext cx="1800000" cy="425758"/>
          </a:xfrm>
          <a:prstGeom prst="rect">
            <a:avLst/>
          </a:prstGeom>
          <a:noFill/>
        </p:spPr>
        <p:txBody>
          <a:bodyPr wrap="square" lIns="9000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ko-KR" altLang="en-US" sz="1300" u="none" kern="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강수량</a:t>
            </a:r>
            <a:r>
              <a:rPr lang="en-US" altLang="ko-KR" sz="1300" u="none" kern="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Data</a:t>
            </a:r>
          </a:p>
          <a:p>
            <a:pPr marL="177800" indent="-177800" defTabSz="914360">
              <a:spcBef>
                <a:spcPts val="200"/>
              </a:spcBef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ko-KR" altLang="en-US" sz="1300" u="none" kern="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적설량</a:t>
            </a:r>
            <a:r>
              <a:rPr lang="en-US" altLang="ko-KR" sz="1300" u="none" kern="0" dirty="0" smtClean="0">
                <a:solidFill>
                  <a:sysClr val="windowText" lastClr="000000"/>
                </a:solidFill>
                <a:latin typeface="맑은 고딕"/>
                <a:ea typeface="맑은 고딕"/>
              </a:rPr>
              <a:t>Data</a:t>
            </a:r>
          </a:p>
        </p:txBody>
      </p:sp>
      <p:cxnSp>
        <p:nvCxnSpPr>
          <p:cNvPr id="39" name="직선 연결선 38"/>
          <p:cNvCxnSpPr/>
          <p:nvPr/>
        </p:nvCxnSpPr>
        <p:spPr bwMode="auto">
          <a:xfrm>
            <a:off x="2316824" y="4856013"/>
            <a:ext cx="1728000" cy="0"/>
          </a:xfrm>
          <a:prstGeom prst="line">
            <a:avLst/>
          </a:prstGeom>
          <a:solidFill>
            <a:srgbClr val="A3A3A3">
              <a:alpha val="2000"/>
            </a:srgbClr>
          </a:solidFill>
          <a:ln w="9525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40" name="직사각형 39"/>
          <p:cNvSpPr/>
          <p:nvPr/>
        </p:nvSpPr>
        <p:spPr>
          <a:xfrm>
            <a:off x="4664968" y="5805264"/>
            <a:ext cx="4032448" cy="36004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95" fontAlgn="auto">
              <a:spcBef>
                <a:spcPts val="0"/>
              </a:spcBef>
              <a:spcAft>
                <a:spcPts val="0"/>
              </a:spcAft>
            </a:pPr>
            <a:r>
              <a:rPr lang="en-US" altLang="ko-KR" sz="1300" u="none" dirty="0" smtClean="0">
                <a:solidFill>
                  <a:prstClr val="black"/>
                </a:solidFill>
              </a:rPr>
              <a:t>※ OB</a:t>
            </a:r>
            <a:r>
              <a:rPr lang="ko-KR" altLang="en-US" sz="1300" u="none" dirty="0" smtClean="0">
                <a:solidFill>
                  <a:prstClr val="black"/>
                </a:solidFill>
              </a:rPr>
              <a:t>맥주 업무 요건에 맞게 날짜</a:t>
            </a:r>
            <a:r>
              <a:rPr lang="en-US" altLang="ko-KR" sz="1300" u="none" dirty="0" smtClean="0">
                <a:solidFill>
                  <a:prstClr val="black"/>
                </a:solidFill>
              </a:rPr>
              <a:t>Data </a:t>
            </a:r>
            <a:r>
              <a:rPr lang="ko-KR" altLang="en-US" sz="1300" u="none" dirty="0" smtClean="0">
                <a:solidFill>
                  <a:prstClr val="black"/>
                </a:solidFill>
              </a:rPr>
              <a:t>생성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Freeform 6"/>
          <p:cNvSpPr>
            <a:spLocks/>
          </p:cNvSpPr>
          <p:nvPr>
            <p:custDataLst>
              <p:tags r:id="rId2"/>
            </p:custDataLst>
          </p:nvPr>
        </p:nvSpPr>
        <p:spPr bwMode="blackWhite">
          <a:xfrm>
            <a:off x="972153" y="2771626"/>
            <a:ext cx="1976377" cy="551514"/>
          </a:xfrm>
          <a:prstGeom prst="roundRect">
            <a:avLst>
              <a:gd name="adj" fmla="val 11169"/>
            </a:avLst>
          </a:prstGeom>
          <a:solidFill>
            <a:sysClr val="window" lastClr="FFFFFF">
              <a:lumMod val="95000"/>
            </a:sysClr>
          </a:solidFill>
          <a:ln w="9525">
            <a:solidFill>
              <a:srgbClr val="1F497D">
                <a:lumMod val="75000"/>
              </a:srgbClr>
            </a:solidFill>
            <a:prstDash val="sysDash"/>
            <a:round/>
            <a:headEnd/>
            <a:tailEnd/>
          </a:ln>
          <a:effectLst/>
        </p:spPr>
        <p:txBody>
          <a:bodyPr wrap="none" tIns="18000" anchor="ctr"/>
          <a:lstStyle/>
          <a:p>
            <a:pPr marL="0" marR="0" lvl="0" indent="0" algn="ctr" defTabSz="895311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브랜드</a:t>
            </a:r>
            <a:r>
              <a:rPr kumimoji="0" lang="en-US" altLang="ko-KR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*</a:t>
            </a:r>
            <a:r>
              <a: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패키지</a:t>
            </a:r>
            <a:endParaRPr kumimoji="0" lang="en-US" altLang="ko-KR" sz="14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</a:endParaRPr>
          </a:p>
          <a:p>
            <a:pPr marL="0" marR="0" lvl="0" indent="0" algn="ctr" defTabSz="895311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altLang="ko-KR" sz="1400" b="1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( 20</a:t>
            </a:r>
            <a:r>
              <a:rPr kumimoji="0" lang="ko-KR" altLang="en-US" sz="1400" b="1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개 </a:t>
            </a:r>
            <a:r>
              <a:rPr kumimoji="0" lang="en-US" altLang="ko-KR" sz="1400" b="1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)</a:t>
            </a: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</a:endParaRPr>
          </a:p>
        </p:txBody>
      </p:sp>
      <p:sp>
        <p:nvSpPr>
          <p:cNvPr id="53" name="Freeform 6"/>
          <p:cNvSpPr>
            <a:spLocks/>
          </p:cNvSpPr>
          <p:nvPr>
            <p:custDataLst>
              <p:tags r:id="rId3"/>
            </p:custDataLst>
          </p:nvPr>
        </p:nvSpPr>
        <p:spPr bwMode="blackWhite">
          <a:xfrm>
            <a:off x="972153" y="2112383"/>
            <a:ext cx="1976377" cy="551514"/>
          </a:xfrm>
          <a:prstGeom prst="roundRect">
            <a:avLst/>
          </a:prstGeom>
          <a:solidFill>
            <a:sysClr val="window" lastClr="FFFFFF">
              <a:lumMod val="95000"/>
            </a:sysClr>
          </a:solidFill>
          <a:ln w="9525">
            <a:solidFill>
              <a:srgbClr val="1F497D">
                <a:lumMod val="75000"/>
              </a:srgbClr>
            </a:solidFill>
            <a:prstDash val="sysDash"/>
            <a:round/>
            <a:headEnd/>
            <a:tailEnd/>
          </a:ln>
          <a:effectLst/>
        </p:spPr>
        <p:txBody>
          <a:bodyPr wrap="none" tIns="18000" anchor="ctr"/>
          <a:lstStyle/>
          <a:p>
            <a:pPr marL="0" marR="0" lvl="0" indent="0" algn="ctr" defTabSz="895311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회사전체</a:t>
            </a:r>
            <a:endParaRPr kumimoji="0" lang="en-US" altLang="ko-KR" sz="14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</a:endParaRPr>
          </a:p>
          <a:p>
            <a:pPr marL="0" marR="0" lvl="0" indent="0" algn="ctr" defTabSz="895311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altLang="ko-KR" sz="1400" b="1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( 1</a:t>
            </a:r>
            <a:r>
              <a:rPr kumimoji="0" lang="ko-KR" altLang="en-US" sz="1400" b="1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개 </a:t>
            </a:r>
            <a:r>
              <a:rPr kumimoji="0" lang="en-US" altLang="ko-KR" sz="1400" b="1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)</a:t>
            </a:r>
            <a:endParaRPr kumimoji="0" lang="ko-KR" altLang="en-US" sz="14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</a:endParaRPr>
          </a:p>
        </p:txBody>
      </p:sp>
      <p:sp>
        <p:nvSpPr>
          <p:cNvPr id="54" name="오각형 53"/>
          <p:cNvSpPr/>
          <p:nvPr/>
        </p:nvSpPr>
        <p:spPr>
          <a:xfrm>
            <a:off x="459458" y="1556791"/>
            <a:ext cx="2635169" cy="413635"/>
          </a:xfrm>
          <a:prstGeom prst="homePlate">
            <a:avLst>
              <a:gd name="adj" fmla="val 0"/>
            </a:avLst>
          </a:prstGeom>
          <a:solidFill>
            <a:sysClr val="windowText" lastClr="000000">
              <a:lumMod val="85000"/>
              <a:lumOff val="15000"/>
            </a:sysClr>
          </a:solidFill>
          <a:ln w="12700">
            <a:solidFill>
              <a:sysClr val="windowText" lastClr="000000">
                <a:lumMod val="65000"/>
                <a:lumOff val="35000"/>
              </a:sysClr>
            </a:solidFill>
            <a:round/>
            <a:headEnd/>
            <a:tailEnd/>
          </a:ln>
          <a:effectLst>
            <a:outerShdw dist="35921" dir="2700000" algn="ctr" rotWithShape="0">
              <a:srgbClr val="000000"/>
            </a:outerShdw>
          </a:effectLst>
        </p:spPr>
        <p:txBody>
          <a:bodyPr wrap="square" lIns="91436" tIns="45718" rIns="91436" bIns="45718" anchor="ctr"/>
          <a:lstStyle/>
          <a:p>
            <a:pPr marL="0" marR="0" lvl="0" indent="0" algn="ctr" defTabSz="91436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맑은 고딕" pitchFamily="50" charset="-127"/>
              </a:rPr>
              <a:t>예측 모델링 대상</a:t>
            </a:r>
          </a:p>
        </p:txBody>
      </p:sp>
      <p:sp>
        <p:nvSpPr>
          <p:cNvPr id="55" name="모서리가 접힌 도형 54"/>
          <p:cNvSpPr/>
          <p:nvPr/>
        </p:nvSpPr>
        <p:spPr>
          <a:xfrm>
            <a:off x="459458" y="3830788"/>
            <a:ext cx="2781567" cy="2046484"/>
          </a:xfrm>
          <a:prstGeom prst="foldedCorner">
            <a:avLst>
              <a:gd name="adj" fmla="val 14071"/>
            </a:avLst>
          </a:prstGeom>
          <a:solidFill>
            <a:srgbClr val="FDF9F9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ysDot"/>
          </a:ln>
          <a:effectLst/>
        </p:spPr>
        <p:txBody>
          <a:bodyPr vert="horz" lIns="18000" tIns="18000" rIns="18000" bIns="18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553326" y="3988087"/>
            <a:ext cx="2593830" cy="1600438"/>
          </a:xfrm>
          <a:prstGeom prst="rect">
            <a:avLst/>
          </a:prstGeom>
          <a:noFill/>
        </p:spPr>
        <p:txBody>
          <a:bodyPr wrap="square" lIns="9000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177800" marR="0" lvl="0" indent="-177800" defTabSz="91436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ysClr val="windowText" lastClr="000000"/>
              </a:buClr>
              <a:buSzTx/>
              <a:buFont typeface="+mj-ea"/>
              <a:buAutoNum type="circleNumDbPlain"/>
              <a:tabLst/>
              <a:defRPr/>
            </a:pPr>
            <a:r>
              <a: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예측 정확도가 가장 높은 </a:t>
            </a:r>
            <a:r>
              <a:rPr kumimoji="0" lang="en-US" altLang="ko-KR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“</a:t>
            </a:r>
            <a:r>
              <a: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다중회귀분석</a:t>
            </a:r>
            <a:r>
              <a:rPr kumimoji="0" lang="en-US" altLang="ko-KR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”</a:t>
            </a:r>
            <a:r>
              <a: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 기법 적용</a:t>
            </a:r>
            <a:endParaRPr kumimoji="0" lang="en-US" altLang="ko-KR" sz="20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</a:endParaRPr>
          </a:p>
          <a:p>
            <a:pPr marL="177800" marR="0" lvl="0" indent="-177800" defTabSz="91436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ysClr val="windowText" lastClr="000000"/>
              </a:buClr>
              <a:buSzTx/>
              <a:buFont typeface="+mj-ea"/>
              <a:buAutoNum type="circleNumDbPlain"/>
              <a:tabLst/>
              <a:defRPr/>
            </a:pPr>
            <a:r>
              <a:rPr kumimoji="0" lang="en-US" altLang="ko-KR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“Stepwise </a:t>
            </a:r>
            <a:r>
              <a: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회귀분석</a:t>
            </a:r>
            <a:r>
              <a:rPr kumimoji="0" lang="en-US" altLang="ko-KR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”</a:t>
            </a:r>
            <a:r>
              <a: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으로 예측 </a:t>
            </a:r>
            <a:r>
              <a:rPr kumimoji="0" lang="ko-KR" altLang="en-US" sz="1400" b="1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모형별</a:t>
            </a:r>
            <a:r>
              <a: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 투입변수 선별 </a:t>
            </a:r>
            <a:endParaRPr kumimoji="0" lang="en-US" altLang="ko-KR" sz="20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</a:endParaRPr>
          </a:p>
          <a:p>
            <a:pPr marL="177800" marR="0" lvl="0" indent="-177800" defTabSz="91436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ysClr val="windowText" lastClr="000000"/>
              </a:buClr>
              <a:buSzTx/>
              <a:buFont typeface="+mj-ea"/>
              <a:buAutoNum type="circleNumDbPlain"/>
              <a:tabLst/>
              <a:defRPr/>
            </a:pPr>
            <a:r>
              <a: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반복적으로 투입변수 추가</a:t>
            </a:r>
            <a:r>
              <a:rPr kumimoji="0" lang="en-US" altLang="ko-KR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/ </a:t>
            </a:r>
            <a:r>
              <a: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변경하여 모형 정확도 보정</a:t>
            </a:r>
            <a:endParaRPr kumimoji="0" lang="en-US" altLang="ko-KR" sz="14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</a:endParaRPr>
          </a:p>
        </p:txBody>
      </p:sp>
      <p:cxnSp>
        <p:nvCxnSpPr>
          <p:cNvPr id="57" name="꺾인 연결선 54"/>
          <p:cNvCxnSpPr>
            <a:endCxn id="53" idx="1"/>
          </p:cNvCxnSpPr>
          <p:nvPr/>
        </p:nvCxnSpPr>
        <p:spPr>
          <a:xfrm rot="16200000" flipH="1">
            <a:off x="582187" y="1998174"/>
            <a:ext cx="413651" cy="366280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tailEnd type="stealth" w="lg" len="lg"/>
          </a:ln>
          <a:effectLst/>
        </p:spPr>
      </p:cxnSp>
      <p:cxnSp>
        <p:nvCxnSpPr>
          <p:cNvPr id="58" name="꺾인 연결선 54"/>
          <p:cNvCxnSpPr>
            <a:endCxn id="52" idx="1"/>
          </p:cNvCxnSpPr>
          <p:nvPr/>
        </p:nvCxnSpPr>
        <p:spPr>
          <a:xfrm rot="16200000" flipH="1">
            <a:off x="271968" y="2347198"/>
            <a:ext cx="1034089" cy="366280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tailEnd type="stealth" w="lg" len="lg"/>
          </a:ln>
          <a:effectLst/>
        </p:spPr>
      </p:cxnSp>
      <p:sp>
        <p:nvSpPr>
          <p:cNvPr id="60" name="AutoShape 122"/>
          <p:cNvSpPr>
            <a:spLocks noChangeArrowheads="1"/>
          </p:cNvSpPr>
          <p:nvPr/>
        </p:nvSpPr>
        <p:spPr bwMode="auto">
          <a:xfrm rot="10800000">
            <a:off x="3324800" y="1556792"/>
            <a:ext cx="6192000" cy="4284000"/>
          </a:xfrm>
          <a:prstGeom prst="homePlate">
            <a:avLst>
              <a:gd name="adj" fmla="val 5134"/>
            </a:avLst>
          </a:prstGeom>
          <a:solidFill>
            <a:sysClr val="window" lastClr="FFFFFF"/>
          </a:solidFill>
          <a:ln w="9525" algn="ctr">
            <a:solidFill>
              <a:sysClr val="windowText" lastClr="000000"/>
            </a:solidFill>
            <a:round/>
            <a:headEnd/>
            <a:tailEnd/>
          </a:ln>
          <a:effectLst>
            <a:outerShdw dist="35921" dir="2700000" algn="ctr" rotWithShape="0">
              <a:sysClr val="windowText" lastClr="000000"/>
            </a:outerShdw>
          </a:effectLst>
        </p:spPr>
        <p:txBody>
          <a:bodyPr tIns="190800" anchorCtr="1"/>
          <a:lstStyle/>
          <a:p>
            <a:pPr marL="180975" marR="0" lvl="0" indent="-180975" defTabSz="7620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1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</a:endParaRPr>
          </a:p>
        </p:txBody>
      </p:sp>
      <p:grpSp>
        <p:nvGrpSpPr>
          <p:cNvPr id="2" name="그룹 52"/>
          <p:cNvGrpSpPr>
            <a:grpSpLocks noChangeAspect="1"/>
          </p:cNvGrpSpPr>
          <p:nvPr/>
        </p:nvGrpSpPr>
        <p:grpSpPr>
          <a:xfrm rot="21120000">
            <a:off x="3647184" y="1703585"/>
            <a:ext cx="979200" cy="307777"/>
            <a:chOff x="-162410" y="2120401"/>
            <a:chExt cx="1491428" cy="461717"/>
          </a:xfrm>
        </p:grpSpPr>
        <p:sp>
          <p:nvSpPr>
            <p:cNvPr id="62" name="Line 17"/>
            <p:cNvSpPr>
              <a:spLocks noChangeShapeType="1"/>
            </p:cNvSpPr>
            <p:nvPr/>
          </p:nvSpPr>
          <p:spPr bwMode="auto">
            <a:xfrm flipV="1">
              <a:off x="-142612" y="2132856"/>
              <a:ext cx="1440000" cy="0"/>
            </a:xfrm>
            <a:prstGeom prst="line">
              <a:avLst/>
            </a:prstGeom>
            <a:noFill/>
            <a:ln w="25400" cmpd="tri">
              <a:solidFill>
                <a:sysClr val="windowText" lastClr="000000">
                  <a:lumMod val="65000"/>
                  <a:lumOff val="35000"/>
                </a:sys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defTabSz="9142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-10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맑은 고딕" pitchFamily="50" charset="-127"/>
              </a:endParaRPr>
            </a:p>
          </p:txBody>
        </p:sp>
        <p:sp>
          <p:nvSpPr>
            <p:cNvPr id="63" name="Line 17"/>
            <p:cNvSpPr>
              <a:spLocks noChangeShapeType="1"/>
            </p:cNvSpPr>
            <p:nvPr/>
          </p:nvSpPr>
          <p:spPr bwMode="auto">
            <a:xfrm flipV="1">
              <a:off x="-142612" y="2564904"/>
              <a:ext cx="1440000" cy="0"/>
            </a:xfrm>
            <a:prstGeom prst="line">
              <a:avLst/>
            </a:prstGeom>
            <a:noFill/>
            <a:ln w="25400" cmpd="tri">
              <a:solidFill>
                <a:sysClr val="windowText" lastClr="000000">
                  <a:lumMod val="65000"/>
                  <a:lumOff val="35000"/>
                </a:sys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defTabSz="9142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-10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맑은 고딕" pitchFamily="50" charset="-127"/>
              </a:endParaRPr>
            </a:p>
          </p:txBody>
        </p:sp>
        <p:sp>
          <p:nvSpPr>
            <p:cNvPr id="64" name="Text Box 16"/>
            <p:cNvSpPr txBox="1">
              <a:spLocks noChangeArrowheads="1"/>
            </p:cNvSpPr>
            <p:nvPr/>
          </p:nvSpPr>
          <p:spPr bwMode="auto">
            <a:xfrm>
              <a:off x="-162410" y="2120401"/>
              <a:ext cx="1491428" cy="46171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anchor="ctr">
              <a:spAutoFit/>
            </a:bodyPr>
            <a:lstStyle/>
            <a:p>
              <a:pPr marL="0" marR="0" lvl="0" indent="0" algn="ctr" defTabSz="7620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0" cap="none" spc="-100" normalizeH="0" baseline="0" noProof="0" dirty="0" smtClean="0">
                  <a:ln>
                    <a:noFill/>
                  </a:ln>
                  <a:solidFill>
                    <a:sysClr val="windowText" lastClr="000000">
                      <a:lumMod val="65000"/>
                      <a:lumOff val="35000"/>
                    </a:sysClr>
                  </a:solidFill>
                  <a:effectLst/>
                  <a:uLnTx/>
                  <a:uFillTx/>
                  <a:latin typeface="맑은 고딕" pitchFamily="50" charset="-127"/>
                </a:rPr>
                <a:t>Illustrative</a:t>
              </a:r>
              <a:endParaRPr kumimoji="0" lang="ko-KR" altLang="en-US" sz="1400" b="1" i="0" u="none" strike="noStrike" kern="0" cap="none" spc="-10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맑은 고딕" pitchFamily="50" charset="-127"/>
              </a:endParaRPr>
            </a:p>
          </p:txBody>
        </p:sp>
      </p:grpSp>
      <p:grpSp>
        <p:nvGrpSpPr>
          <p:cNvPr id="3" name="Group 15"/>
          <p:cNvGrpSpPr>
            <a:grpSpLocks/>
          </p:cNvGrpSpPr>
          <p:nvPr/>
        </p:nvGrpSpPr>
        <p:grpSpPr bwMode="auto">
          <a:xfrm>
            <a:off x="5344389" y="1675408"/>
            <a:ext cx="2376000" cy="329188"/>
            <a:chOff x="172" y="887"/>
            <a:chExt cx="1294" cy="211"/>
          </a:xfrm>
        </p:grpSpPr>
        <p:sp>
          <p:nvSpPr>
            <p:cNvPr id="66" name="Text Box 16"/>
            <p:cNvSpPr txBox="1">
              <a:spLocks noChangeArrowheads="1"/>
            </p:cNvSpPr>
            <p:nvPr/>
          </p:nvSpPr>
          <p:spPr bwMode="auto">
            <a:xfrm>
              <a:off x="178" y="887"/>
              <a:ext cx="1288" cy="20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marL="0" marR="0" lvl="0" indent="0" algn="ctr" defTabSz="7620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5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itchFamily="50" charset="-127"/>
                </a:rPr>
                <a:t>회사전체 예측 모델링</a:t>
              </a:r>
              <a:endParaRPr kumimoji="0" lang="ko-KR" altLang="en-US" sz="1600" b="1" i="0" u="none" strike="noStrike" kern="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</a:endParaRPr>
            </a:p>
          </p:txBody>
        </p:sp>
        <p:sp>
          <p:nvSpPr>
            <p:cNvPr id="67" name="Line 17"/>
            <p:cNvSpPr>
              <a:spLocks noChangeShapeType="1"/>
            </p:cNvSpPr>
            <p:nvPr/>
          </p:nvSpPr>
          <p:spPr bwMode="auto">
            <a:xfrm flipV="1">
              <a:off x="172" y="1098"/>
              <a:ext cx="1288" cy="0"/>
            </a:xfrm>
            <a:prstGeom prst="line">
              <a:avLst/>
            </a:prstGeom>
            <a:noFill/>
            <a:ln w="9525">
              <a:solidFill>
                <a:sysClr val="windowText" lastClr="0000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defTabSz="9142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5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itchFamily="50" charset="-127"/>
              </a:endParaRPr>
            </a:p>
          </p:txBody>
        </p:sp>
      </p:grpSp>
      <p:sp>
        <p:nvSpPr>
          <p:cNvPr id="69" name="AutoShape 122"/>
          <p:cNvSpPr>
            <a:spLocks noChangeArrowheads="1"/>
          </p:cNvSpPr>
          <p:nvPr/>
        </p:nvSpPr>
        <p:spPr bwMode="auto">
          <a:xfrm rot="16200000">
            <a:off x="6032985" y="929538"/>
            <a:ext cx="939536" cy="5688634"/>
          </a:xfrm>
          <a:prstGeom prst="homePlate">
            <a:avLst>
              <a:gd name="adj" fmla="val 11514"/>
            </a:avLst>
          </a:prstGeom>
          <a:solidFill>
            <a:sysClr val="window" lastClr="FFFFFF"/>
          </a:solidFill>
          <a:ln w="9525" algn="ctr">
            <a:solidFill>
              <a:sysClr val="windowText" lastClr="000000">
                <a:lumMod val="50000"/>
                <a:lumOff val="50000"/>
              </a:sysClr>
            </a:solidFill>
            <a:round/>
            <a:headEnd/>
            <a:tailEnd/>
          </a:ln>
          <a:effectLst/>
        </p:spPr>
        <p:txBody>
          <a:bodyPr tIns="190800" anchorCtr="1"/>
          <a:lstStyle/>
          <a:p>
            <a:pPr marL="180975" marR="0" lvl="0" indent="-180975" defTabSz="7620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1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</a:endParaRPr>
          </a:p>
        </p:txBody>
      </p:sp>
      <p:sp>
        <p:nvSpPr>
          <p:cNvPr id="70" name="AutoShape 122"/>
          <p:cNvSpPr>
            <a:spLocks noChangeArrowheads="1"/>
          </p:cNvSpPr>
          <p:nvPr/>
        </p:nvSpPr>
        <p:spPr bwMode="auto">
          <a:xfrm rot="5400000">
            <a:off x="5932320" y="-109025"/>
            <a:ext cx="1140865" cy="5688632"/>
          </a:xfrm>
          <a:prstGeom prst="homePlate">
            <a:avLst>
              <a:gd name="adj" fmla="val 10171"/>
            </a:avLst>
          </a:prstGeom>
          <a:solidFill>
            <a:sysClr val="window" lastClr="FFFFFF"/>
          </a:solidFill>
          <a:ln w="9525" algn="ctr">
            <a:solidFill>
              <a:sysClr val="windowText" lastClr="000000">
                <a:lumMod val="50000"/>
                <a:lumOff val="50000"/>
              </a:sysClr>
            </a:solidFill>
            <a:round/>
            <a:headEnd/>
            <a:tailEnd/>
          </a:ln>
          <a:effectLst/>
        </p:spPr>
        <p:txBody>
          <a:bodyPr tIns="190800" anchorCtr="1"/>
          <a:lstStyle/>
          <a:p>
            <a:pPr marL="180975" marR="0" lvl="0" indent="-180975" defTabSz="7620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1" lang="ko-KR" altLang="en-US" sz="12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3738193" y="2618543"/>
            <a:ext cx="3490080" cy="230832"/>
          </a:xfrm>
          <a:prstGeom prst="rect">
            <a:avLst/>
          </a:prstGeom>
          <a:noFill/>
        </p:spPr>
        <p:txBody>
          <a:bodyPr wrap="square" lIns="9000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0" marR="0" lvl="0" indent="0" defTabSz="91436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ysClr val="windowText" lastClr="000000"/>
              </a:buClr>
              <a:buSzTx/>
              <a:buFontTx/>
              <a:buNone/>
              <a:tabLst/>
              <a:defRPr/>
            </a:pPr>
            <a:r>
              <a:rPr kumimoji="0" lang="ko-KR" altLang="en-US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A50021"/>
                </a:solidFill>
                <a:effectLst/>
                <a:uLnTx/>
                <a:uFillTx/>
                <a:latin typeface="맑은 고딕" pitchFamily="50" charset="-127"/>
              </a:rPr>
              <a:t>회사</a:t>
            </a:r>
            <a:r>
              <a:rPr kumimoji="0" lang="en-US" altLang="ko-KR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A50021"/>
                </a:solidFill>
                <a:effectLst/>
                <a:uLnTx/>
                <a:uFillTx/>
                <a:latin typeface="맑은 고딕" pitchFamily="50" charset="-127"/>
              </a:rPr>
              <a:t> </a:t>
            </a:r>
            <a:r>
              <a:rPr kumimoji="0" lang="ko-KR" altLang="en-US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A50021"/>
                </a:solidFill>
                <a:effectLst/>
                <a:uLnTx/>
                <a:uFillTx/>
                <a:latin typeface="맑은 고딕" pitchFamily="50" charset="-127"/>
              </a:rPr>
              <a:t>판매량</a:t>
            </a:r>
            <a:endParaRPr kumimoji="0" lang="en-US" altLang="ko-KR" sz="1500" b="1" i="1" u="none" strike="noStrike" kern="0" cap="none" spc="-10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</a:endParaRPr>
          </a:p>
        </p:txBody>
      </p:sp>
      <p:sp>
        <p:nvSpPr>
          <p:cNvPr id="72" name="Freeform 6"/>
          <p:cNvSpPr>
            <a:spLocks/>
          </p:cNvSpPr>
          <p:nvPr>
            <p:custDataLst>
              <p:tags r:id="rId4"/>
            </p:custDataLst>
          </p:nvPr>
        </p:nvSpPr>
        <p:spPr bwMode="blackWhite">
          <a:xfrm>
            <a:off x="3658437" y="2160152"/>
            <a:ext cx="5688632" cy="357030"/>
          </a:xfrm>
          <a:prstGeom prst="roundRect">
            <a:avLst/>
          </a:prstGeom>
          <a:pattFill prst="ltUpDiag">
            <a:fgClr>
              <a:srgbClr val="FFED9F"/>
            </a:fgClr>
            <a:bgClr>
              <a:srgbClr val="FFFFFF"/>
            </a:bgClr>
          </a:pattFill>
          <a:ln w="15875" algn="ctr">
            <a:solidFill>
              <a:srgbClr val="CC000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895311" eaLnBrk="1" latinLnBrk="0" hangingPunct="1">
              <a:lnSpc>
                <a:spcPct val="110000"/>
              </a:lnSpc>
              <a:buClrTx/>
              <a:buSzPct val="120000"/>
              <a:buFontTx/>
              <a:buNone/>
              <a:tabLst/>
              <a:defRPr/>
            </a:pPr>
            <a:r>
              <a:rPr lang="en-US" altLang="ko-KR" u="none" dirty="0" smtClean="0">
                <a:latin typeface="맑은 고딕" pitchFamily="50" charset="-127"/>
              </a:rPr>
              <a:t>Top-Down Approach</a:t>
            </a:r>
            <a:endParaRPr lang="ko-KR" altLang="en-US" u="none" dirty="0" smtClean="0">
              <a:latin typeface="맑은 고딕" pitchFamily="50" charset="-127"/>
            </a:endParaRPr>
          </a:p>
        </p:txBody>
      </p:sp>
      <p:sp>
        <p:nvSpPr>
          <p:cNvPr id="73" name="Freeform 6"/>
          <p:cNvSpPr>
            <a:spLocks/>
          </p:cNvSpPr>
          <p:nvPr>
            <p:custDataLst>
              <p:tags r:id="rId5"/>
            </p:custDataLst>
          </p:nvPr>
        </p:nvSpPr>
        <p:spPr bwMode="blackWhite">
          <a:xfrm>
            <a:off x="3658437" y="3884907"/>
            <a:ext cx="5688632" cy="357030"/>
          </a:xfrm>
          <a:prstGeom prst="roundRect">
            <a:avLst/>
          </a:prstGeom>
          <a:pattFill prst="ltUpDiag">
            <a:fgClr>
              <a:srgbClr val="FFED9F"/>
            </a:fgClr>
            <a:bgClr>
              <a:srgbClr val="FFFFFF"/>
            </a:bgClr>
          </a:pattFill>
          <a:ln w="15875" algn="ctr">
            <a:solidFill>
              <a:srgbClr val="CC000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895311" eaLnBrk="1" latinLnBrk="0" hangingPunct="1">
              <a:lnSpc>
                <a:spcPct val="110000"/>
              </a:lnSpc>
              <a:buClrTx/>
              <a:buSzPct val="120000"/>
              <a:buFontTx/>
              <a:buNone/>
              <a:tabLst/>
              <a:defRPr/>
            </a:pPr>
            <a:r>
              <a:rPr lang="ko-KR" altLang="en-US" u="none" dirty="0" smtClean="0">
                <a:latin typeface="맑은 고딕" pitchFamily="50" charset="-127"/>
              </a:rPr>
              <a:t>상세</a:t>
            </a:r>
            <a:r>
              <a:rPr lang="en-US" altLang="ko-KR" u="none" dirty="0" smtClean="0">
                <a:latin typeface="맑은 고딕" pitchFamily="50" charset="-127"/>
              </a:rPr>
              <a:t> </a:t>
            </a:r>
            <a:r>
              <a:rPr lang="ko-KR" altLang="en-US" u="none" dirty="0" smtClean="0">
                <a:latin typeface="맑은 고딕" pitchFamily="50" charset="-127"/>
              </a:rPr>
              <a:t>변수 투입</a:t>
            </a:r>
          </a:p>
        </p:txBody>
      </p:sp>
      <p:graphicFrame>
        <p:nvGraphicFramePr>
          <p:cNvPr id="74" name="Object 7"/>
          <p:cNvGraphicFramePr>
            <a:graphicFrameLocks noChangeAspect="1"/>
          </p:cNvGraphicFramePr>
          <p:nvPr/>
        </p:nvGraphicFramePr>
        <p:xfrm>
          <a:off x="4252320" y="2862846"/>
          <a:ext cx="473905" cy="391288"/>
        </p:xfrm>
        <a:graphic>
          <a:graphicData uri="http://schemas.openxmlformats.org/presentationml/2006/ole">
            <p:oleObj spid="_x0000_s409652" name="수식" r:id="rId14" imgW="241195" imgH="291973" progId="Equation.3">
              <p:embed/>
            </p:oleObj>
          </a:graphicData>
        </a:graphic>
      </p:graphicFrame>
      <p:sp>
        <p:nvSpPr>
          <p:cNvPr id="75" name="Freeform 6"/>
          <p:cNvSpPr>
            <a:spLocks/>
          </p:cNvSpPr>
          <p:nvPr>
            <p:custDataLst>
              <p:tags r:id="rId6"/>
            </p:custDataLst>
          </p:nvPr>
        </p:nvSpPr>
        <p:spPr bwMode="blackWhite">
          <a:xfrm>
            <a:off x="5991339" y="4396482"/>
            <a:ext cx="693620" cy="298752"/>
          </a:xfrm>
          <a:prstGeom prst="roundRect">
            <a:avLst/>
          </a:prstGeom>
          <a:pattFill prst="ltUpDiag">
            <a:fgClr>
              <a:srgbClr val="FFED9F"/>
            </a:fgClr>
            <a:bgClr>
              <a:srgbClr val="FFFFFF"/>
            </a:bgClr>
          </a:pattFill>
          <a:ln w="15875" algn="ctr">
            <a:solidFill>
              <a:srgbClr val="CC000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895311">
              <a:lnSpc>
                <a:spcPct val="110000"/>
              </a:lnSpc>
              <a:buSzPct val="120000"/>
              <a:defRPr/>
            </a:pPr>
            <a:endParaRPr lang="ko-KR" altLang="en-US" u="none" dirty="0" smtClean="0">
              <a:latin typeface="맑은 고딕" pitchFamily="50" charset="-127"/>
            </a:endParaRPr>
          </a:p>
        </p:txBody>
      </p:sp>
      <p:sp>
        <p:nvSpPr>
          <p:cNvPr id="76" name="Freeform 6"/>
          <p:cNvSpPr>
            <a:spLocks/>
          </p:cNvSpPr>
          <p:nvPr>
            <p:custDataLst>
              <p:tags r:id="rId7"/>
            </p:custDataLst>
          </p:nvPr>
        </p:nvSpPr>
        <p:spPr bwMode="blackWhite">
          <a:xfrm>
            <a:off x="7072379" y="4396482"/>
            <a:ext cx="693620" cy="298752"/>
          </a:xfrm>
          <a:prstGeom prst="roundRect">
            <a:avLst/>
          </a:prstGeom>
          <a:pattFill prst="ltUpDiag">
            <a:fgClr>
              <a:srgbClr val="FFED9F"/>
            </a:fgClr>
            <a:bgClr>
              <a:srgbClr val="FFFFFF"/>
            </a:bgClr>
          </a:pattFill>
          <a:ln w="15875" algn="ctr">
            <a:solidFill>
              <a:srgbClr val="CC000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895311">
              <a:lnSpc>
                <a:spcPct val="110000"/>
              </a:lnSpc>
              <a:buSzPct val="120000"/>
              <a:defRPr/>
            </a:pPr>
            <a:endParaRPr lang="ko-KR" altLang="en-US" u="none" dirty="0" smtClean="0">
              <a:latin typeface="맑은 고딕" pitchFamily="50" charset="-127"/>
            </a:endParaRPr>
          </a:p>
        </p:txBody>
      </p:sp>
      <p:sp>
        <p:nvSpPr>
          <p:cNvPr id="77" name="Freeform 6"/>
          <p:cNvSpPr>
            <a:spLocks/>
          </p:cNvSpPr>
          <p:nvPr>
            <p:custDataLst>
              <p:tags r:id="rId8"/>
            </p:custDataLst>
          </p:nvPr>
        </p:nvSpPr>
        <p:spPr bwMode="blackWhite">
          <a:xfrm>
            <a:off x="8147812" y="4396482"/>
            <a:ext cx="693620" cy="298752"/>
          </a:xfrm>
          <a:prstGeom prst="roundRect">
            <a:avLst/>
          </a:prstGeom>
          <a:pattFill prst="ltUpDiag">
            <a:fgClr>
              <a:srgbClr val="FFED9F"/>
            </a:fgClr>
            <a:bgClr>
              <a:srgbClr val="FFFFFF"/>
            </a:bgClr>
          </a:pattFill>
          <a:ln w="15875" algn="ctr">
            <a:solidFill>
              <a:srgbClr val="CC000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895311" eaLnBrk="1" latinLnBrk="0" hangingPunct="1">
              <a:lnSpc>
                <a:spcPct val="110000"/>
              </a:lnSpc>
              <a:buClrTx/>
              <a:buSzPct val="120000"/>
              <a:buFontTx/>
              <a:buNone/>
              <a:tabLst/>
              <a:defRPr/>
            </a:pPr>
            <a:endParaRPr lang="ko-KR" altLang="en-US" u="none" dirty="0" smtClean="0">
              <a:latin typeface="맑은 고딕" pitchFamily="50" charset="-127"/>
            </a:endParaRPr>
          </a:p>
        </p:txBody>
      </p:sp>
      <p:sp>
        <p:nvSpPr>
          <p:cNvPr id="78" name="Freeform 6"/>
          <p:cNvSpPr>
            <a:spLocks/>
          </p:cNvSpPr>
          <p:nvPr>
            <p:custDataLst>
              <p:tags r:id="rId9"/>
            </p:custDataLst>
          </p:nvPr>
        </p:nvSpPr>
        <p:spPr bwMode="blackWhite">
          <a:xfrm>
            <a:off x="4945580" y="4396482"/>
            <a:ext cx="693620" cy="298752"/>
          </a:xfrm>
          <a:prstGeom prst="roundRect">
            <a:avLst/>
          </a:prstGeom>
          <a:pattFill prst="ltUpDiag">
            <a:fgClr>
              <a:srgbClr val="FFED9F"/>
            </a:fgClr>
            <a:bgClr>
              <a:srgbClr val="FFFFFF"/>
            </a:bgClr>
          </a:pattFill>
          <a:ln w="15875" algn="ctr">
            <a:solidFill>
              <a:srgbClr val="CC000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895311" eaLnBrk="1" latinLnBrk="0" hangingPunct="1">
              <a:lnSpc>
                <a:spcPct val="110000"/>
              </a:lnSpc>
              <a:buClrTx/>
              <a:buSzPct val="120000"/>
              <a:buFontTx/>
              <a:buNone/>
              <a:tabLst/>
              <a:defRPr/>
            </a:pPr>
            <a:endParaRPr lang="ko-KR" altLang="en-US" u="none" dirty="0" smtClean="0">
              <a:latin typeface="맑은 고딕" pitchFamily="50" charset="-127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585444" y="4742388"/>
            <a:ext cx="1209008" cy="307777"/>
          </a:xfrm>
          <a:prstGeom prst="rect">
            <a:avLst/>
          </a:prstGeom>
          <a:noFill/>
        </p:spPr>
        <p:txBody>
          <a:bodyPr wrap="square" lIns="9000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82550" marR="0" lvl="0" indent="-82550" defTabSz="914360" eaLnBrk="1" fontAlgn="base" latinLnBrk="0" hangingPunct="1">
              <a:lnSpc>
                <a:spcPts val="1200"/>
              </a:lnSpc>
              <a:spcBef>
                <a:spcPts val="0"/>
              </a:spcBef>
              <a:spcAft>
                <a:spcPct val="0"/>
              </a:spcAft>
              <a:buClr>
                <a:sysClr val="windowText" lastClr="0000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ko-KR" sz="1200" b="0" i="0" u="none" strike="noStrike" kern="0" cap="none" spc="-10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Nielsen</a:t>
            </a:r>
            <a:r>
              <a:rPr kumimoji="0" lang="ko-KR" altLang="en-US" sz="1200" b="0" i="0" u="none" strike="noStrike" kern="0" cap="none" spc="-10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판매량</a:t>
            </a:r>
            <a:endParaRPr kumimoji="0" lang="en-US" altLang="ko-KR" sz="1200" b="0" i="0" u="none" strike="noStrike" kern="0" cap="none" spc="-10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</a:endParaRPr>
          </a:p>
          <a:p>
            <a:pPr marL="82550" marR="0" lvl="0" indent="-82550" defTabSz="914360" eaLnBrk="1" fontAlgn="base" latinLnBrk="0" hangingPunct="1">
              <a:lnSpc>
                <a:spcPts val="1200"/>
              </a:lnSpc>
              <a:spcBef>
                <a:spcPts val="0"/>
              </a:spcBef>
              <a:spcAft>
                <a:spcPct val="0"/>
              </a:spcAft>
              <a:buClr>
                <a:sysClr val="windowText" lastClr="0000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ko-KR" sz="1200" b="0" i="0" u="none" strike="noStrike" kern="0" cap="none" spc="-10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Modern</a:t>
            </a:r>
            <a:r>
              <a:rPr kumimoji="0" lang="ko-KR" altLang="en-US" sz="1200" b="0" i="0" u="none" strike="noStrike" kern="0" cap="none" spc="-10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판매리터</a:t>
            </a:r>
            <a:endParaRPr kumimoji="0" lang="en-US" altLang="ko-KR" sz="1200" b="0" i="0" u="none" strike="noStrike" kern="0" cap="none" spc="-10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5774562" y="4721101"/>
            <a:ext cx="1221528" cy="307777"/>
          </a:xfrm>
          <a:prstGeom prst="rect">
            <a:avLst/>
          </a:prstGeom>
          <a:noFill/>
        </p:spPr>
        <p:txBody>
          <a:bodyPr wrap="square" lIns="9000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82550" marR="0" lvl="0" indent="-82550" defTabSz="914360" eaLnBrk="1" fontAlgn="base" latinLnBrk="0" hangingPunct="1">
              <a:lnSpc>
                <a:spcPts val="1200"/>
              </a:lnSpc>
              <a:spcBef>
                <a:spcPts val="0"/>
              </a:spcBef>
              <a:spcAft>
                <a:spcPct val="0"/>
              </a:spcAft>
              <a:buClr>
                <a:sysClr val="windowText" lastClr="0000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ko-KR" sz="1200" b="0" i="0" u="none" strike="noStrike" kern="0" cap="none" spc="-10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Nielsen</a:t>
            </a:r>
            <a:r>
              <a:rPr kumimoji="0" lang="ko-KR" altLang="en-US" sz="1200" b="0" i="0" u="none" strike="noStrike" kern="0" cap="none" spc="-10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판매량</a:t>
            </a:r>
            <a:endParaRPr kumimoji="0" lang="en-US" altLang="ko-KR" sz="1200" b="0" i="0" u="none" strike="noStrike" kern="0" cap="none" spc="-10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</a:endParaRPr>
          </a:p>
          <a:p>
            <a:pPr marL="82550" marR="0" lvl="0" indent="-82550" defTabSz="914360" eaLnBrk="1" fontAlgn="base" latinLnBrk="0" hangingPunct="1">
              <a:lnSpc>
                <a:spcPts val="1200"/>
              </a:lnSpc>
              <a:spcBef>
                <a:spcPts val="0"/>
              </a:spcBef>
              <a:spcAft>
                <a:spcPct val="0"/>
              </a:spcAft>
              <a:buClr>
                <a:sysClr val="windowText" lastClr="0000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ko-KR" sz="1200" b="0" i="0" u="none" strike="noStrike" kern="0" cap="none" spc="-10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Modern</a:t>
            </a:r>
            <a:r>
              <a:rPr kumimoji="0" lang="ko-KR" altLang="en-US" sz="1200" b="0" i="0" u="none" strike="noStrike" kern="0" cap="none" spc="-10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판매리터</a:t>
            </a:r>
            <a:endParaRPr kumimoji="0" lang="en-US" altLang="ko-KR" sz="1200" b="0" i="0" u="none" strike="noStrike" kern="0" cap="none" spc="-10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6972939" y="4721101"/>
            <a:ext cx="813665" cy="307777"/>
          </a:xfrm>
          <a:prstGeom prst="rect">
            <a:avLst/>
          </a:prstGeom>
          <a:noFill/>
        </p:spPr>
        <p:txBody>
          <a:bodyPr wrap="square" lIns="9000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82550" marR="0" lvl="0" indent="-82550" defTabSz="914360" eaLnBrk="1" fontAlgn="base" latinLnBrk="0" hangingPunct="1">
              <a:lnSpc>
                <a:spcPts val="1200"/>
              </a:lnSpc>
              <a:spcBef>
                <a:spcPts val="0"/>
              </a:spcBef>
              <a:spcAft>
                <a:spcPct val="0"/>
              </a:spcAft>
              <a:buClr>
                <a:sysClr val="windowText" lastClr="0000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200" b="0" i="0" u="none" strike="noStrike" kern="0" cap="none" spc="-10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사입률</a:t>
            </a:r>
            <a:endParaRPr kumimoji="0" lang="en-US" altLang="ko-KR" sz="1200" b="0" i="0" u="none" strike="noStrike" kern="0" cap="none" spc="-10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</a:endParaRPr>
          </a:p>
          <a:p>
            <a:pPr marL="82550" marR="0" lvl="0" indent="-82550" defTabSz="914360" eaLnBrk="1" fontAlgn="base" latinLnBrk="0" hangingPunct="1">
              <a:lnSpc>
                <a:spcPts val="1200"/>
              </a:lnSpc>
              <a:spcBef>
                <a:spcPts val="0"/>
              </a:spcBef>
              <a:spcAft>
                <a:spcPct val="0"/>
              </a:spcAft>
              <a:buClr>
                <a:sysClr val="windowText" lastClr="0000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200" b="0" i="0" u="none" strike="noStrike" kern="0" cap="none" spc="-10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진열수</a:t>
            </a:r>
            <a:r>
              <a:rPr kumimoji="0" lang="en-US" altLang="ko-KR" sz="1200" b="0" i="0" u="none" strike="noStrike" kern="0" cap="none" spc="-10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 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4807192" y="5458344"/>
            <a:ext cx="813665" cy="307777"/>
          </a:xfrm>
          <a:prstGeom prst="rect">
            <a:avLst/>
          </a:prstGeom>
          <a:noFill/>
        </p:spPr>
        <p:txBody>
          <a:bodyPr wrap="square" lIns="9000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82550" marR="0" lvl="0" indent="-82550" defTabSz="914360" eaLnBrk="1" fontAlgn="base" latinLnBrk="0" hangingPunct="1">
              <a:lnSpc>
                <a:spcPts val="1200"/>
              </a:lnSpc>
              <a:spcBef>
                <a:spcPts val="0"/>
              </a:spcBef>
              <a:spcAft>
                <a:spcPct val="0"/>
              </a:spcAft>
              <a:buClr>
                <a:sysClr val="windowText" lastClr="0000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200" b="0" i="0" u="none" strike="noStrike" kern="0" cap="none" spc="-10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신규</a:t>
            </a:r>
            <a:r>
              <a:rPr kumimoji="0" lang="en-US" altLang="ko-KR" sz="1200" b="0" i="0" u="none" strike="noStrike" kern="0" cap="none" spc="-10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 POC</a:t>
            </a:r>
          </a:p>
          <a:p>
            <a:pPr marL="82550" marR="0" lvl="0" indent="-82550" defTabSz="914360" eaLnBrk="1" fontAlgn="base" latinLnBrk="0" hangingPunct="1">
              <a:lnSpc>
                <a:spcPts val="1200"/>
              </a:lnSpc>
              <a:spcBef>
                <a:spcPts val="0"/>
              </a:spcBef>
              <a:spcAft>
                <a:spcPct val="0"/>
              </a:spcAft>
              <a:buClr>
                <a:sysClr val="windowText" lastClr="0000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200" b="0" i="0" u="none" strike="noStrike" kern="0" cap="none" spc="-10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전향</a:t>
            </a:r>
            <a:r>
              <a:rPr kumimoji="0" lang="en-US" altLang="ko-KR" sz="1200" b="0" i="0" u="none" strike="noStrike" kern="0" cap="none" spc="-10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POC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5942748" y="5458344"/>
            <a:ext cx="813665" cy="307777"/>
          </a:xfrm>
          <a:prstGeom prst="rect">
            <a:avLst/>
          </a:prstGeom>
          <a:noFill/>
        </p:spPr>
        <p:txBody>
          <a:bodyPr wrap="square" lIns="9000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82550" marR="0" lvl="0" indent="-82550" defTabSz="914360" eaLnBrk="1" fontAlgn="base" latinLnBrk="0" hangingPunct="1">
              <a:lnSpc>
                <a:spcPts val="1200"/>
              </a:lnSpc>
              <a:spcBef>
                <a:spcPts val="0"/>
              </a:spcBef>
              <a:spcAft>
                <a:spcPct val="0"/>
              </a:spcAft>
              <a:buClr>
                <a:sysClr val="windowText" lastClr="0000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200" b="0" i="0" u="none" strike="noStrike" kern="0" cap="none" spc="-10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신규</a:t>
            </a:r>
            <a:r>
              <a:rPr kumimoji="0" lang="en-US" altLang="ko-KR" sz="1200" b="0" i="0" u="none" strike="noStrike" kern="0" cap="none" spc="-10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POC</a:t>
            </a:r>
          </a:p>
          <a:p>
            <a:pPr marL="82550" marR="0" lvl="0" indent="-82550" defTabSz="914360" eaLnBrk="1" fontAlgn="base" latinLnBrk="0" hangingPunct="1">
              <a:lnSpc>
                <a:spcPts val="1200"/>
              </a:lnSpc>
              <a:spcBef>
                <a:spcPts val="0"/>
              </a:spcBef>
              <a:spcAft>
                <a:spcPct val="0"/>
              </a:spcAft>
              <a:buClr>
                <a:sysClr val="windowText" lastClr="0000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200" b="0" i="0" u="none" strike="noStrike" kern="0" cap="none" spc="-10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전향</a:t>
            </a:r>
            <a:r>
              <a:rPr kumimoji="0" lang="en-US" altLang="ko-KR" sz="1200" b="0" i="0" u="none" strike="noStrike" kern="0" cap="none" spc="-10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POC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7091663" y="5447277"/>
            <a:ext cx="813665" cy="307777"/>
          </a:xfrm>
          <a:prstGeom prst="rect">
            <a:avLst/>
          </a:prstGeom>
          <a:noFill/>
        </p:spPr>
        <p:txBody>
          <a:bodyPr wrap="square" lIns="9000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82550" marR="0" lvl="0" indent="-82550" defTabSz="914360" eaLnBrk="1" fontAlgn="base" latinLnBrk="0" hangingPunct="1">
              <a:lnSpc>
                <a:spcPts val="1200"/>
              </a:lnSpc>
              <a:spcBef>
                <a:spcPts val="0"/>
              </a:spcBef>
              <a:spcAft>
                <a:spcPct val="0"/>
              </a:spcAft>
              <a:buClr>
                <a:sysClr val="windowText" lastClr="0000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200" b="0" i="0" u="none" strike="noStrike" kern="0" cap="none" spc="-10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사입률</a:t>
            </a:r>
            <a:endParaRPr kumimoji="0" lang="en-US" altLang="ko-KR" sz="1200" b="0" i="0" u="none" strike="noStrike" kern="0" cap="none" spc="-10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</a:endParaRPr>
          </a:p>
          <a:p>
            <a:pPr marL="82550" marR="0" lvl="0" indent="-82550" defTabSz="914360" eaLnBrk="1" fontAlgn="base" latinLnBrk="0" hangingPunct="1">
              <a:lnSpc>
                <a:spcPts val="1200"/>
              </a:lnSpc>
              <a:spcBef>
                <a:spcPts val="0"/>
              </a:spcBef>
              <a:spcAft>
                <a:spcPct val="0"/>
              </a:spcAft>
              <a:buClr>
                <a:sysClr val="windowText" lastClr="0000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200" b="0" i="0" u="none" strike="noStrike" kern="0" cap="none" spc="-10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진열수</a:t>
            </a:r>
            <a:endParaRPr kumimoji="0" lang="en-US" altLang="ko-KR" sz="1200" b="0" i="0" u="none" strike="noStrike" kern="0" cap="none" spc="-10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7975041" y="4742388"/>
            <a:ext cx="1083995" cy="307777"/>
          </a:xfrm>
          <a:prstGeom prst="rect">
            <a:avLst/>
          </a:prstGeom>
          <a:noFill/>
        </p:spPr>
        <p:txBody>
          <a:bodyPr wrap="square" lIns="9000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82550" marR="0" lvl="0" indent="-82550" defTabSz="914360" eaLnBrk="1" fontAlgn="base" latinLnBrk="0" hangingPunct="1">
              <a:lnSpc>
                <a:spcPts val="1200"/>
              </a:lnSpc>
              <a:spcBef>
                <a:spcPts val="0"/>
              </a:spcBef>
              <a:spcAft>
                <a:spcPct val="0"/>
              </a:spcAft>
              <a:buClr>
                <a:sysClr val="windowText" lastClr="0000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200" b="0" i="0" u="none" strike="noStrike" kern="0" cap="none" spc="-10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사입률</a:t>
            </a:r>
            <a:endParaRPr kumimoji="0" lang="en-US" altLang="ko-KR" sz="1200" b="0" i="0" u="none" strike="noStrike" kern="0" cap="none" spc="-10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</a:endParaRPr>
          </a:p>
          <a:p>
            <a:pPr marL="82550" marR="0" lvl="0" indent="-82550" defTabSz="914360" eaLnBrk="1" fontAlgn="base" latinLnBrk="0" hangingPunct="1">
              <a:lnSpc>
                <a:spcPts val="1200"/>
              </a:lnSpc>
              <a:spcBef>
                <a:spcPts val="0"/>
              </a:spcBef>
              <a:spcAft>
                <a:spcPct val="0"/>
              </a:spcAft>
              <a:buClr>
                <a:sysClr val="windowText" lastClr="0000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200" b="0" i="0" u="none" strike="noStrike" kern="0" cap="none" spc="-10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진열수</a:t>
            </a:r>
            <a:endParaRPr kumimoji="0" lang="en-US" altLang="ko-KR" sz="1200" b="0" i="0" u="none" strike="noStrike" kern="0" cap="none" spc="-10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</a:endParaRPr>
          </a:p>
        </p:txBody>
      </p:sp>
      <p:sp>
        <p:nvSpPr>
          <p:cNvPr id="86" name="Freeform 6"/>
          <p:cNvSpPr>
            <a:spLocks/>
          </p:cNvSpPr>
          <p:nvPr>
            <p:custDataLst>
              <p:tags r:id="rId10"/>
            </p:custDataLst>
          </p:nvPr>
        </p:nvSpPr>
        <p:spPr bwMode="blackWhite">
          <a:xfrm>
            <a:off x="4940893" y="5134477"/>
            <a:ext cx="693620" cy="298752"/>
          </a:xfrm>
          <a:prstGeom prst="roundRect">
            <a:avLst/>
          </a:prstGeom>
          <a:pattFill prst="ltUpDiag">
            <a:fgClr>
              <a:srgbClr val="FFED9F"/>
            </a:fgClr>
            <a:bgClr>
              <a:srgbClr val="FFFFFF"/>
            </a:bgClr>
          </a:pattFill>
          <a:ln w="15875" algn="ctr">
            <a:solidFill>
              <a:srgbClr val="CC000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895311">
              <a:lnSpc>
                <a:spcPct val="110000"/>
              </a:lnSpc>
              <a:buSzPct val="120000"/>
              <a:defRPr/>
            </a:pPr>
            <a:endParaRPr lang="ko-KR" altLang="en-US" u="none" dirty="0" smtClean="0">
              <a:latin typeface="맑은 고딕" pitchFamily="50" charset="-127"/>
            </a:endParaRPr>
          </a:p>
        </p:txBody>
      </p:sp>
      <p:sp>
        <p:nvSpPr>
          <p:cNvPr id="87" name="Freeform 6"/>
          <p:cNvSpPr>
            <a:spLocks/>
          </p:cNvSpPr>
          <p:nvPr>
            <p:custDataLst>
              <p:tags r:id="rId11"/>
            </p:custDataLst>
          </p:nvPr>
        </p:nvSpPr>
        <p:spPr bwMode="blackWhite">
          <a:xfrm>
            <a:off x="5986652" y="5134477"/>
            <a:ext cx="693620" cy="298752"/>
          </a:xfrm>
          <a:prstGeom prst="roundRect">
            <a:avLst/>
          </a:prstGeom>
          <a:pattFill prst="ltUpDiag">
            <a:fgClr>
              <a:srgbClr val="FFED9F"/>
            </a:fgClr>
            <a:bgClr>
              <a:srgbClr val="FFFFFF"/>
            </a:bgClr>
          </a:pattFill>
          <a:ln w="15875" algn="ctr">
            <a:solidFill>
              <a:srgbClr val="CC000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895311" eaLnBrk="1" latinLnBrk="0" hangingPunct="1">
              <a:lnSpc>
                <a:spcPct val="110000"/>
              </a:lnSpc>
              <a:buClrTx/>
              <a:buSzPct val="120000"/>
              <a:buFontTx/>
              <a:buNone/>
              <a:tabLst/>
              <a:defRPr/>
            </a:pPr>
            <a:endParaRPr lang="ko-KR" altLang="en-US" u="none" dirty="0" smtClean="0">
              <a:latin typeface="맑은 고딕" pitchFamily="50" charset="-127"/>
            </a:endParaRPr>
          </a:p>
        </p:txBody>
      </p:sp>
      <p:sp>
        <p:nvSpPr>
          <p:cNvPr id="88" name="Freeform 6"/>
          <p:cNvSpPr>
            <a:spLocks/>
          </p:cNvSpPr>
          <p:nvPr>
            <p:custDataLst>
              <p:tags r:id="rId12"/>
            </p:custDataLst>
          </p:nvPr>
        </p:nvSpPr>
        <p:spPr bwMode="blackWhite">
          <a:xfrm>
            <a:off x="7067692" y="5134477"/>
            <a:ext cx="693620" cy="298752"/>
          </a:xfrm>
          <a:prstGeom prst="roundRect">
            <a:avLst/>
          </a:prstGeom>
          <a:pattFill prst="ltUpDiag">
            <a:fgClr>
              <a:srgbClr val="FFED9F"/>
            </a:fgClr>
            <a:bgClr>
              <a:srgbClr val="FFFFFF"/>
            </a:bgClr>
          </a:pattFill>
          <a:ln w="15875" algn="ctr">
            <a:solidFill>
              <a:srgbClr val="CC000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895311" eaLnBrk="1" latinLnBrk="0" hangingPunct="1">
              <a:lnSpc>
                <a:spcPct val="110000"/>
              </a:lnSpc>
              <a:buClrTx/>
              <a:buSzPct val="120000"/>
              <a:buFontTx/>
              <a:buNone/>
              <a:tabLst/>
              <a:defRPr/>
            </a:pPr>
            <a:endParaRPr lang="ko-KR" altLang="en-US" u="none" dirty="0" smtClean="0">
              <a:latin typeface="맑은 고딕" pitchFamily="50" charset="-127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3703451" y="4447781"/>
            <a:ext cx="5653929" cy="215444"/>
          </a:xfrm>
          <a:prstGeom prst="rect">
            <a:avLst/>
          </a:prstGeom>
          <a:noFill/>
        </p:spPr>
        <p:txBody>
          <a:bodyPr wrap="square" lIns="9000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0" marR="0" lvl="0" indent="0" defTabSz="914360" eaLnBrk="1" fontAlgn="base" latinLnBrk="0" hangingPunct="1">
              <a:lnSpc>
                <a:spcPct val="100000"/>
              </a:lnSpc>
              <a:spcBef>
                <a:spcPts val="2800"/>
              </a:spcBef>
              <a:spcAft>
                <a:spcPct val="0"/>
              </a:spcAft>
              <a:buClr>
                <a:sysClr val="windowText" lastClr="000000"/>
              </a:buClr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A50021"/>
                </a:solidFill>
                <a:effectLst/>
                <a:uLnTx/>
                <a:uFillTx/>
                <a:latin typeface="맑은 고딕" pitchFamily="50" charset="-127"/>
              </a:rPr>
              <a:t>OFF </a:t>
            </a:r>
            <a:r>
              <a: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A50021"/>
                </a:solidFill>
                <a:effectLst/>
                <a:uLnTx/>
                <a:uFillTx/>
                <a:latin typeface="맑은 고딕" pitchFamily="50" charset="-127"/>
              </a:rPr>
              <a:t>변수  </a:t>
            </a:r>
            <a:r>
              <a:rPr kumimoji="0" lang="en-US" altLang="ko-KR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=    </a:t>
            </a:r>
            <a:r>
              <a:rPr kumimoji="0" lang="en-US" altLang="ko-KR" sz="1400" b="1" i="0" u="none" strike="noStrike" kern="0" cap="none" spc="-10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Hyper     +     CLSM      +      CVS       +      </a:t>
            </a:r>
            <a:r>
              <a:rPr kumimoji="0" lang="en-US" altLang="ko-KR" sz="1400" b="1" i="0" u="none" strike="noStrike" kern="0" cap="none" spc="-10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Trad</a:t>
            </a:r>
            <a:r>
              <a:rPr kumimoji="0" lang="en-US" altLang="ko-KR" sz="1400" b="1" i="0" u="none" strike="noStrike" kern="0" cap="none" spc="-10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     + …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3700102" y="5179344"/>
            <a:ext cx="5310608" cy="215444"/>
          </a:xfrm>
          <a:prstGeom prst="rect">
            <a:avLst/>
          </a:prstGeom>
          <a:noFill/>
        </p:spPr>
        <p:txBody>
          <a:bodyPr wrap="square" lIns="9000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0" marR="0" lvl="0" indent="0" defTabSz="914360" eaLnBrk="1" fontAlgn="base" latinLnBrk="0" hangingPunct="1">
              <a:lnSpc>
                <a:spcPct val="100000"/>
              </a:lnSpc>
              <a:spcBef>
                <a:spcPts val="2400"/>
              </a:spcBef>
              <a:spcAft>
                <a:spcPct val="0"/>
              </a:spcAft>
              <a:buClr>
                <a:sysClr val="windowText" lastClr="000000"/>
              </a:buClr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A50021"/>
                </a:solidFill>
                <a:effectLst/>
                <a:uLnTx/>
                <a:uFillTx/>
                <a:latin typeface="맑은 고딕" pitchFamily="50" charset="-127"/>
              </a:rPr>
              <a:t>ON </a:t>
            </a:r>
            <a:r>
              <a:rPr kumimoji="0" lang="ko-KR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A50021"/>
                </a:solidFill>
                <a:effectLst/>
                <a:uLnTx/>
                <a:uFillTx/>
                <a:latin typeface="맑은 고딕" pitchFamily="50" charset="-127"/>
              </a:rPr>
              <a:t>변수   </a:t>
            </a:r>
            <a:r>
              <a:rPr kumimoji="0" lang="en-US" altLang="ko-KR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=    </a:t>
            </a:r>
            <a:r>
              <a:rPr kumimoji="0" lang="en-US" altLang="ko-KR" sz="1400" b="1" i="0" u="none" strike="noStrike" kern="0" cap="none" spc="-10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Draft      +       BNO      +       KR</a:t>
            </a:r>
            <a:endParaRPr kumimoji="0" lang="en-US" altLang="ko-KR" sz="14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맑은 고딕" pitchFamily="50" charset="-127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3674020" y="2905768"/>
            <a:ext cx="5832900" cy="230832"/>
          </a:xfrm>
          <a:prstGeom prst="rect">
            <a:avLst/>
          </a:prstGeom>
          <a:noFill/>
        </p:spPr>
        <p:txBody>
          <a:bodyPr wrap="square" lIns="9000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0" marR="0" lvl="0" indent="0" defTabSz="91436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ysClr val="windowText" lastClr="000000"/>
              </a:buClr>
              <a:buSzTx/>
              <a:buFontTx/>
              <a:buNone/>
              <a:tabLst/>
              <a:defRPr/>
            </a:pPr>
            <a:r>
              <a:rPr kumimoji="0" lang="en-US" altLang="ko-KR" sz="1500" b="1" i="1" u="none" strike="noStrike" kern="0" cap="none" spc="-10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         =    ( </a:t>
            </a:r>
            <a:r>
              <a:rPr kumimoji="0" lang="ko-KR" altLang="en-US" sz="1500" b="1" i="1" u="none" strike="noStrike" kern="0" cap="none" spc="-10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날씨 </a:t>
            </a:r>
            <a:r>
              <a:rPr kumimoji="0" lang="en-US" altLang="ko-KR" sz="1500" b="1" i="1" u="none" strike="noStrike" kern="0" cap="none" spc="-10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+ Event + Trend + </a:t>
            </a:r>
            <a:r>
              <a:rPr kumimoji="0" lang="ko-KR" altLang="en-US" sz="1500" b="1" i="1" u="none" strike="noStrike" kern="0" cap="none" spc="-10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마케팅지표 </a:t>
            </a:r>
            <a:r>
              <a:rPr kumimoji="0" lang="en-US" altLang="ko-KR" sz="1500" b="1" i="1" u="none" strike="noStrike" kern="0" cap="none" spc="-10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+ </a:t>
            </a:r>
            <a:r>
              <a:rPr kumimoji="0" lang="ko-KR" altLang="en-US" sz="1500" b="1" i="1" u="none" strike="noStrike" kern="0" cap="none" spc="-10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브랜드지표 </a:t>
            </a:r>
            <a:r>
              <a:rPr kumimoji="0" lang="en-US" altLang="ko-KR" sz="1500" b="1" i="1" u="none" strike="noStrike" kern="0" cap="none" spc="-10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+ … 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3674020" y="3558503"/>
            <a:ext cx="5832900" cy="230832"/>
          </a:xfrm>
          <a:prstGeom prst="rect">
            <a:avLst/>
          </a:prstGeom>
          <a:noFill/>
        </p:spPr>
        <p:txBody>
          <a:bodyPr wrap="square" lIns="9000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0" marR="0" lvl="0" indent="0" defTabSz="91436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ysClr val="windowText" lastClr="000000"/>
              </a:buClr>
              <a:buSzTx/>
              <a:buFontTx/>
              <a:buNone/>
              <a:tabLst/>
              <a:defRPr/>
            </a:pPr>
            <a:r>
              <a:rPr kumimoji="0" lang="en-US" altLang="ko-KR" sz="1500" b="1" i="1" u="none" strike="noStrike" kern="0" cap="none" spc="-10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         +  OFF</a:t>
            </a:r>
            <a:r>
              <a:rPr kumimoji="0" lang="ko-KR" altLang="en-US" sz="1500" b="1" i="1" u="none" strike="noStrike" kern="0" cap="none" spc="-10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 </a:t>
            </a:r>
            <a:r>
              <a:rPr kumimoji="0" lang="en-US" altLang="ko-KR" sz="1500" b="1" i="1" u="none" strike="noStrike" kern="0" cap="none" spc="-10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+ ON + </a:t>
            </a:r>
            <a:r>
              <a:rPr kumimoji="0" lang="ko-KR" altLang="en-US" sz="1500" b="1" i="1" u="none" strike="noStrike" kern="0" cap="none" spc="-10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권역 </a:t>
            </a:r>
            <a:r>
              <a:rPr kumimoji="0" lang="en-US" altLang="ko-KR" sz="1500" b="1" i="1" u="none" strike="noStrike" kern="0" cap="none" spc="-10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</a:rPr>
              <a:t>+ … )</a:t>
            </a:r>
          </a:p>
        </p:txBody>
      </p:sp>
      <p:sp>
        <p:nvSpPr>
          <p:cNvPr id="94" name="Oval 33"/>
          <p:cNvSpPr>
            <a:spLocks noChangeArrowheads="1"/>
          </p:cNvSpPr>
          <p:nvPr/>
        </p:nvSpPr>
        <p:spPr bwMode="auto">
          <a:xfrm>
            <a:off x="6357472" y="3139836"/>
            <a:ext cx="349008" cy="335549"/>
          </a:xfrm>
          <a:prstGeom prst="ellipse">
            <a:avLst/>
          </a:prstGeom>
          <a:solidFill>
            <a:sysClr val="windowText" lastClr="000000">
              <a:lumMod val="75000"/>
              <a:lumOff val="25000"/>
            </a:sysClr>
          </a:solidFill>
          <a:ln w="9525" algn="ctr">
            <a:solidFill>
              <a:sysClr val="window" lastClr="FFFFFF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Pct val="110000"/>
              <a:buFontTx/>
              <a:buNone/>
              <a:tabLst/>
              <a:defRPr/>
            </a:pPr>
            <a:r>
              <a:rPr kumimoji="0" lang="en-US" altLang="ko-KR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</a:rPr>
              <a:t>+</a:t>
            </a:r>
            <a:endParaRPr kumimoji="0" lang="en-US" altLang="ko-KR" sz="2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itchFamily="50" charset="-127"/>
            </a:endParaRPr>
          </a:p>
        </p:txBody>
      </p:sp>
      <p:sp>
        <p:nvSpPr>
          <p:cNvPr id="95" name="직사각형 94"/>
          <p:cNvSpPr/>
          <p:nvPr/>
        </p:nvSpPr>
        <p:spPr>
          <a:xfrm>
            <a:off x="3657504" y="5904568"/>
            <a:ext cx="5832000" cy="500131"/>
          </a:xfrm>
          <a:prstGeom prst="rect">
            <a:avLst/>
          </a:prstGeom>
        </p:spPr>
        <p:txBody>
          <a:bodyPr wrap="square" lIns="91433" tIns="45717" rIns="91433" bIns="45717">
            <a:spAutoFit/>
          </a:bodyPr>
          <a:lstStyle/>
          <a:p>
            <a:pPr marL="177792" indent="-177792" latinLnBrk="0">
              <a:spcBef>
                <a:spcPts val="300"/>
              </a:spcBef>
              <a:buFont typeface="Wingdings" pitchFamily="2" charset="2"/>
              <a:buChar char="§"/>
            </a:pPr>
            <a:r>
              <a:rPr lang="en-US" altLang="ko-KR" sz="1200" b="0" u="none" dirty="0" smtClean="0">
                <a:latin typeface="맑은 고딕" pitchFamily="50" charset="-127"/>
              </a:rPr>
              <a:t>Top-Down Approach</a:t>
            </a:r>
            <a:r>
              <a:rPr lang="ko-KR" altLang="en-US" sz="1200" b="0" u="none" dirty="0" smtClean="0">
                <a:latin typeface="맑은 고딕" pitchFamily="50" charset="-127"/>
              </a:rPr>
              <a:t> </a:t>
            </a:r>
            <a:r>
              <a:rPr lang="en-US" altLang="ko-KR" sz="1200" b="0" u="none" dirty="0" smtClean="0">
                <a:latin typeface="맑은 고딕" pitchFamily="50" charset="-127"/>
              </a:rPr>
              <a:t>: </a:t>
            </a:r>
            <a:r>
              <a:rPr lang="ko-KR" altLang="en-US" sz="1200" b="0" u="none" dirty="0" smtClean="0">
                <a:latin typeface="맑은 고딕" pitchFamily="50" charset="-127"/>
              </a:rPr>
              <a:t>회사 전체 판매량 레벨로 모형을 생성</a:t>
            </a:r>
            <a:endParaRPr lang="en-US" altLang="ko-KR" sz="1200" b="0" u="none" dirty="0" smtClean="0">
              <a:latin typeface="맑은 고딕" pitchFamily="50" charset="-127"/>
            </a:endParaRPr>
          </a:p>
          <a:p>
            <a:pPr marL="177792" indent="-177792" latinLnBrk="0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200" b="0" u="none" dirty="0" smtClean="0">
                <a:latin typeface="맑은 고딕" pitchFamily="50" charset="-127"/>
              </a:rPr>
              <a:t>상세변수 </a:t>
            </a:r>
            <a:r>
              <a:rPr lang="en-US" altLang="ko-KR" sz="1200" b="0" u="none" dirty="0" smtClean="0">
                <a:latin typeface="맑은 고딕" pitchFamily="50" charset="-127"/>
              </a:rPr>
              <a:t>: </a:t>
            </a:r>
            <a:r>
              <a:rPr lang="ko-KR" altLang="en-US" sz="1200" b="0" u="none" dirty="0" smtClean="0">
                <a:latin typeface="맑은 고딕" pitchFamily="50" charset="-127"/>
              </a:rPr>
              <a:t>예측 판매량 레벨 아래로 정의한 변수</a:t>
            </a:r>
            <a:r>
              <a:rPr lang="en-US" altLang="ko-KR" sz="1200" b="0" u="none" dirty="0" smtClean="0">
                <a:latin typeface="맑은 고딕" pitchFamily="50" charset="-127"/>
              </a:rPr>
              <a:t>(</a:t>
            </a:r>
            <a:r>
              <a:rPr lang="ko-KR" altLang="en-US" sz="1200" b="0" u="none" dirty="0" smtClean="0">
                <a:latin typeface="맑은 고딕" pitchFamily="50" charset="-127"/>
              </a:rPr>
              <a:t>예</a:t>
            </a:r>
            <a:r>
              <a:rPr lang="en-US" altLang="ko-KR" sz="1200" b="0" u="none" dirty="0" smtClean="0">
                <a:latin typeface="맑은 고딕" pitchFamily="50" charset="-127"/>
              </a:rPr>
              <a:t>: KR </a:t>
            </a:r>
            <a:r>
              <a:rPr lang="ko-KR" altLang="en-US" sz="1200" b="0" u="none" dirty="0" err="1" smtClean="0">
                <a:latin typeface="맑은 고딕" pitchFamily="50" charset="-127"/>
              </a:rPr>
              <a:t>진열수</a:t>
            </a:r>
            <a:r>
              <a:rPr lang="en-US" altLang="ko-KR" sz="1200" b="0" u="none" dirty="0" smtClean="0">
                <a:latin typeface="맑은 고딕" pitchFamily="50" charset="-127"/>
              </a:rPr>
              <a:t>, </a:t>
            </a:r>
            <a:r>
              <a:rPr lang="ko-KR" altLang="en-US" sz="1200" b="0" u="none" dirty="0" smtClean="0">
                <a:latin typeface="맑은 고딕" pitchFamily="50" charset="-127"/>
              </a:rPr>
              <a:t>일별 변수 사용</a:t>
            </a:r>
            <a:r>
              <a:rPr lang="en-US" altLang="ko-KR" sz="1200" b="0" u="none" dirty="0" smtClean="0">
                <a:latin typeface="맑은 고딕" pitchFamily="50" charset="-127"/>
              </a:rPr>
              <a:t>)</a:t>
            </a:r>
          </a:p>
        </p:txBody>
      </p:sp>
      <p:sp>
        <p:nvSpPr>
          <p:cNvPr id="96" name="제목 1"/>
          <p:cNvSpPr>
            <a:spLocks noGrp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dirty="0" smtClean="0">
                <a:latin typeface="맑은 고딕" pitchFamily="50" charset="-127"/>
              </a:rPr>
              <a:t>모형 </a:t>
            </a:r>
            <a:r>
              <a:rPr lang="ko-KR" altLang="en-US" dirty="0">
                <a:latin typeface="맑은 고딕" pitchFamily="50" charset="-127"/>
              </a:rPr>
              <a:t>구축방안 </a:t>
            </a:r>
            <a:r>
              <a:rPr lang="en-US" altLang="ko-KR" dirty="0">
                <a:latin typeface="맑은 고딕" pitchFamily="50" charset="-127"/>
              </a:rPr>
              <a:t>– </a:t>
            </a:r>
            <a:r>
              <a:rPr lang="ko-KR" altLang="en-US" dirty="0" smtClean="0">
                <a:latin typeface="맑은 고딕" pitchFamily="50" charset="-127"/>
              </a:rPr>
              <a:t>회귀 </a:t>
            </a:r>
            <a:r>
              <a:rPr lang="ko-KR" altLang="en-US" dirty="0">
                <a:latin typeface="맑은 고딕" pitchFamily="50" charset="-127"/>
              </a:rPr>
              <a:t>분석 </a:t>
            </a:r>
            <a:r>
              <a:rPr lang="ko-KR" altLang="en-US" dirty="0" smtClean="0">
                <a:latin typeface="맑은 고딕" pitchFamily="50" charset="-127"/>
              </a:rPr>
              <a:t>모델링</a:t>
            </a:r>
          </a:p>
        </p:txBody>
      </p:sp>
      <p:sp>
        <p:nvSpPr>
          <p:cNvPr id="97" name="Rectangle 3"/>
          <p:cNvSpPr txBox="1">
            <a:spLocks noChangeArrowheads="1"/>
          </p:cNvSpPr>
          <p:nvPr/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 defTabSz="957240">
              <a:defRPr/>
            </a:pPr>
            <a:r>
              <a:rPr kumimoji="1" lang="en-US" altLang="ko-KR" sz="1600" u="none" dirty="0" smtClean="0">
                <a:latin typeface="맑은 고딕" pitchFamily="50" charset="-127"/>
                <a:cs typeface="Meiryo UI" pitchFamily="34" charset="-128"/>
              </a:rPr>
              <a:t>Top-Down Approach</a:t>
            </a:r>
            <a:r>
              <a:rPr kumimoji="1" lang="ko-KR" altLang="en-US" sz="1600" u="none" dirty="0" smtClean="0">
                <a:latin typeface="맑은 고딕" pitchFamily="50" charset="-127"/>
                <a:cs typeface="Meiryo UI" pitchFamily="34" charset="-128"/>
              </a:rPr>
              <a:t>를 적용하고</a:t>
            </a:r>
            <a:r>
              <a:rPr kumimoji="1" lang="en-US" altLang="ko-KR" sz="1600" u="none" dirty="0" smtClean="0">
                <a:latin typeface="맑은 고딕" pitchFamily="50" charset="-127"/>
                <a:cs typeface="Meiryo UI" pitchFamily="34" charset="-128"/>
              </a:rPr>
              <a:t> </a:t>
            </a:r>
            <a:r>
              <a:rPr kumimoji="1" lang="ko-KR" altLang="en-US" sz="1600" u="none" dirty="0" smtClean="0">
                <a:latin typeface="맑은 고딕" pitchFamily="50" charset="-127"/>
                <a:cs typeface="Meiryo UI" pitchFamily="34" charset="-128"/>
              </a:rPr>
              <a:t>모형 특성을 고려하여 유의미하고 설명력이 높은 변수들을 선별하고</a:t>
            </a:r>
            <a:r>
              <a:rPr kumimoji="1" lang="en-US" altLang="ko-KR" sz="1600" u="none" dirty="0" smtClean="0">
                <a:latin typeface="맑은 고딕" pitchFamily="50" charset="-127"/>
                <a:cs typeface="Meiryo UI" pitchFamily="34" charset="-128"/>
              </a:rPr>
              <a:t>, </a:t>
            </a:r>
            <a:r>
              <a:rPr kumimoji="1" lang="ko-KR" altLang="en-US" sz="1600" u="none" dirty="0" smtClean="0">
                <a:latin typeface="맑은 고딕" pitchFamily="50" charset="-127"/>
                <a:cs typeface="Meiryo UI" pitchFamily="34" charset="-128"/>
              </a:rPr>
              <a:t>예측 정확도를 높이도록 상세 변수를 반복적으로 투입하면서 모델링을 수행함</a:t>
            </a:r>
            <a:endParaRPr kumimoji="1" lang="ko-KR" altLang="en-US" sz="1600" u="none" dirty="0">
              <a:latin typeface="맑은 고딕" pitchFamily="50" charset="-127"/>
              <a:cs typeface="Meiryo UI" pitchFamily="34" charset="-128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/>
          <p:cNvSpPr>
            <a:spLocks noChangeArrowheads="1"/>
          </p:cNvSpPr>
          <p:nvPr/>
        </p:nvSpPr>
        <p:spPr bwMode="auto">
          <a:xfrm>
            <a:off x="588008" y="2162147"/>
            <a:ext cx="4308376" cy="3571110"/>
          </a:xfrm>
          <a:prstGeom prst="rect">
            <a:avLst/>
          </a:prstGeom>
          <a:solidFill>
            <a:sysClr val="window" lastClr="FFFFFF"/>
          </a:solidFill>
          <a:ln w="9525" algn="ctr">
            <a:solidFill>
              <a:sysClr val="windowText" lastClr="000000"/>
            </a:solidFill>
            <a:round/>
            <a:headEnd/>
            <a:tailEnd/>
          </a:ln>
          <a:effectLst>
            <a:outerShdw dist="35921" dir="2700000" algn="ctr" rotWithShape="0">
              <a:sysClr val="windowText" lastClr="000000"/>
            </a:outerShdw>
          </a:effectLst>
        </p:spPr>
        <p:txBody>
          <a:bodyPr tIns="190800" anchorCtr="1"/>
          <a:lstStyle/>
          <a:p>
            <a:pPr marL="180975" indent="-180975" defTabSz="762000" fontAlgn="auto">
              <a:spcBef>
                <a:spcPct val="500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endParaRPr kumimoji="1" lang="ko-KR" altLang="en-US" sz="1200" b="0" u="none" kern="0" dirty="0" smtClean="0">
              <a:solidFill>
                <a:prstClr val="black"/>
              </a:solidFill>
              <a:latin typeface="산돌고딕 L" pitchFamily="18" charset="-127"/>
              <a:ea typeface="산돌고딕 L" pitchFamily="18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88008" y="2836120"/>
            <a:ext cx="4073554" cy="3113160"/>
          </a:xfrm>
          <a:prstGeom prst="rect">
            <a:avLst/>
          </a:prstGeom>
          <a:noFill/>
        </p:spPr>
        <p:txBody>
          <a:bodyPr wrap="square" lIns="90000" tIns="0" rIns="0" bIns="0" rtlCol="0" anchor="t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177800" indent="-177800" defTabSz="957644" fontAlgn="auto">
              <a:lnSpc>
                <a:spcPct val="110000"/>
              </a:lnSpc>
              <a:spcBef>
                <a:spcPts val="2000"/>
              </a:spcBef>
              <a:spcAft>
                <a:spcPts val="0"/>
              </a:spcAft>
              <a:buClr>
                <a:prstClr val="black"/>
              </a:buClr>
              <a:buFont typeface="Wingdings" pitchFamily="2" charset="2"/>
              <a:buChar char="l"/>
            </a:pP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Intervention 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모형</a:t>
            </a:r>
            <a:endParaRPr lang="en-US" altLang="ko-KR" b="0" u="none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49250" lvl="1" indent="-177800" defTabSz="957644" fontAlgn="auto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prstClr val="black"/>
              </a:buClr>
              <a:buFontTx/>
              <a:buChar char="–"/>
            </a:pP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기존에 없던 이벤트가 발생할 경우 새로운 변수를 추가하여 정확도를 높이는 방법</a:t>
            </a:r>
            <a:endParaRPr lang="en-US" altLang="ko-KR" b="0" u="none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49250" lvl="1" indent="-177800" defTabSz="957644" fontAlgn="auto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prstClr val="black"/>
              </a:buClr>
              <a:buFontTx/>
              <a:buChar char="–"/>
            </a:pP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Claim 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이후 예측정확도가 떨어진 모형에 대해서 변수를 추가 반영함</a:t>
            </a:r>
            <a:endParaRPr lang="en-US" altLang="ko-KR" b="0" u="none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49250" lvl="1" indent="-177800" defTabSz="957644" fontAlgn="auto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prstClr val="black"/>
              </a:buClr>
              <a:buFontTx/>
              <a:buChar char="–"/>
            </a:pPr>
            <a:endParaRPr lang="en-US" altLang="ko-KR" b="0" u="none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177800" indent="-177800" defTabSz="957644" fontAlgn="auto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prstClr val="black"/>
              </a:buClr>
              <a:buFont typeface="Wingdings" pitchFamily="2" charset="2"/>
              <a:buChar char="l"/>
            </a:pPr>
            <a:r>
              <a:rPr lang="en-US" altLang="ko-KR" b="0" u="none" dirty="0" smtClean="0">
                <a:solidFill>
                  <a:prstClr val="black"/>
                </a:solidFill>
                <a:latin typeface="맑은 고딕"/>
                <a:ea typeface="맑은 고딕"/>
              </a:rPr>
              <a:t>Claim </a:t>
            </a:r>
            <a:r>
              <a:rPr lang="ko-KR" altLang="en-US" b="0" u="none" dirty="0" smtClean="0">
                <a:solidFill>
                  <a:prstClr val="black"/>
                </a:solidFill>
                <a:latin typeface="맑은 고딕"/>
                <a:ea typeface="맑은 고딕"/>
              </a:rPr>
              <a:t>이슈</a:t>
            </a:r>
            <a:endParaRPr lang="en-US" altLang="ko-KR" b="0" u="none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49250" lvl="1" indent="-177800" defTabSz="957644" fontAlgn="auto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prstClr val="black"/>
              </a:buClr>
              <a:buFontTx/>
              <a:buChar char="–"/>
            </a:pP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Claim 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이슈가 발생한 </a:t>
            </a: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2014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년 </a:t>
            </a: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8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월</a:t>
            </a: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부터 변수 추가</a:t>
            </a:r>
            <a:endParaRPr lang="en-US" altLang="ko-KR" b="0" u="none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49250" lvl="1" indent="-177800" defTabSz="957644" fontAlgn="auto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prstClr val="black"/>
              </a:buClr>
              <a:buFontTx/>
              <a:buChar char="–"/>
            </a:pP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7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개 예측 모형에 적용 </a:t>
            </a: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: 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회사전체</a:t>
            </a: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, Cass, </a:t>
            </a:r>
            <a:r>
              <a:rPr lang="en-US" altLang="ko-KR" b="0" u="none" kern="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CassLight</a:t>
            </a: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브랜드</a:t>
            </a:r>
            <a:endParaRPr lang="en-US" altLang="ko-KR" b="0" u="none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49250" lvl="1" indent="-177800" defTabSz="957644" fontAlgn="auto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prstClr val="black"/>
              </a:buClr>
            </a:pPr>
            <a:endParaRPr lang="en-US" altLang="ko-KR" b="0" u="none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17" name="오각형 16"/>
          <p:cNvSpPr/>
          <p:nvPr/>
        </p:nvSpPr>
        <p:spPr>
          <a:xfrm rot="5400000">
            <a:off x="2395636" y="-453412"/>
            <a:ext cx="576000" cy="4308375"/>
          </a:xfrm>
          <a:prstGeom prst="homePlate">
            <a:avLst>
              <a:gd name="adj" fmla="val 0"/>
            </a:avLst>
          </a:prstGeom>
          <a:solidFill>
            <a:sysClr val="window" lastClr="FFFFFF">
              <a:lumMod val="95000"/>
            </a:sysClr>
          </a:solidFill>
          <a:ln w="9525">
            <a:solidFill>
              <a:sysClr val="windowText" lastClr="000000">
                <a:lumMod val="65000"/>
                <a:lumOff val="35000"/>
              </a:sysClr>
            </a:solidFill>
            <a:round/>
            <a:headEnd/>
            <a:tailEnd/>
          </a:ln>
          <a:effectLst>
            <a:outerShdw dist="35921" dir="2700000" algn="ctr" rotWithShape="0">
              <a:srgbClr val="000000"/>
            </a:outerShdw>
          </a:effectLst>
        </p:spPr>
        <p:txBody>
          <a:bodyPr wrap="none" anchor="ctr"/>
          <a:lstStyle/>
          <a:p>
            <a:pPr defTabSz="91436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10000"/>
              <a:defRPr/>
            </a:pPr>
            <a:endParaRPr lang="ko-KR" altLang="en-US" sz="1500" b="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sp>
        <p:nvSpPr>
          <p:cNvPr id="18" name="Rectangle 14"/>
          <p:cNvSpPr>
            <a:spLocks noChangeArrowheads="1"/>
          </p:cNvSpPr>
          <p:nvPr/>
        </p:nvSpPr>
        <p:spPr bwMode="auto">
          <a:xfrm>
            <a:off x="540378" y="1582590"/>
            <a:ext cx="4309069" cy="2645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44456" lvl="1" indent="-142869" algn="ctr" defTabSz="89531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en-US" altLang="ko-KR" sz="1600" b="0" u="none" kern="0" dirty="0" err="1" smtClean="0">
                <a:solidFill>
                  <a:sysClr val="windowText" lastClr="000000"/>
                </a:solidFill>
                <a:latin typeface="HY헤드라인M" pitchFamily="18" charset="-127"/>
                <a:ea typeface="HY헤드라인M" pitchFamily="18" charset="-127"/>
              </a:rPr>
              <a:t>Intervention</a:t>
            </a:r>
            <a:r>
              <a:rPr lang="en-US" altLang="ko-KR" sz="1600" b="0" u="none" kern="0" dirty="0" smtClean="0">
                <a:solidFill>
                  <a:sysClr val="windowText" lastClr="000000"/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600" b="0" u="none" kern="0" dirty="0" err="1" smtClean="0">
                <a:solidFill>
                  <a:sysClr val="windowText" lastClr="000000"/>
                </a:solidFill>
                <a:latin typeface="HY헤드라인M" pitchFamily="18" charset="-127"/>
                <a:ea typeface="HY헤드라인M" pitchFamily="18" charset="-127"/>
              </a:rPr>
              <a:t>모형</a:t>
            </a:r>
            <a:endParaRPr lang="en-US" altLang="ko-KR" sz="1600" b="0" u="none" kern="0" dirty="0" err="1" smtClean="0">
              <a:solidFill>
                <a:sysClr val="windowText" lastClr="000000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19" name="오각형 18"/>
          <p:cNvSpPr/>
          <p:nvPr/>
        </p:nvSpPr>
        <p:spPr>
          <a:xfrm rot="5400000">
            <a:off x="6996312" y="-459224"/>
            <a:ext cx="576000" cy="4320000"/>
          </a:xfrm>
          <a:prstGeom prst="homePlate">
            <a:avLst>
              <a:gd name="adj" fmla="val 0"/>
            </a:avLst>
          </a:prstGeom>
          <a:solidFill>
            <a:sysClr val="window" lastClr="FFFFFF">
              <a:lumMod val="95000"/>
            </a:sysClr>
          </a:solidFill>
          <a:ln w="9525">
            <a:solidFill>
              <a:sysClr val="windowText" lastClr="000000">
                <a:lumMod val="65000"/>
                <a:lumOff val="35000"/>
              </a:sysClr>
            </a:solidFill>
            <a:round/>
            <a:headEnd/>
            <a:tailEnd/>
          </a:ln>
          <a:effectLst>
            <a:outerShdw dist="35921" dir="2700000" algn="ctr" rotWithShape="0">
              <a:srgbClr val="000000"/>
            </a:outerShdw>
          </a:effectLst>
        </p:spPr>
        <p:txBody>
          <a:bodyPr wrap="none" anchor="ctr"/>
          <a:lstStyle/>
          <a:p>
            <a:pPr defTabSz="91436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10000"/>
              <a:defRPr/>
            </a:pPr>
            <a:endParaRPr lang="ko-KR" altLang="en-US" sz="1500" b="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sp>
        <p:nvSpPr>
          <p:cNvPr id="20" name="Rectangle 14"/>
          <p:cNvSpPr>
            <a:spLocks noChangeArrowheads="1"/>
          </p:cNvSpPr>
          <p:nvPr/>
        </p:nvSpPr>
        <p:spPr bwMode="auto">
          <a:xfrm>
            <a:off x="5124312" y="1582590"/>
            <a:ext cx="4320000" cy="256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44456" lvl="1" indent="-142869" algn="ctr" defTabSz="89531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ko-KR" altLang="en-US" sz="1600" b="0" u="none" kern="0" dirty="0" err="1" smtClean="0">
                <a:solidFill>
                  <a:sysClr val="windowText" lastClr="000000"/>
                </a:solidFill>
                <a:latin typeface="HY헤드라인M" pitchFamily="18" charset="-127"/>
                <a:ea typeface="HY헤드라인M" pitchFamily="18" charset="-127"/>
              </a:rPr>
              <a:t>잔차변동성모형</a:t>
            </a:r>
            <a:endParaRPr lang="en-US" altLang="ko-KR" sz="1600" b="0" u="none" kern="0" dirty="0" smtClean="0">
              <a:solidFill>
                <a:sysClr val="windowText" lastClr="000000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21" name="Rectangle 6"/>
          <p:cNvSpPr>
            <a:spLocks noChangeArrowheads="1"/>
          </p:cNvSpPr>
          <p:nvPr/>
        </p:nvSpPr>
        <p:spPr bwMode="auto">
          <a:xfrm>
            <a:off x="5124312" y="2162147"/>
            <a:ext cx="4320000" cy="3571109"/>
          </a:xfrm>
          <a:prstGeom prst="rect">
            <a:avLst/>
          </a:prstGeom>
          <a:solidFill>
            <a:sysClr val="window" lastClr="FFFFFF"/>
          </a:solidFill>
          <a:ln w="9525" algn="ctr">
            <a:solidFill>
              <a:sysClr val="windowText" lastClr="000000"/>
            </a:solidFill>
            <a:round/>
            <a:headEnd/>
            <a:tailEnd/>
          </a:ln>
          <a:effectLst>
            <a:outerShdw dist="35921" dir="2700000" algn="ctr" rotWithShape="0">
              <a:sysClr val="windowText" lastClr="000000"/>
            </a:outerShdw>
          </a:effectLst>
        </p:spPr>
        <p:txBody>
          <a:bodyPr tIns="190800" anchorCtr="1"/>
          <a:lstStyle/>
          <a:p>
            <a:pPr marL="180975" indent="-180975" defTabSz="762000" fontAlgn="auto">
              <a:spcBef>
                <a:spcPct val="500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endParaRPr kumimoji="1" lang="ko-KR" altLang="en-US" sz="1200" b="0" u="none" kern="0" dirty="0" smtClean="0">
              <a:solidFill>
                <a:prstClr val="black"/>
              </a:solidFill>
              <a:latin typeface="산돌고딕 L" pitchFamily="18" charset="-127"/>
              <a:ea typeface="산돌고딕 L" pitchFamily="18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199751" y="2852936"/>
            <a:ext cx="4179361" cy="2600712"/>
          </a:xfrm>
          <a:prstGeom prst="rect">
            <a:avLst/>
          </a:prstGeom>
          <a:noFill/>
        </p:spPr>
        <p:txBody>
          <a:bodyPr wrap="square" lIns="90000" tIns="0" rIns="0" bIns="0" rtlCol="0" anchor="t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177800" indent="-177800" defTabSz="957644">
              <a:lnSpc>
                <a:spcPct val="110000"/>
              </a:lnSpc>
              <a:spcBef>
                <a:spcPts val="300"/>
              </a:spcBef>
              <a:buClr>
                <a:prstClr val="black"/>
              </a:buClr>
              <a:buFont typeface="Wingdings" pitchFamily="2" charset="2"/>
              <a:buChar char="l"/>
            </a:pPr>
            <a:r>
              <a:rPr lang="ko-KR" altLang="en-US" b="0" u="none" kern="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잔차변동성모형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 방법</a:t>
            </a:r>
            <a:endParaRPr lang="en-US" altLang="ko-KR" b="0" u="none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49250" lvl="1" indent="-177800" defTabSz="957644">
              <a:lnSpc>
                <a:spcPct val="110000"/>
              </a:lnSpc>
              <a:spcBef>
                <a:spcPts val="300"/>
              </a:spcBef>
              <a:buClr>
                <a:prstClr val="black"/>
              </a:buClr>
              <a:buFontTx/>
              <a:buChar char="–"/>
            </a:pP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회귀분석 후 결과에 대한 사후 보정 방법 적용</a:t>
            </a:r>
            <a:endParaRPr lang="en-US" altLang="ko-KR" b="0" u="none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49250" lvl="1" indent="-177800" defTabSz="957644">
              <a:lnSpc>
                <a:spcPct val="110000"/>
              </a:lnSpc>
              <a:spcBef>
                <a:spcPts val="300"/>
              </a:spcBef>
              <a:buClr>
                <a:prstClr val="black"/>
              </a:buClr>
              <a:buFontTx/>
              <a:buChar char="–"/>
            </a:pP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기존에 정확도가 높은 모형에서 큰 변화가 생긴 모형에 적합</a:t>
            </a:r>
            <a:endParaRPr lang="en-US" altLang="ko-KR" b="0" u="none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49250" lvl="1" indent="-177800" defTabSz="957644">
              <a:lnSpc>
                <a:spcPct val="110000"/>
              </a:lnSpc>
              <a:spcBef>
                <a:spcPts val="300"/>
              </a:spcBef>
              <a:buClr>
                <a:prstClr val="black"/>
              </a:buClr>
              <a:buFontTx/>
              <a:buChar char="–"/>
            </a:pPr>
            <a:endParaRPr lang="en-US" altLang="ko-KR" b="0" u="none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177800" indent="-177800" defTabSz="957644">
              <a:lnSpc>
                <a:spcPct val="110000"/>
              </a:lnSpc>
              <a:spcBef>
                <a:spcPts val="300"/>
              </a:spcBef>
              <a:buClr>
                <a:prstClr val="black"/>
              </a:buClr>
              <a:buFont typeface="Wingdings" pitchFamily="2" charset="2"/>
              <a:buChar char="l"/>
            </a:pPr>
            <a:r>
              <a:rPr lang="ko-KR" altLang="en-US" b="0" u="none" kern="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잔차변동성모형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 적용</a:t>
            </a:r>
            <a:endParaRPr lang="en-US" altLang="ko-KR" b="0" u="none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49250" lvl="1" indent="-177800" defTabSz="957644">
              <a:lnSpc>
                <a:spcPct val="110000"/>
              </a:lnSpc>
              <a:spcBef>
                <a:spcPts val="300"/>
              </a:spcBef>
              <a:buClr>
                <a:prstClr val="black"/>
              </a:buClr>
              <a:buFontTx/>
              <a:buChar char="–"/>
            </a:pPr>
            <a:r>
              <a:rPr lang="el-GR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β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값을 구해서 예측 모형을 실제 판매량에 근사 시키는 방법 </a:t>
            </a:r>
            <a:endParaRPr lang="en-US" altLang="ko-KR" b="0" u="none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49250" lvl="1" indent="-177800" defTabSz="957644">
              <a:lnSpc>
                <a:spcPct val="110000"/>
              </a:lnSpc>
              <a:spcBef>
                <a:spcPts val="300"/>
              </a:spcBef>
              <a:buClr>
                <a:prstClr val="black"/>
              </a:buClr>
              <a:buFontTx/>
              <a:buChar char="–"/>
            </a:pP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최근 </a:t>
            </a: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5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주치의 </a:t>
            </a:r>
            <a:r>
              <a:rPr lang="ko-KR" altLang="en-US" b="0" u="none" kern="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예측값과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 실제 판매량 사이의 차이의 </a:t>
            </a:r>
            <a:r>
              <a:rPr lang="ko-KR" altLang="en-US" b="0" u="none" kern="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변동율을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 구해서 </a:t>
            </a:r>
            <a:r>
              <a:rPr lang="el-GR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β 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값에 반영</a:t>
            </a:r>
            <a:endParaRPr lang="en-US" altLang="ko-KR" b="0" u="none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26" name="Rectangle 2"/>
          <p:cNvSpPr>
            <a:spLocks noGrp="1" noChangeArrowheads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pPr lvl="3"/>
            <a:r>
              <a:rPr lang="ko-KR" altLang="en-US" dirty="0" smtClean="0">
                <a:latin typeface="맑은 고딕" pitchFamily="50" charset="-127"/>
              </a:rPr>
              <a:t>모형 구축방안</a:t>
            </a:r>
            <a:r>
              <a:rPr lang="en-US" altLang="ko-KR" dirty="0">
                <a:latin typeface="맑은 고딕" pitchFamily="50" charset="-127"/>
              </a:rPr>
              <a:t> </a:t>
            </a:r>
            <a:r>
              <a:rPr lang="en-US" altLang="ko-KR" dirty="0" smtClean="0">
                <a:latin typeface="맑은 고딕" pitchFamily="50" charset="-127"/>
              </a:rPr>
              <a:t>- </a:t>
            </a:r>
            <a:r>
              <a:rPr lang="en-US" altLang="ko-KR" dirty="0">
                <a:ln w="15875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</a:rPr>
              <a:t>Claim</a:t>
            </a:r>
            <a:r>
              <a:rPr lang="ko-KR" altLang="en-US" dirty="0">
                <a:ln w="15875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</a:rPr>
              <a:t> 이슈 후 모형 </a:t>
            </a:r>
            <a:r>
              <a:rPr lang="ko-KR" altLang="en-US" dirty="0" smtClean="0">
                <a:ln w="15875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</a:rPr>
              <a:t>보정</a:t>
            </a:r>
            <a:endParaRPr lang="en-US" altLang="ko-KR" dirty="0" smtClean="0">
              <a:latin typeface="맑은 고딕" pitchFamily="50" charset="-127"/>
            </a:endParaRPr>
          </a:p>
        </p:txBody>
      </p:sp>
      <p:sp>
        <p:nvSpPr>
          <p:cNvPr id="27" name="Rectangle 3"/>
          <p:cNvSpPr txBox="1">
            <a:spLocks noChangeArrowheads="1"/>
          </p:cNvSpPr>
          <p:nvPr/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 defTabSz="957240">
              <a:defRPr/>
            </a:pPr>
            <a:r>
              <a:rPr kumimoji="1" lang="en-US" altLang="ko-KR" sz="1600" u="none" dirty="0" smtClean="0">
                <a:solidFill>
                  <a:prstClr val="black"/>
                </a:solidFill>
                <a:latin typeface="맑은 고딕"/>
                <a:ea typeface="맑은 고딕"/>
                <a:cs typeface="Meiryo UI" pitchFamily="34" charset="-128"/>
              </a:rPr>
              <a:t>Claim</a:t>
            </a:r>
            <a:r>
              <a:rPr kumimoji="1" lang="ko-KR" altLang="en-US" sz="1600" u="none" dirty="0">
                <a:solidFill>
                  <a:prstClr val="black"/>
                </a:solidFill>
                <a:latin typeface="맑은 고딕"/>
                <a:ea typeface="맑은 고딕"/>
                <a:cs typeface="Meiryo UI" pitchFamily="34" charset="-128"/>
              </a:rPr>
              <a:t> </a:t>
            </a:r>
            <a:r>
              <a:rPr kumimoji="1" lang="ko-KR" altLang="en-US" sz="1600" u="none" dirty="0" smtClean="0">
                <a:solidFill>
                  <a:prstClr val="black"/>
                </a:solidFill>
                <a:latin typeface="맑은 고딕"/>
                <a:ea typeface="맑은 고딕"/>
                <a:cs typeface="Meiryo UI" pitchFamily="34" charset="-128"/>
              </a:rPr>
              <a:t>이슈에 대한 예측 모형 보정 및 단기 변동성 모형을 최근 </a:t>
            </a:r>
            <a:r>
              <a:rPr kumimoji="1" lang="en-US" altLang="ko-KR" sz="1600" u="none" dirty="0" smtClean="0">
                <a:solidFill>
                  <a:prstClr val="black"/>
                </a:solidFill>
                <a:latin typeface="맑은 고딕"/>
                <a:ea typeface="맑은 고딕"/>
                <a:cs typeface="Meiryo UI" pitchFamily="34" charset="-128"/>
              </a:rPr>
              <a:t>5</a:t>
            </a:r>
            <a:r>
              <a:rPr kumimoji="1" lang="ko-KR" altLang="en-US" sz="1600" u="none" dirty="0" smtClean="0">
                <a:solidFill>
                  <a:prstClr val="black"/>
                </a:solidFill>
                <a:latin typeface="맑은 고딕"/>
                <a:ea typeface="맑은 고딕"/>
                <a:cs typeface="Meiryo UI" pitchFamily="34" charset="-128"/>
              </a:rPr>
              <a:t>주 동안 사후 비교 방법을 적용해 좋은 모형을 선택</a:t>
            </a:r>
          </a:p>
        </p:txBody>
      </p:sp>
      <p:sp>
        <p:nvSpPr>
          <p:cNvPr id="31" name="실행 단추: 앞으로 또는 다음 30">
            <a:hlinkClick r:id="rId3" action="ppaction://hlinksldjump" highlightClick="1"/>
          </p:cNvPr>
          <p:cNvSpPr/>
          <p:nvPr/>
        </p:nvSpPr>
        <p:spPr bwMode="auto">
          <a:xfrm>
            <a:off x="9116074" y="2636912"/>
            <a:ext cx="231786" cy="234000"/>
          </a:xfrm>
          <a:prstGeom prst="actionButtonForwardNext">
            <a:avLst/>
          </a:prstGeom>
          <a:solidFill>
            <a:sysClr val="window" lastClr="FFFFFF"/>
          </a:solidFill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36000" rIns="90000" bIns="3600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ko-KR" altLang="en-US" sz="1300" b="0" u="none" kern="0" dirty="0" smtClean="0">
              <a:solidFill>
                <a:sysClr val="windowText" lastClr="000000"/>
              </a:solidFill>
              <a:latin typeface="맑은 고딕" pitchFamily="50" charset="-127"/>
            </a:endParaRPr>
          </a:p>
        </p:txBody>
      </p:sp>
      <p:graphicFrame>
        <p:nvGraphicFramePr>
          <p:cNvPr id="314370" name="Object 2"/>
          <p:cNvGraphicFramePr>
            <a:graphicFrameLocks noChangeAspect="1"/>
          </p:cNvGraphicFramePr>
          <p:nvPr/>
        </p:nvGraphicFramePr>
        <p:xfrm>
          <a:off x="6334735" y="2199868"/>
          <a:ext cx="2176462" cy="436989"/>
        </p:xfrm>
        <a:graphic>
          <a:graphicData uri="http://schemas.openxmlformats.org/presentationml/2006/ole">
            <p:oleObj spid="_x0000_s411775" name="수식" r:id="rId4" imgW="1117600" imgH="292100" progId="Equation.3">
              <p:embed/>
            </p:oleObj>
          </a:graphicData>
        </a:graphic>
      </p:graphicFrame>
      <p:graphicFrame>
        <p:nvGraphicFramePr>
          <p:cNvPr id="314371" name="Object 3"/>
          <p:cNvGraphicFramePr>
            <a:graphicFrameLocks noChangeAspect="1"/>
          </p:cNvGraphicFramePr>
          <p:nvPr/>
        </p:nvGraphicFramePr>
        <p:xfrm>
          <a:off x="5124312" y="2199868"/>
          <a:ext cx="865187" cy="436989"/>
        </p:xfrm>
        <a:graphic>
          <a:graphicData uri="http://schemas.openxmlformats.org/presentationml/2006/ole">
            <p:oleObj spid="_x0000_s411776" name="수식" r:id="rId5" imgW="444307" imgH="291973" progId="Equation.3">
              <p:embed/>
            </p:oleObj>
          </a:graphicData>
        </a:graphic>
      </p:graphicFrame>
      <p:cxnSp>
        <p:nvCxnSpPr>
          <p:cNvPr id="38" name="직선 화살표 연결선 37"/>
          <p:cNvCxnSpPr/>
          <p:nvPr/>
        </p:nvCxnSpPr>
        <p:spPr bwMode="auto">
          <a:xfrm>
            <a:off x="6027129" y="2421911"/>
            <a:ext cx="216024" cy="0"/>
          </a:xfrm>
          <a:prstGeom prst="straightConnector1">
            <a:avLst/>
          </a:prstGeom>
          <a:solidFill>
            <a:schemeClr val="accent1"/>
          </a:solidFill>
          <a:ln>
            <a:solidFill>
              <a:sysClr val="windowText" lastClr="000000"/>
            </a:solidFill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2" name="직사각형 41"/>
          <p:cNvSpPr/>
          <p:nvPr/>
        </p:nvSpPr>
        <p:spPr>
          <a:xfrm>
            <a:off x="488504" y="5877272"/>
            <a:ext cx="6480720" cy="946407"/>
          </a:xfrm>
          <a:prstGeom prst="rect">
            <a:avLst/>
          </a:prstGeom>
        </p:spPr>
        <p:txBody>
          <a:bodyPr wrap="square" lIns="91433" tIns="45717" rIns="91433" bIns="45717">
            <a:spAutoFit/>
          </a:bodyPr>
          <a:lstStyle/>
          <a:p>
            <a:pPr marL="177792" indent="-177792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200" b="0" u="none" dirty="0" err="1" smtClean="0">
                <a:solidFill>
                  <a:srgbClr val="000000"/>
                </a:solidFill>
                <a:latin typeface="맑은 고딕" pitchFamily="50" charset="-127"/>
              </a:rPr>
              <a:t>잔차변동성모형</a:t>
            </a:r>
            <a:r>
              <a:rPr lang="ko-KR" altLang="en-US" sz="1200" b="0" u="none" dirty="0" smtClean="0">
                <a:solidFill>
                  <a:srgbClr val="000000"/>
                </a:solidFill>
                <a:latin typeface="맑은 고딕" pitchFamily="50" charset="-127"/>
              </a:rPr>
              <a:t> 참조 논문 </a:t>
            </a:r>
            <a:r>
              <a:rPr lang="en-US" altLang="ko-KR" sz="1200" b="0" u="none" dirty="0" smtClean="0">
                <a:solidFill>
                  <a:srgbClr val="000000"/>
                </a:solidFill>
                <a:latin typeface="맑은 고딕" pitchFamily="50" charset="-127"/>
              </a:rPr>
              <a:t>- </a:t>
            </a:r>
            <a:r>
              <a:rPr lang="ko-KR" altLang="en-US" sz="1200" b="0" u="none" dirty="0" smtClean="0">
                <a:solidFill>
                  <a:srgbClr val="000000"/>
                </a:solidFill>
                <a:latin typeface="맑은 고딕" pitchFamily="50" charset="-127"/>
              </a:rPr>
              <a:t>전력수요 변동률을 이용한 연휴에 대한 단기 전력수요예측</a:t>
            </a:r>
            <a:endParaRPr lang="en-US" altLang="ko-KR" sz="1200" b="0" u="none" dirty="0" smtClean="0">
              <a:solidFill>
                <a:srgbClr val="000000"/>
              </a:solidFill>
              <a:latin typeface="맑은 고딕" pitchFamily="50" charset="-127"/>
            </a:endParaRPr>
          </a:p>
          <a:p>
            <a:pPr marL="177792" indent="-177792">
              <a:spcBef>
                <a:spcPts val="300"/>
              </a:spcBef>
            </a:pPr>
            <a:r>
              <a:rPr lang="en-US" altLang="ko-KR" sz="1200" b="0" u="none" dirty="0" smtClean="0">
                <a:solidFill>
                  <a:srgbClr val="000000"/>
                </a:solidFill>
                <a:latin typeface="맑은 고딕" pitchFamily="50" charset="-127"/>
              </a:rPr>
              <a:t> (Journal of the Korean Institute of </a:t>
            </a:r>
            <a:r>
              <a:rPr lang="en-US" altLang="ko-KR" sz="1200" b="0" u="none" dirty="0" err="1" smtClean="0">
                <a:solidFill>
                  <a:srgbClr val="000000"/>
                </a:solidFill>
                <a:latin typeface="맑은 고딕" pitchFamily="50" charset="-127"/>
              </a:rPr>
              <a:t>IIIuminating</a:t>
            </a:r>
            <a:r>
              <a:rPr lang="en-US" altLang="ko-KR" sz="1200" b="0" u="none" dirty="0" smtClean="0">
                <a:solidFill>
                  <a:srgbClr val="000000"/>
                </a:solidFill>
                <a:latin typeface="맑은 고딕" pitchFamily="50" charset="-127"/>
              </a:rPr>
              <a:t> and Electrical Installation Engineers)</a:t>
            </a:r>
          </a:p>
          <a:p>
            <a:pPr marL="177792" indent="-177792">
              <a:spcBef>
                <a:spcPts val="300"/>
              </a:spcBef>
              <a:buFont typeface="Wingdings" pitchFamily="2" charset="2"/>
              <a:buChar char="§"/>
            </a:pPr>
            <a:r>
              <a:rPr lang="ko-KR" altLang="en-US" sz="1200" b="0" u="none" dirty="0" err="1" smtClean="0">
                <a:solidFill>
                  <a:srgbClr val="000000"/>
                </a:solidFill>
                <a:latin typeface="맑은 고딕" pitchFamily="50" charset="-127"/>
              </a:rPr>
              <a:t>잔차변동성모형</a:t>
            </a:r>
            <a:r>
              <a:rPr lang="ko-KR" altLang="en-US" sz="1200" b="0" u="none" dirty="0" smtClean="0">
                <a:solidFill>
                  <a:srgbClr val="000000"/>
                </a:solidFill>
                <a:latin typeface="맑은 고딕" pitchFamily="50" charset="-127"/>
              </a:rPr>
              <a:t> 참조 논문 </a:t>
            </a:r>
            <a:r>
              <a:rPr lang="en-US" altLang="ko-KR" sz="1200" b="0" u="none" dirty="0" smtClean="0">
                <a:solidFill>
                  <a:srgbClr val="000000"/>
                </a:solidFill>
                <a:latin typeface="맑은 고딕" pitchFamily="50" charset="-127"/>
              </a:rPr>
              <a:t>- </a:t>
            </a:r>
            <a:r>
              <a:rPr lang="ko-KR" altLang="en-US" sz="1200" b="0" u="none" dirty="0" smtClean="0">
                <a:solidFill>
                  <a:srgbClr val="000000"/>
                </a:solidFill>
                <a:latin typeface="맑은 고딕" pitchFamily="50" charset="-127"/>
              </a:rPr>
              <a:t>추가 정보를 활용한 수요예측 결과의 단기보정</a:t>
            </a:r>
          </a:p>
          <a:p>
            <a:pPr marL="177792" indent="-177792">
              <a:spcBef>
                <a:spcPts val="300"/>
              </a:spcBef>
            </a:pPr>
            <a:r>
              <a:rPr lang="en-US" altLang="ko-KR" sz="1200" b="0" u="none" dirty="0" smtClean="0">
                <a:solidFill>
                  <a:srgbClr val="000000"/>
                </a:solidFill>
                <a:latin typeface="맑은 고딕" pitchFamily="50" charset="-127"/>
              </a:rPr>
              <a:t> (</a:t>
            </a:r>
            <a:r>
              <a:rPr lang="ko-KR" altLang="en-US" sz="1200" b="0" u="none" dirty="0" smtClean="0">
                <a:solidFill>
                  <a:srgbClr val="000000"/>
                </a:solidFill>
                <a:latin typeface="맑은 고딕" pitchFamily="50" charset="-127"/>
              </a:rPr>
              <a:t>충남대학교 </a:t>
            </a:r>
            <a:r>
              <a:rPr lang="en-US" altLang="ko-KR" sz="1200" b="0" u="none" dirty="0" smtClean="0">
                <a:solidFill>
                  <a:srgbClr val="000000"/>
                </a:solidFill>
                <a:latin typeface="맑은 고딕" pitchFamily="50" charset="-127"/>
              </a:rPr>
              <a:t>- </a:t>
            </a:r>
            <a:r>
              <a:rPr lang="ko-KR" altLang="en-US" sz="1200" b="0" u="none" dirty="0" smtClean="0">
                <a:solidFill>
                  <a:srgbClr val="000000"/>
                </a:solidFill>
                <a:latin typeface="맑은 고딕" pitchFamily="50" charset="-127"/>
              </a:rPr>
              <a:t>김태순</a:t>
            </a:r>
            <a:r>
              <a:rPr lang="en-US" altLang="ko-KR" sz="1200" b="0" u="none" dirty="0" smtClean="0">
                <a:solidFill>
                  <a:srgbClr val="000000"/>
                </a:solidFill>
                <a:latin typeface="맑은 고딕" pitchFamily="50" charset="-127"/>
              </a:rPr>
              <a:t>)</a:t>
            </a:r>
          </a:p>
        </p:txBody>
      </p:sp>
      <p:graphicFrame>
        <p:nvGraphicFramePr>
          <p:cNvPr id="314372" name="Object 4"/>
          <p:cNvGraphicFramePr>
            <a:graphicFrameLocks noChangeAspect="1"/>
          </p:cNvGraphicFramePr>
          <p:nvPr/>
        </p:nvGraphicFramePr>
        <p:xfrm>
          <a:off x="8442985" y="2334783"/>
          <a:ext cx="904875" cy="169863"/>
        </p:xfrm>
        <a:graphic>
          <a:graphicData uri="http://schemas.openxmlformats.org/presentationml/2006/ole">
            <p:oleObj spid="_x0000_s411777" name="수식" r:id="rId6" imgW="774364" imgH="203112" progId="Equation.3">
              <p:embed/>
            </p:oleObj>
          </a:graphicData>
        </a:graphic>
      </p:graphicFrame>
      <p:graphicFrame>
        <p:nvGraphicFramePr>
          <p:cNvPr id="314373" name="Object 5"/>
          <p:cNvGraphicFramePr>
            <a:graphicFrameLocks noChangeAspect="1"/>
          </p:cNvGraphicFramePr>
          <p:nvPr/>
        </p:nvGraphicFramePr>
        <p:xfrm>
          <a:off x="588008" y="2179657"/>
          <a:ext cx="1666875" cy="457200"/>
        </p:xfrm>
        <a:graphic>
          <a:graphicData uri="http://schemas.openxmlformats.org/presentationml/2006/ole">
            <p:oleObj spid="_x0000_s411778" name="수식" r:id="rId7" imgW="1016000" imgH="292100" progId="Equation.3">
              <p:embed/>
            </p:oleObj>
          </a:graphicData>
        </a:graphic>
      </p:graphicFrame>
      <p:graphicFrame>
        <p:nvGraphicFramePr>
          <p:cNvPr id="314374" name="Object 6"/>
          <p:cNvGraphicFramePr>
            <a:graphicFrameLocks noChangeAspect="1"/>
          </p:cNvGraphicFramePr>
          <p:nvPr/>
        </p:nvGraphicFramePr>
        <p:xfrm>
          <a:off x="2681920" y="2162147"/>
          <a:ext cx="2217738" cy="457200"/>
        </p:xfrm>
        <a:graphic>
          <a:graphicData uri="http://schemas.openxmlformats.org/presentationml/2006/ole">
            <p:oleObj spid="_x0000_s411779" name="수식" r:id="rId8" imgW="1358310" imgH="291973" progId="Equation.3">
              <p:embed/>
            </p:oleObj>
          </a:graphicData>
        </a:graphic>
      </p:graphicFrame>
      <p:cxnSp>
        <p:nvCxnSpPr>
          <p:cNvPr id="46" name="직선 화살표 연결선 45"/>
          <p:cNvCxnSpPr/>
          <p:nvPr/>
        </p:nvCxnSpPr>
        <p:spPr bwMode="auto">
          <a:xfrm>
            <a:off x="2374688" y="2382925"/>
            <a:ext cx="216024" cy="0"/>
          </a:xfrm>
          <a:prstGeom prst="straightConnector1">
            <a:avLst/>
          </a:prstGeom>
          <a:solidFill>
            <a:schemeClr val="accent1"/>
          </a:solidFill>
          <a:ln>
            <a:solidFill>
              <a:sysClr val="windowText" lastClr="000000"/>
            </a:solidFill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12"/>
          <p:cNvSpPr>
            <a:spLocks noChangeArrowheads="1"/>
          </p:cNvSpPr>
          <p:nvPr/>
        </p:nvSpPr>
        <p:spPr bwMode="gray">
          <a:xfrm>
            <a:off x="523844" y="2781948"/>
            <a:ext cx="716165" cy="616356"/>
          </a:xfrm>
          <a:prstGeom prst="rect">
            <a:avLst/>
          </a:prstGeom>
          <a:solidFill>
            <a:srgbClr val="F8F8F8"/>
          </a:solidFill>
          <a:ln w="9525" algn="ctr">
            <a:noFill/>
            <a:miter lim="800000"/>
            <a:headEnd/>
            <a:tailEnd/>
          </a:ln>
        </p:spPr>
        <p:txBody>
          <a:bodyPr lIns="0" rIns="18000" anchor="ctr"/>
          <a:lstStyle/>
          <a:p>
            <a:pPr marL="273050" lvl="1" indent="-171450" eaLnBrk="0" hangingPunct="0">
              <a:lnSpc>
                <a:spcPct val="120000"/>
              </a:lnSpc>
              <a:spcBef>
                <a:spcPts val="600"/>
              </a:spcBef>
            </a:pPr>
            <a:r>
              <a:rPr lang="ko-KR" altLang="en-US" sz="1300" u="none" kern="0" dirty="0" smtClean="0">
                <a:solidFill>
                  <a:srgbClr val="FF0000"/>
                </a:solidFill>
                <a:latin typeface="맑은 고딕" pitchFamily="50" charset="-127"/>
              </a:rPr>
              <a:t>매주 반복</a:t>
            </a:r>
            <a:endParaRPr lang="en-US" altLang="ko-KR" sz="1300" u="none" kern="0" dirty="0">
              <a:solidFill>
                <a:srgbClr val="FF0000"/>
              </a:solidFill>
              <a:latin typeface="맑은 고딕" pitchFamily="50" charset="-127"/>
            </a:endParaRPr>
          </a:p>
        </p:txBody>
      </p:sp>
      <p:sp>
        <p:nvSpPr>
          <p:cNvPr id="26" name="Rectangle 2"/>
          <p:cNvSpPr>
            <a:spLocks noGrp="1" noChangeArrowheads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dirty="0">
                <a:latin typeface="맑은 고딕" pitchFamily="50" charset="-127"/>
              </a:rPr>
              <a:t>모델 구축방안</a:t>
            </a:r>
            <a:r>
              <a:rPr lang="en-US" altLang="ko-KR" dirty="0">
                <a:latin typeface="맑은 고딕" pitchFamily="50" charset="-127"/>
              </a:rPr>
              <a:t> - </a:t>
            </a:r>
            <a:r>
              <a:rPr lang="en-US" altLang="ko-KR" dirty="0">
                <a:ln w="15875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</a:rPr>
              <a:t>Claim</a:t>
            </a:r>
            <a:r>
              <a:rPr lang="ko-KR" altLang="en-US" dirty="0">
                <a:ln w="15875"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</a:rPr>
              <a:t> 이슈 후 모형 보정</a:t>
            </a:r>
            <a:endParaRPr lang="en-US" altLang="ko-KR" dirty="0" smtClean="0">
              <a:latin typeface="맑은 고딕" pitchFamily="50" charset="-127"/>
            </a:endParaRPr>
          </a:p>
        </p:txBody>
      </p:sp>
      <p:sp>
        <p:nvSpPr>
          <p:cNvPr id="27" name="Rectangle 3"/>
          <p:cNvSpPr txBox="1">
            <a:spLocks noChangeArrowheads="1"/>
          </p:cNvSpPr>
          <p:nvPr/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 defTabSz="957240">
              <a:defRPr/>
            </a:pPr>
            <a:r>
              <a:rPr kumimoji="1" lang="ko-KR" altLang="en-US" sz="1600" u="none" dirty="0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매주 사후 평가를 실행하여 예측보정모형과 </a:t>
            </a:r>
            <a:r>
              <a:rPr kumimoji="1" lang="ko-KR" altLang="en-US" sz="1600" u="none" dirty="0" err="1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잔차변동성모형</a:t>
            </a:r>
            <a:r>
              <a:rPr kumimoji="1" lang="ko-KR" altLang="en-US" sz="1600" u="none" dirty="0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 중 사후 평가가 더 좋은 모형의 </a:t>
            </a:r>
            <a:r>
              <a:rPr kumimoji="1" lang="ko-KR" altLang="en-US" sz="1600" u="none" dirty="0" err="1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예측값을</a:t>
            </a:r>
            <a:r>
              <a:rPr kumimoji="1" lang="ko-KR" altLang="en-US" sz="1600" u="none" dirty="0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 제공</a:t>
            </a:r>
          </a:p>
        </p:txBody>
      </p:sp>
      <p:sp>
        <p:nvSpPr>
          <p:cNvPr id="57" name="Freeform 6"/>
          <p:cNvSpPr>
            <a:spLocks/>
          </p:cNvSpPr>
          <p:nvPr>
            <p:custDataLst>
              <p:tags r:id="rId2"/>
            </p:custDataLst>
          </p:nvPr>
        </p:nvSpPr>
        <p:spPr bwMode="blackWhite">
          <a:xfrm>
            <a:off x="560512" y="4869160"/>
            <a:ext cx="8784976" cy="1275457"/>
          </a:xfrm>
          <a:prstGeom prst="foldedCorner">
            <a:avLst>
              <a:gd name="adj" fmla="val 13968"/>
            </a:avLst>
          </a:prstGeom>
          <a:solidFill>
            <a:srgbClr val="FDF9F9"/>
          </a:solidFill>
          <a:ln w="12700" cap="flat" cmpd="sng" algn="ctr">
            <a:solidFill>
              <a:schemeClr val="bg1">
                <a:lumMod val="50000"/>
              </a:schemeClr>
            </a:solidFill>
            <a:prstDash val="sysDot"/>
          </a:ln>
          <a:effectLst/>
        </p:spPr>
        <p:txBody>
          <a:bodyPr vert="horz" lIns="18000" tIns="18000" rIns="18000" bIns="18000" rtlCol="0" anchor="ctr"/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20000"/>
              <a:defRPr/>
            </a:pPr>
            <a:endParaRPr lang="ko-KR" altLang="en-US" b="0" u="none" kern="0" dirty="0">
              <a:solidFill>
                <a:prstClr val="black">
                  <a:lumMod val="75000"/>
                  <a:lumOff val="25000"/>
                </a:prstClr>
              </a:solidFill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597594" y="5029726"/>
            <a:ext cx="8747894" cy="4154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82550" indent="-82550" defTabSz="914360">
              <a:spcBef>
                <a:spcPts val="500"/>
              </a:spcBef>
              <a:spcAft>
                <a:spcPts val="500"/>
              </a:spcAft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ko-KR" altLang="en-US" u="none" kern="0" dirty="0" smtClean="0">
                <a:solidFill>
                  <a:prstClr val="black"/>
                </a:solidFill>
                <a:latin typeface="맑은 고딕" pitchFamily="50" charset="-127"/>
              </a:rPr>
              <a:t>사후 평가 방법 </a:t>
            </a:r>
            <a:r>
              <a:rPr lang="en-US" altLang="ko-KR" u="none" kern="0" dirty="0" smtClean="0">
                <a:solidFill>
                  <a:prstClr val="black"/>
                </a:solidFill>
                <a:latin typeface="맑은 고딕" pitchFamily="50" charset="-127"/>
              </a:rPr>
              <a:t>: MAPE</a:t>
            </a:r>
            <a:r>
              <a:rPr lang="en-US" altLang="ko-KR" b="0" u="none" dirty="0" smtClean="0">
                <a:latin typeface="맑은 고딕" pitchFamily="50" charset="-127"/>
              </a:rPr>
              <a:t> (Mean absolute percentage error) </a:t>
            </a: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오차들의 절대값에 전체 판매량을 나눈 후의 평균 값</a:t>
            </a: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/>
            </a:r>
            <a:b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</a:br>
            <a:endParaRPr lang="en-US" altLang="ko-KR" sz="1300" b="0" u="none" kern="0" spc="-50" dirty="0" smtClean="0">
              <a:solidFill>
                <a:prstClr val="black"/>
              </a:solidFill>
              <a:latin typeface="맑은 고딕" pitchFamily="50" charset="-127"/>
            </a:endParaRPr>
          </a:p>
        </p:txBody>
      </p:sp>
      <p:graphicFrame>
        <p:nvGraphicFramePr>
          <p:cNvPr id="315394" name="Object 2"/>
          <p:cNvGraphicFramePr>
            <a:graphicFrameLocks noChangeAspect="1"/>
          </p:cNvGraphicFramePr>
          <p:nvPr/>
        </p:nvGraphicFramePr>
        <p:xfrm>
          <a:off x="2958455" y="5288955"/>
          <a:ext cx="2714625" cy="855662"/>
        </p:xfrm>
        <a:graphic>
          <a:graphicData uri="http://schemas.openxmlformats.org/presentationml/2006/ole">
            <p:oleObj spid="_x0000_s962562" name="수식" r:id="rId4" imgW="1662978" imgH="545863" progId="Equation.3">
              <p:embed/>
            </p:oleObj>
          </a:graphicData>
        </a:graphic>
      </p:graphicFrame>
      <p:grpSp>
        <p:nvGrpSpPr>
          <p:cNvPr id="2" name="그룹 3"/>
          <p:cNvGrpSpPr>
            <a:grpSpLocks/>
          </p:cNvGrpSpPr>
          <p:nvPr/>
        </p:nvGrpSpPr>
        <p:grpSpPr bwMode="auto">
          <a:xfrm>
            <a:off x="560512" y="1281720"/>
            <a:ext cx="8784976" cy="3515432"/>
            <a:chOff x="273050" y="1196975"/>
            <a:chExt cx="4633200" cy="5040275"/>
          </a:xfrm>
        </p:grpSpPr>
        <p:sp>
          <p:nvSpPr>
            <p:cNvPr id="47" name="Rectangle 5"/>
            <p:cNvSpPr>
              <a:spLocks noChangeArrowheads="1"/>
            </p:cNvSpPr>
            <p:nvPr/>
          </p:nvSpPr>
          <p:spPr bwMode="auto">
            <a:xfrm>
              <a:off x="273050" y="1196975"/>
              <a:ext cx="4633200" cy="320673"/>
            </a:xfrm>
            <a:prstGeom prst="rect">
              <a:avLst/>
            </a:prstGeom>
            <a:solidFill>
              <a:schemeClr val="tx2">
                <a:lumMod val="75000"/>
                <a:lumOff val="25000"/>
              </a:schemeClr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>
              <a:defPPr>
                <a:defRPr lang="ko-K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b="1" u="sng" kern="1200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b="1" u="sng" kern="1200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b="1" u="sng" kern="1200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b="1" u="sng" kern="1200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b="1" u="sng" kern="1200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  <a:cs typeface="+mn-cs"/>
                </a:defRPr>
              </a:lvl5pPr>
              <a:lvl6pPr marL="2286000" algn="l" defTabSz="914400" rtl="0" eaLnBrk="1" latinLnBrk="1" hangingPunct="1">
                <a:defRPr sz="1400" b="1" u="sng" kern="1200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  <a:cs typeface="+mn-cs"/>
                </a:defRPr>
              </a:lvl6pPr>
              <a:lvl7pPr marL="2743200" algn="l" defTabSz="914400" rtl="0" eaLnBrk="1" latinLnBrk="1" hangingPunct="1">
                <a:defRPr sz="1400" b="1" u="sng" kern="1200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  <a:cs typeface="+mn-cs"/>
                </a:defRPr>
              </a:lvl7pPr>
              <a:lvl8pPr marL="3200400" algn="l" defTabSz="914400" rtl="0" eaLnBrk="1" latinLnBrk="1" hangingPunct="1">
                <a:defRPr sz="1400" b="1" u="sng" kern="1200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  <a:cs typeface="+mn-cs"/>
                </a:defRPr>
              </a:lvl8pPr>
              <a:lvl9pPr marL="3657600" algn="l" defTabSz="914400" rtl="0" eaLnBrk="1" latinLnBrk="1" hangingPunct="1">
                <a:defRPr sz="1400" b="1" u="sng" kern="1200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  <a:cs typeface="+mn-cs"/>
                </a:defRPr>
              </a:lvl9pPr>
            </a:lstStyle>
            <a:p>
              <a:pPr algn="ctr">
                <a:spcBef>
                  <a:spcPct val="20000"/>
                </a:spcBef>
                <a:defRPr/>
              </a:pPr>
              <a:r>
                <a:rPr lang="en-US" altLang="ko-KR" sz="1300" u="none" dirty="0" smtClean="0">
                  <a:solidFill>
                    <a:srgbClr val="FFFFFF"/>
                  </a:solidFill>
                  <a:latin typeface="맑은 고딕" pitchFamily="50" charset="-127"/>
                </a:rPr>
                <a:t>Champion &amp; Challenger </a:t>
              </a:r>
              <a:r>
                <a:rPr lang="ko-KR" altLang="en-US" sz="1300" u="none" dirty="0" smtClean="0">
                  <a:solidFill>
                    <a:srgbClr val="FFFFFF"/>
                  </a:solidFill>
                  <a:latin typeface="맑은 고딕" pitchFamily="50" charset="-127"/>
                </a:rPr>
                <a:t>모형 선택</a:t>
              </a:r>
              <a:endParaRPr lang="en-US" altLang="ko-KR" sz="1300" u="none" baseline="30000" dirty="0">
                <a:solidFill>
                  <a:srgbClr val="FFFFFF"/>
                </a:solidFill>
                <a:latin typeface="맑은 고딕" pitchFamily="50" charset="-127"/>
              </a:endParaRPr>
            </a:p>
          </p:txBody>
        </p:sp>
        <p:sp>
          <p:nvSpPr>
            <p:cNvPr id="56" name="Rectangle 6"/>
            <p:cNvSpPr>
              <a:spLocks noChangeArrowheads="1"/>
            </p:cNvSpPr>
            <p:nvPr/>
          </p:nvSpPr>
          <p:spPr bwMode="auto">
            <a:xfrm>
              <a:off x="273050" y="1517650"/>
              <a:ext cx="4633200" cy="471960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72000" tIns="36000" rIns="72000" bIns="36000"/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</a:pPr>
              <a:endParaRPr lang="ko-KR" altLang="ko-KR">
                <a:latin typeface="맑은 고딕" pitchFamily="50" charset="-127"/>
              </a:endParaRPr>
            </a:p>
          </p:txBody>
        </p:sp>
      </p:grpSp>
      <p:sp>
        <p:nvSpPr>
          <p:cNvPr id="68" name="타원 67"/>
          <p:cNvSpPr/>
          <p:nvPr/>
        </p:nvSpPr>
        <p:spPr bwMode="auto">
          <a:xfrm>
            <a:off x="1452538" y="3356654"/>
            <a:ext cx="3277086" cy="1378341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ko-KR" altLang="en-US" u="none" dirty="0" smtClean="0"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37" name="타원 36"/>
          <p:cNvSpPr/>
          <p:nvPr/>
        </p:nvSpPr>
        <p:spPr bwMode="auto">
          <a:xfrm>
            <a:off x="2646781" y="3816670"/>
            <a:ext cx="900000" cy="784480"/>
          </a:xfrm>
          <a:prstGeom prst="ellipse">
            <a:avLst/>
          </a:prstGeom>
          <a:solidFill>
            <a:schemeClr val="accent1">
              <a:lumMod val="25000"/>
            </a:schemeClr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ko-KR" altLang="en-US" u="none" dirty="0" smtClean="0"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60" name="AutoShape 132"/>
          <p:cNvSpPr>
            <a:spLocks noChangeArrowheads="1"/>
          </p:cNvSpPr>
          <p:nvPr/>
        </p:nvSpPr>
        <p:spPr bwMode="auto">
          <a:xfrm rot="10800000">
            <a:off x="1916167" y="2352700"/>
            <a:ext cx="2604721" cy="1033206"/>
          </a:xfrm>
          <a:prstGeom prst="upArrow">
            <a:avLst>
              <a:gd name="adj1" fmla="val 81083"/>
              <a:gd name="adj2" fmla="val 30866"/>
            </a:avLst>
          </a:prstGeom>
          <a:gradFill rotWithShape="1">
            <a:gsLst>
              <a:gs pos="0">
                <a:srgbClr val="DDDDDD"/>
              </a:gs>
              <a:gs pos="100000">
                <a:srgbClr val="FFFFFF"/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ko-KR" altLang="en-US" sz="1100"/>
          </a:p>
        </p:txBody>
      </p:sp>
      <p:sp>
        <p:nvSpPr>
          <p:cNvPr id="28" name="타원 27"/>
          <p:cNvSpPr/>
          <p:nvPr/>
        </p:nvSpPr>
        <p:spPr bwMode="auto">
          <a:xfrm>
            <a:off x="1452538" y="1571612"/>
            <a:ext cx="3219199" cy="1438042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ko-KR" altLang="en-US" u="none" dirty="0" smtClean="0"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29" name="타원 28"/>
          <p:cNvSpPr/>
          <p:nvPr/>
        </p:nvSpPr>
        <p:spPr bwMode="auto">
          <a:xfrm>
            <a:off x="1605573" y="1928802"/>
            <a:ext cx="930599" cy="759560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ko-KR" altLang="en-US" u="none" dirty="0" smtClean="0"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549251" y="1577473"/>
            <a:ext cx="15055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u="none" dirty="0" smtClean="0">
                <a:solidFill>
                  <a:schemeClr val="accent2">
                    <a:lumMod val="50000"/>
                  </a:schemeClr>
                </a:solidFill>
                <a:latin typeface="맑은 고딕" pitchFamily="50" charset="-127"/>
              </a:rPr>
              <a:t>모형 생성</a:t>
            </a:r>
            <a:endParaRPr lang="ko-KR" altLang="en-US" sz="1600" u="none" dirty="0">
              <a:solidFill>
                <a:schemeClr val="accent2">
                  <a:lumMod val="50000"/>
                </a:schemeClr>
              </a:solidFill>
              <a:latin typeface="맑은 고딕" pitchFamily="50" charset="-127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575094" y="2113816"/>
            <a:ext cx="9884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000" u="none" dirty="0" smtClean="0">
                <a:solidFill>
                  <a:schemeClr val="bg1"/>
                </a:solidFill>
                <a:latin typeface="맑은 고딕" pitchFamily="50" charset="-127"/>
              </a:rPr>
              <a:t>Challenger</a:t>
            </a:r>
          </a:p>
          <a:p>
            <a:pPr algn="ctr"/>
            <a:r>
              <a:rPr lang="en-US" altLang="ko-KR" sz="1000" u="none" dirty="0" smtClean="0">
                <a:solidFill>
                  <a:schemeClr val="bg1"/>
                </a:solidFill>
                <a:latin typeface="맑은 고딕" pitchFamily="50" charset="-127"/>
              </a:rPr>
              <a:t>Model 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534268" y="3973925"/>
            <a:ext cx="11341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u="none" dirty="0" smtClean="0">
                <a:solidFill>
                  <a:schemeClr val="bg1"/>
                </a:solidFill>
                <a:latin typeface="맑은 고딕" pitchFamily="50" charset="-127"/>
              </a:rPr>
              <a:t>Champion Model</a:t>
            </a:r>
            <a:endParaRPr lang="ko-KR" altLang="en-US" sz="1200" u="none" dirty="0">
              <a:solidFill>
                <a:schemeClr val="bg1"/>
              </a:solidFill>
              <a:latin typeface="맑은 고딕" pitchFamily="50" charset="-127"/>
            </a:endParaRPr>
          </a:p>
        </p:txBody>
      </p:sp>
      <p:sp>
        <p:nvSpPr>
          <p:cNvPr id="59" name="타원 58"/>
          <p:cNvSpPr/>
          <p:nvPr/>
        </p:nvSpPr>
        <p:spPr bwMode="auto">
          <a:xfrm>
            <a:off x="3593638" y="1903781"/>
            <a:ext cx="930599" cy="759560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ko-KR" altLang="en-US" u="none" dirty="0" smtClean="0"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3488719" y="2097650"/>
            <a:ext cx="11582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000" u="none" dirty="0" smtClean="0">
                <a:solidFill>
                  <a:schemeClr val="bg1"/>
                </a:solidFill>
                <a:latin typeface="맑은 고딕" pitchFamily="50" charset="-127"/>
              </a:rPr>
              <a:t>Challenger</a:t>
            </a:r>
          </a:p>
          <a:p>
            <a:pPr algn="ctr"/>
            <a:r>
              <a:rPr lang="en-US" altLang="ko-KR" sz="1000" u="none" dirty="0" smtClean="0">
                <a:solidFill>
                  <a:schemeClr val="bg1"/>
                </a:solidFill>
                <a:latin typeface="맑은 고딕" pitchFamily="50" charset="-127"/>
              </a:rPr>
              <a:t>Model 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1524084" y="2870515"/>
            <a:ext cx="3357478" cy="364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u="none" dirty="0" smtClean="0">
                <a:solidFill>
                  <a:srgbClr val="FF0000"/>
                </a:solidFill>
                <a:latin typeface="맑은 고딕" pitchFamily="50" charset="-127"/>
              </a:rPr>
              <a:t>Champion Model </a:t>
            </a:r>
            <a:r>
              <a:rPr lang="ko-KR" altLang="en-US" u="none" dirty="0" smtClean="0">
                <a:solidFill>
                  <a:srgbClr val="FF0000"/>
                </a:solidFill>
                <a:latin typeface="맑은 고딕" pitchFamily="50" charset="-127"/>
              </a:rPr>
              <a:t>을 위한 선택</a:t>
            </a:r>
            <a:r>
              <a:rPr lang="en-US" altLang="ko-KR" u="none" dirty="0" smtClean="0">
                <a:solidFill>
                  <a:srgbClr val="FF0000"/>
                </a:solidFill>
                <a:latin typeface="맑은 고딕" pitchFamily="50" charset="-127"/>
              </a:rPr>
              <a:t> </a:t>
            </a:r>
          </a:p>
          <a:p>
            <a:pPr algn="ctr"/>
            <a:r>
              <a:rPr lang="en-US" altLang="ko-KR" u="none" dirty="0" smtClean="0">
                <a:solidFill>
                  <a:srgbClr val="FF0000"/>
                </a:solidFill>
                <a:latin typeface="맑은 고딕" pitchFamily="50" charset="-127"/>
              </a:rPr>
              <a:t> (MAPE)</a:t>
            </a:r>
            <a:endParaRPr lang="ko-KR" altLang="en-US" u="none" dirty="0">
              <a:solidFill>
                <a:srgbClr val="FF0000"/>
              </a:solidFill>
              <a:latin typeface="맑은 고딕" pitchFamily="50" charset="-127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2494895" y="3378478"/>
            <a:ext cx="13681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u="none" dirty="0" err="1" smtClean="0">
                <a:solidFill>
                  <a:schemeClr val="accent2">
                    <a:lumMod val="50000"/>
                  </a:schemeClr>
                </a:solidFill>
                <a:latin typeface="맑은 고딕" pitchFamily="50" charset="-127"/>
              </a:rPr>
              <a:t>예측값</a:t>
            </a:r>
            <a:r>
              <a:rPr lang="ko-KR" altLang="en-US" sz="1600" u="none" dirty="0" smtClean="0">
                <a:solidFill>
                  <a:schemeClr val="accent2">
                    <a:lumMod val="50000"/>
                  </a:schemeClr>
                </a:solidFill>
                <a:latin typeface="맑은 고딕" pitchFamily="50" charset="-127"/>
              </a:rPr>
              <a:t> 제공</a:t>
            </a:r>
            <a:endParaRPr lang="ko-KR" altLang="en-US" sz="1600" u="none" dirty="0">
              <a:solidFill>
                <a:schemeClr val="accent2">
                  <a:lumMod val="50000"/>
                </a:schemeClr>
              </a:solidFill>
              <a:latin typeface="맑은 고딕" pitchFamily="50" charset="-127"/>
            </a:endParaRPr>
          </a:p>
        </p:txBody>
      </p:sp>
      <p:sp>
        <p:nvSpPr>
          <p:cNvPr id="50" name="Rectangle 39"/>
          <p:cNvSpPr>
            <a:spLocks noChangeArrowheads="1"/>
          </p:cNvSpPr>
          <p:nvPr/>
        </p:nvSpPr>
        <p:spPr bwMode="auto">
          <a:xfrm>
            <a:off x="4777827" y="1842999"/>
            <a:ext cx="1044575" cy="639601"/>
          </a:xfrm>
          <a:prstGeom prst="rect">
            <a:avLst/>
          </a:prstGeom>
          <a:solidFill>
            <a:srgbClr val="FF9933"/>
          </a:solidFill>
          <a:ln w="12700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914360" eaLnBrk="0" hangingPunct="0">
              <a:lnSpc>
                <a:spcPct val="120000"/>
              </a:lnSpc>
              <a:buFont typeface="Wingdings" pitchFamily="2" charset="2"/>
              <a:buNone/>
              <a:defRPr/>
            </a:pPr>
            <a:r>
              <a:rPr lang="ko-KR" altLang="en-US" sz="1300" u="none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</a:rPr>
              <a:t>모형에 대한 결과 산출</a:t>
            </a:r>
            <a:endParaRPr lang="en-US" altLang="ko-KR" sz="1300" u="none" kern="0" dirty="0">
              <a:solidFill>
                <a:schemeClr val="tx1">
                  <a:lumMod val="95000"/>
                  <a:lumOff val="5000"/>
                </a:schemeClr>
              </a:solidFill>
              <a:latin typeface="맑은 고딕" pitchFamily="50" charset="-127"/>
            </a:endParaRPr>
          </a:p>
        </p:txBody>
      </p:sp>
      <p:sp>
        <p:nvSpPr>
          <p:cNvPr id="51" name="Rectangle 12"/>
          <p:cNvSpPr>
            <a:spLocks noChangeArrowheads="1"/>
          </p:cNvSpPr>
          <p:nvPr/>
        </p:nvSpPr>
        <p:spPr bwMode="gray">
          <a:xfrm>
            <a:off x="5785939" y="1892836"/>
            <a:ext cx="3199509" cy="616356"/>
          </a:xfrm>
          <a:prstGeom prst="rect">
            <a:avLst/>
          </a:prstGeom>
          <a:solidFill>
            <a:srgbClr val="F8F8F8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lIns="0" rIns="18000" anchor="ctr"/>
          <a:lstStyle/>
          <a:p>
            <a:pPr marL="273050" lvl="1" indent="-171450" eaLnBrk="0" hangingPunct="0">
              <a:lnSpc>
                <a:spcPct val="120000"/>
              </a:lnSpc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b="0" u="none" kern="0" dirty="0" smtClean="0">
                <a:solidFill>
                  <a:prstClr val="black"/>
                </a:solidFill>
                <a:latin typeface="맑은 고딕" pitchFamily="50" charset="-127"/>
              </a:rPr>
              <a:t>예측보정모형과</a:t>
            </a:r>
            <a:r>
              <a:rPr lang="en-US" altLang="ko-KR" b="0" u="none" kern="0" dirty="0" smtClean="0">
                <a:solidFill>
                  <a:prstClr val="black"/>
                </a:solidFill>
                <a:latin typeface="맑은 고딕" pitchFamily="50" charset="-127"/>
              </a:rPr>
              <a:t> </a:t>
            </a:r>
            <a:r>
              <a:rPr lang="ko-KR" altLang="en-US" b="0" u="none" kern="0" dirty="0" err="1" smtClean="0">
                <a:solidFill>
                  <a:prstClr val="black"/>
                </a:solidFill>
                <a:latin typeface="맑은 고딕" pitchFamily="50" charset="-127"/>
              </a:rPr>
              <a:t>잔차변동성모형을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 pitchFamily="50" charset="-127"/>
              </a:rPr>
              <a:t> 생성함</a:t>
            </a:r>
            <a:endParaRPr lang="en-US" altLang="ko-KR" b="0" u="none" kern="0" dirty="0">
              <a:solidFill>
                <a:prstClr val="black"/>
              </a:solidFill>
              <a:latin typeface="맑은 고딕" pitchFamily="50" charset="-127"/>
            </a:endParaRPr>
          </a:p>
        </p:txBody>
      </p:sp>
      <p:sp>
        <p:nvSpPr>
          <p:cNvPr id="52" name="Rectangle 39"/>
          <p:cNvSpPr>
            <a:spLocks noChangeArrowheads="1"/>
          </p:cNvSpPr>
          <p:nvPr/>
        </p:nvSpPr>
        <p:spPr bwMode="auto">
          <a:xfrm>
            <a:off x="4777827" y="2773608"/>
            <a:ext cx="1044575" cy="605357"/>
          </a:xfrm>
          <a:prstGeom prst="rect">
            <a:avLst/>
          </a:prstGeom>
          <a:solidFill>
            <a:srgbClr val="FF9933"/>
          </a:solidFill>
          <a:ln w="12700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914360" eaLnBrk="0" hangingPunct="0">
              <a:lnSpc>
                <a:spcPct val="120000"/>
              </a:lnSpc>
              <a:buFont typeface="Wingdings" pitchFamily="2" charset="2"/>
              <a:buNone/>
              <a:defRPr/>
            </a:pPr>
            <a:r>
              <a:rPr lang="ko-KR" altLang="en-US" sz="1300" u="none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</a:rPr>
              <a:t>모형에 대한 비교</a:t>
            </a:r>
            <a:endParaRPr lang="en-US" altLang="ko-KR" sz="1300" u="none" kern="0" dirty="0">
              <a:solidFill>
                <a:schemeClr val="tx1">
                  <a:lumMod val="95000"/>
                  <a:lumOff val="5000"/>
                </a:schemeClr>
              </a:solidFill>
              <a:latin typeface="맑은 고딕" pitchFamily="50" charset="-127"/>
            </a:endParaRPr>
          </a:p>
        </p:txBody>
      </p:sp>
      <p:sp>
        <p:nvSpPr>
          <p:cNvPr id="53" name="Rectangle 12"/>
          <p:cNvSpPr>
            <a:spLocks noChangeArrowheads="1"/>
          </p:cNvSpPr>
          <p:nvPr/>
        </p:nvSpPr>
        <p:spPr bwMode="gray">
          <a:xfrm>
            <a:off x="5785939" y="2819268"/>
            <a:ext cx="3199509" cy="583356"/>
          </a:xfrm>
          <a:prstGeom prst="rect">
            <a:avLst/>
          </a:prstGeom>
          <a:solidFill>
            <a:srgbClr val="F8F8F8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lIns="0" rIns="18000" anchor="ctr"/>
          <a:lstStyle/>
          <a:p>
            <a:pPr marL="273050" lvl="1" indent="-171450" eaLnBrk="0" hangingPunct="0">
              <a:lnSpc>
                <a:spcPct val="120000"/>
              </a:lnSpc>
              <a:spcBef>
                <a:spcPts val="600"/>
              </a:spcBef>
              <a:buFont typeface="Wingdings" pitchFamily="2" charset="2"/>
              <a:buChar char="§"/>
            </a:pPr>
            <a:r>
              <a:rPr lang="ko-KR" altLang="en-US" b="0" u="none" kern="0" dirty="0" smtClean="0">
                <a:solidFill>
                  <a:prstClr val="black"/>
                </a:solidFill>
                <a:latin typeface="맑은 고딕" pitchFamily="50" charset="-127"/>
              </a:rPr>
              <a:t>두 모형 중 최근 </a:t>
            </a:r>
            <a:r>
              <a:rPr lang="en-US" altLang="ko-KR" b="0" u="none" kern="0" dirty="0" smtClean="0">
                <a:solidFill>
                  <a:prstClr val="black"/>
                </a:solidFill>
                <a:latin typeface="맑은 고딕" pitchFamily="50" charset="-127"/>
              </a:rPr>
              <a:t>5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 pitchFamily="50" charset="-127"/>
              </a:rPr>
              <a:t>주의 </a:t>
            </a:r>
            <a:r>
              <a:rPr lang="en-US" altLang="ko-KR" b="0" u="none" kern="0" dirty="0" smtClean="0">
                <a:solidFill>
                  <a:prstClr val="black"/>
                </a:solidFill>
                <a:latin typeface="맑은 고딕" pitchFamily="50" charset="-127"/>
              </a:rPr>
              <a:t>MAPE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 pitchFamily="50" charset="-127"/>
              </a:rPr>
              <a:t>가 낮은 모형을 </a:t>
            </a:r>
            <a:r>
              <a:rPr lang="en-US" altLang="ko-KR" b="0" u="none" kern="0" dirty="0" smtClean="0">
                <a:solidFill>
                  <a:prstClr val="black"/>
                </a:solidFill>
                <a:latin typeface="맑은 고딕" pitchFamily="50" charset="-127"/>
              </a:rPr>
              <a:t>Champion 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 pitchFamily="50" charset="-127"/>
              </a:rPr>
              <a:t>모형으로 선출</a:t>
            </a:r>
            <a:endParaRPr lang="en-US" altLang="ko-KR" b="0" u="none" kern="0" dirty="0" smtClean="0">
              <a:solidFill>
                <a:prstClr val="black"/>
              </a:solidFill>
              <a:latin typeface="맑은 고딕" pitchFamily="50" charset="-127"/>
            </a:endParaRPr>
          </a:p>
        </p:txBody>
      </p:sp>
      <p:sp>
        <p:nvSpPr>
          <p:cNvPr id="54" name="Rectangle 39"/>
          <p:cNvSpPr>
            <a:spLocks noChangeArrowheads="1"/>
          </p:cNvSpPr>
          <p:nvPr/>
        </p:nvSpPr>
        <p:spPr bwMode="auto">
          <a:xfrm>
            <a:off x="4777827" y="3669973"/>
            <a:ext cx="1044575" cy="602284"/>
          </a:xfrm>
          <a:prstGeom prst="rect">
            <a:avLst/>
          </a:prstGeom>
          <a:solidFill>
            <a:srgbClr val="FF9933"/>
          </a:solidFill>
          <a:ln w="12700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914360" eaLnBrk="0" hangingPunct="0">
              <a:lnSpc>
                <a:spcPct val="120000"/>
              </a:lnSpc>
              <a:buFont typeface="Wingdings" pitchFamily="2" charset="2"/>
              <a:buNone/>
              <a:defRPr/>
            </a:pPr>
            <a:r>
              <a:rPr lang="ko-KR" altLang="en-US" sz="1300" u="none" kern="0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</a:rPr>
              <a:t>예측값</a:t>
            </a:r>
            <a:r>
              <a:rPr lang="ko-KR" altLang="en-US" sz="1300" u="none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</a:rPr>
              <a:t> 제공</a:t>
            </a:r>
            <a:endParaRPr lang="en-US" altLang="ko-KR" sz="1300" u="none" kern="0" dirty="0">
              <a:solidFill>
                <a:schemeClr val="tx1">
                  <a:lumMod val="95000"/>
                  <a:lumOff val="5000"/>
                </a:schemeClr>
              </a:solidFill>
              <a:latin typeface="맑은 고딕" pitchFamily="50" charset="-127"/>
            </a:endParaRPr>
          </a:p>
        </p:txBody>
      </p:sp>
      <p:sp>
        <p:nvSpPr>
          <p:cNvPr id="55" name="Rectangle 12"/>
          <p:cNvSpPr>
            <a:spLocks noChangeArrowheads="1"/>
          </p:cNvSpPr>
          <p:nvPr/>
        </p:nvSpPr>
        <p:spPr bwMode="gray">
          <a:xfrm>
            <a:off x="5785940" y="3712701"/>
            <a:ext cx="3168352" cy="580395"/>
          </a:xfrm>
          <a:prstGeom prst="rect">
            <a:avLst/>
          </a:prstGeom>
          <a:solidFill>
            <a:srgbClr val="F8F8F8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lIns="0" rIns="18000" anchor="ctr"/>
          <a:lstStyle/>
          <a:p>
            <a:pPr marL="273050" lvl="1" indent="-171450" eaLnBrk="0" hangingPunct="0">
              <a:lnSpc>
                <a:spcPct val="120000"/>
              </a:lnSpc>
              <a:spcBef>
                <a:spcPts val="600"/>
              </a:spcBef>
              <a:buFont typeface="Wingdings" pitchFamily="2" charset="2"/>
              <a:buChar char="§"/>
            </a:pPr>
            <a:r>
              <a:rPr lang="en-US" altLang="ko-KR" b="0" u="none" kern="0" dirty="0" smtClean="0">
                <a:solidFill>
                  <a:prstClr val="black"/>
                </a:solidFill>
                <a:latin typeface="맑은 고딕" pitchFamily="50" charset="-127"/>
              </a:rPr>
              <a:t>Champion 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 pitchFamily="50" charset="-127"/>
              </a:rPr>
              <a:t>모형</a:t>
            </a:r>
            <a:r>
              <a:rPr lang="ko-KR" altLang="en-US" sz="1200" b="0" u="none" dirty="0" smtClean="0">
                <a:solidFill>
                  <a:srgbClr val="000000"/>
                </a:solidFill>
                <a:latin typeface="맑은 고딕" pitchFamily="50" charset="-127"/>
              </a:rPr>
              <a:t>에 대한 예측결과 값을 제공</a:t>
            </a:r>
            <a:endParaRPr lang="en-US" altLang="ko-KR" sz="1200" b="0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70" name="Freeform 35"/>
          <p:cNvSpPr>
            <a:spLocks/>
          </p:cNvSpPr>
          <p:nvPr/>
        </p:nvSpPr>
        <p:spPr bwMode="auto">
          <a:xfrm rot="10247453" flipH="1">
            <a:off x="1106991" y="2374567"/>
            <a:ext cx="568325" cy="1293813"/>
          </a:xfrm>
          <a:custGeom>
            <a:avLst/>
            <a:gdLst>
              <a:gd name="T0" fmla="*/ 556 w 640"/>
              <a:gd name="T1" fmla="*/ 2 h 816"/>
              <a:gd name="T2" fmla="*/ 137 w 640"/>
              <a:gd name="T3" fmla="*/ 257 h 816"/>
              <a:gd name="T4" fmla="*/ 300 w 640"/>
              <a:gd name="T5" fmla="*/ 720 h 816"/>
              <a:gd name="T6" fmla="*/ 240 w 640"/>
              <a:gd name="T7" fmla="*/ 816 h 816"/>
              <a:gd name="T8" fmla="*/ 640 w 640"/>
              <a:gd name="T9" fmla="*/ 750 h 816"/>
              <a:gd name="T10" fmla="*/ 527 w 640"/>
              <a:gd name="T11" fmla="*/ 387 h 816"/>
              <a:gd name="T12" fmla="*/ 466 w 640"/>
              <a:gd name="T13" fmla="*/ 486 h 816"/>
              <a:gd name="T14" fmla="*/ 556 w 640"/>
              <a:gd name="T15" fmla="*/ 2 h 8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40"/>
              <a:gd name="T25" fmla="*/ 0 h 816"/>
              <a:gd name="T26" fmla="*/ 640 w 640"/>
              <a:gd name="T27" fmla="*/ 816 h 8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40" h="816">
                <a:moveTo>
                  <a:pt x="556" y="2"/>
                </a:moveTo>
                <a:cubicBezTo>
                  <a:pt x="563" y="4"/>
                  <a:pt x="274" y="6"/>
                  <a:pt x="137" y="257"/>
                </a:cubicBezTo>
                <a:cubicBezTo>
                  <a:pt x="0" y="508"/>
                  <a:pt x="306" y="720"/>
                  <a:pt x="300" y="720"/>
                </a:cubicBezTo>
                <a:cubicBezTo>
                  <a:pt x="304" y="725"/>
                  <a:pt x="246" y="780"/>
                  <a:pt x="240" y="816"/>
                </a:cubicBezTo>
                <a:cubicBezTo>
                  <a:pt x="444" y="786"/>
                  <a:pt x="632" y="757"/>
                  <a:pt x="640" y="750"/>
                </a:cubicBezTo>
                <a:cubicBezTo>
                  <a:pt x="538" y="606"/>
                  <a:pt x="527" y="387"/>
                  <a:pt x="527" y="387"/>
                </a:cubicBezTo>
                <a:cubicBezTo>
                  <a:pt x="522" y="388"/>
                  <a:pt x="478" y="510"/>
                  <a:pt x="466" y="486"/>
                </a:cubicBezTo>
                <a:cubicBezTo>
                  <a:pt x="28" y="92"/>
                  <a:pt x="557" y="0"/>
                  <a:pt x="556" y="2"/>
                </a:cubicBezTo>
                <a:close/>
              </a:path>
            </a:pathLst>
          </a:custGeom>
          <a:solidFill>
            <a:srgbClr val="C0504D">
              <a:lumMod val="75000"/>
            </a:srgbClr>
          </a:solidFill>
          <a:ln w="9525">
            <a:noFill/>
            <a:round/>
            <a:headEnd/>
            <a:tailEnd/>
          </a:ln>
          <a:effectLst>
            <a:outerShdw dist="50800" dir="5400000" algn="ctr" rotWithShape="0">
              <a:srgbClr val="C0504D">
                <a:lumMod val="50000"/>
              </a:srgbClr>
            </a:outerShdw>
          </a:effectLst>
        </p:spPr>
        <p:txBody>
          <a:bodyPr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Tx/>
              <a:buFontTx/>
              <a:buNone/>
              <a:defRPr/>
            </a:pPr>
            <a:endParaRPr kumimoji="0" lang="ko-KR" altLang="en-US" sz="1800" kern="0" dirty="0">
              <a:solidFill>
                <a:sysClr val="windowText" lastClr="000000"/>
              </a:solidFill>
              <a:latin typeface="산돌고딕B" pitchFamily="18" charset="-127"/>
              <a:ea typeface="산돌고딕B" pitchFamily="18" charset="-127"/>
            </a:endParaRPr>
          </a:p>
        </p:txBody>
      </p:sp>
      <p:sp>
        <p:nvSpPr>
          <p:cNvPr id="34" name="타원 33"/>
          <p:cNvSpPr/>
          <p:nvPr/>
        </p:nvSpPr>
        <p:spPr bwMode="auto">
          <a:xfrm>
            <a:off x="2608707" y="2110481"/>
            <a:ext cx="930599" cy="759560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ko-KR" altLang="en-US" u="none" dirty="0" smtClean="0"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2503788" y="2304350"/>
            <a:ext cx="11582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000" u="none" dirty="0" smtClean="0">
                <a:solidFill>
                  <a:schemeClr val="bg1"/>
                </a:solidFill>
                <a:latin typeface="맑은 고딕" pitchFamily="50" charset="-127"/>
              </a:rPr>
              <a:t>Challenger</a:t>
            </a:r>
          </a:p>
          <a:p>
            <a:pPr algn="ctr"/>
            <a:r>
              <a:rPr lang="en-US" altLang="ko-KR" sz="1000" u="none" dirty="0" smtClean="0">
                <a:solidFill>
                  <a:schemeClr val="bg1"/>
                </a:solidFill>
                <a:latin typeface="맑은 고딕" pitchFamily="50" charset="-127"/>
              </a:rPr>
              <a:t>Model </a:t>
            </a:r>
          </a:p>
        </p:txBody>
      </p:sp>
      <p:sp>
        <p:nvSpPr>
          <p:cNvPr id="41" name="타원 40"/>
          <p:cNvSpPr/>
          <p:nvPr/>
        </p:nvSpPr>
        <p:spPr bwMode="auto">
          <a:xfrm>
            <a:off x="1637538" y="3669572"/>
            <a:ext cx="930599" cy="759560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ko-KR" altLang="en-US" u="none" dirty="0" smtClean="0"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607059" y="3854586"/>
            <a:ext cx="9884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000" u="none" dirty="0" smtClean="0">
                <a:solidFill>
                  <a:schemeClr val="bg1"/>
                </a:solidFill>
                <a:latin typeface="맑은 고딕" pitchFamily="50" charset="-127"/>
              </a:rPr>
              <a:t>Challenger</a:t>
            </a:r>
          </a:p>
          <a:p>
            <a:pPr algn="ctr"/>
            <a:r>
              <a:rPr lang="en-US" altLang="ko-KR" sz="1000" u="none" dirty="0" smtClean="0">
                <a:solidFill>
                  <a:schemeClr val="bg1"/>
                </a:solidFill>
                <a:latin typeface="맑은 고딕" pitchFamily="50" charset="-127"/>
              </a:rPr>
              <a:t>Model </a:t>
            </a:r>
          </a:p>
        </p:txBody>
      </p:sp>
      <p:sp>
        <p:nvSpPr>
          <p:cNvPr id="44" name="타원 43"/>
          <p:cNvSpPr/>
          <p:nvPr/>
        </p:nvSpPr>
        <p:spPr bwMode="auto">
          <a:xfrm>
            <a:off x="3637802" y="3653474"/>
            <a:ext cx="930599" cy="759560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ko-KR" altLang="en-US" u="none" dirty="0" smtClean="0">
              <a:latin typeface="맑은 고딕" pitchFamily="50" charset="-127"/>
              <a:cs typeface="Arial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607323" y="3838488"/>
            <a:ext cx="9884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000" u="none" dirty="0" smtClean="0">
                <a:solidFill>
                  <a:schemeClr val="bg1"/>
                </a:solidFill>
                <a:latin typeface="맑은 고딕" pitchFamily="50" charset="-127"/>
              </a:rPr>
              <a:t>Challenger</a:t>
            </a:r>
          </a:p>
          <a:p>
            <a:pPr algn="ctr"/>
            <a:r>
              <a:rPr lang="en-US" altLang="ko-KR" sz="1000" u="none" dirty="0" smtClean="0">
                <a:solidFill>
                  <a:schemeClr val="bg1"/>
                </a:solidFill>
                <a:latin typeface="맑은 고딕" pitchFamily="50" charset="-127"/>
              </a:rPr>
              <a:t>Model 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602" name="Rectangle 8"/>
          <p:cNvSpPr>
            <a:spLocks noChangeArrowheads="1"/>
          </p:cNvSpPr>
          <p:nvPr/>
        </p:nvSpPr>
        <p:spPr bwMode="auto">
          <a:xfrm>
            <a:off x="4999038" y="2185988"/>
            <a:ext cx="4633912" cy="3959225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2000" tIns="36000" rIns="72000" bIns="36000"/>
          <a:lstStyle/>
          <a:p>
            <a:pPr algn="ctr">
              <a:lnSpc>
                <a:spcPct val="90000"/>
              </a:lnSpc>
              <a:spcBef>
                <a:spcPct val="20000"/>
              </a:spcBef>
            </a:pPr>
            <a:endParaRPr lang="ko-KR" altLang="ko-KR" sz="120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281603" name="Rectangle 2" descr="밝은 상향 대각선"/>
          <p:cNvSpPr>
            <a:spLocks noChangeArrowheads="1"/>
          </p:cNvSpPr>
          <p:nvPr/>
        </p:nvSpPr>
        <p:spPr bwMode="auto">
          <a:xfrm>
            <a:off x="6681192" y="4375150"/>
            <a:ext cx="2736304" cy="1502122"/>
          </a:xfrm>
          <a:prstGeom prst="rect">
            <a:avLst/>
          </a:prstGeom>
          <a:pattFill prst="ltUpDiag">
            <a:fgClr>
              <a:srgbClr val="FFED9F"/>
            </a:fgClr>
            <a:bgClr>
              <a:srgbClr val="FFFFFF"/>
            </a:bgClr>
          </a:pattFill>
          <a:ln w="158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ko-KR" altLang="en-US" u="none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260350" y="1597025"/>
            <a:ext cx="4633913" cy="588963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lvl="1" algn="ctr">
              <a:lnSpc>
                <a:spcPct val="110000"/>
              </a:lnSpc>
              <a:spcBef>
                <a:spcPct val="20000"/>
              </a:spcBef>
              <a:defRPr/>
            </a:pPr>
            <a:r>
              <a:rPr lang="ko-KR" altLang="en-US" u="none" dirty="0" smtClean="0">
                <a:solidFill>
                  <a:srgbClr val="FFFFFF"/>
                </a:solidFill>
                <a:latin typeface="맑은 고딕" pitchFamily="50" charset="-127"/>
              </a:rPr>
              <a:t>판매량 </a:t>
            </a:r>
            <a:r>
              <a:rPr lang="ko-KR" altLang="en-US" u="none" dirty="0">
                <a:solidFill>
                  <a:srgbClr val="FFFFFF"/>
                </a:solidFill>
                <a:latin typeface="맑은 고딕" pitchFamily="50" charset="-127"/>
              </a:rPr>
              <a:t>예측 정보에 </a:t>
            </a:r>
            <a:r>
              <a:rPr lang="ko-KR" altLang="en-US" u="none" dirty="0" smtClean="0">
                <a:solidFill>
                  <a:srgbClr val="FFFFFF"/>
                </a:solidFill>
                <a:latin typeface="맑은 고딕" pitchFamily="50" charset="-127"/>
              </a:rPr>
              <a:t>기반한 </a:t>
            </a:r>
            <a:endParaRPr lang="en-US" altLang="ko-KR" u="none" dirty="0" smtClean="0">
              <a:solidFill>
                <a:srgbClr val="FFFFFF"/>
              </a:solidFill>
              <a:latin typeface="맑은 고딕" pitchFamily="50" charset="-127"/>
            </a:endParaRPr>
          </a:p>
          <a:p>
            <a:pPr marL="0" lvl="1" algn="ctr">
              <a:lnSpc>
                <a:spcPct val="110000"/>
              </a:lnSpc>
              <a:spcBef>
                <a:spcPct val="20000"/>
              </a:spcBef>
              <a:defRPr/>
            </a:pPr>
            <a:r>
              <a:rPr lang="ko-KR" altLang="en-US" u="none" dirty="0" smtClean="0">
                <a:solidFill>
                  <a:srgbClr val="FFFFFF"/>
                </a:solidFill>
                <a:latin typeface="맑은 고딕" pitchFamily="50" charset="-127"/>
              </a:rPr>
              <a:t>합리적인 생산</a:t>
            </a:r>
            <a:r>
              <a:rPr lang="en-US" altLang="ko-KR" u="none" dirty="0">
                <a:solidFill>
                  <a:srgbClr val="FFFFFF"/>
                </a:solidFill>
                <a:latin typeface="맑은 고딕" pitchFamily="50" charset="-127"/>
              </a:rPr>
              <a:t>, </a:t>
            </a:r>
            <a:r>
              <a:rPr lang="ko-KR" altLang="en-US" u="none" dirty="0">
                <a:solidFill>
                  <a:srgbClr val="FFFFFF"/>
                </a:solidFill>
                <a:latin typeface="맑은 고딕" pitchFamily="50" charset="-127"/>
              </a:rPr>
              <a:t>영업</a:t>
            </a:r>
            <a:r>
              <a:rPr lang="en-US" altLang="ko-KR" u="none" dirty="0">
                <a:solidFill>
                  <a:srgbClr val="FFFFFF"/>
                </a:solidFill>
                <a:latin typeface="맑은 고딕" pitchFamily="50" charset="-127"/>
              </a:rPr>
              <a:t>, </a:t>
            </a:r>
            <a:r>
              <a:rPr lang="ko-KR" altLang="en-US" u="none" dirty="0">
                <a:solidFill>
                  <a:srgbClr val="FFFFFF"/>
                </a:solidFill>
                <a:latin typeface="맑은 고딕" pitchFamily="50" charset="-127"/>
              </a:rPr>
              <a:t>마케팅 활동 수행</a:t>
            </a:r>
            <a:endParaRPr lang="en-US" altLang="ko-KR" u="none" dirty="0">
              <a:solidFill>
                <a:srgbClr val="FFFFFF"/>
              </a:solidFill>
              <a:latin typeface="맑은 고딕" pitchFamily="50" charset="-127"/>
            </a:endParaRPr>
          </a:p>
        </p:txBody>
      </p:sp>
      <p:sp>
        <p:nvSpPr>
          <p:cNvPr id="281605" name="Rectangle 6"/>
          <p:cNvSpPr>
            <a:spLocks noChangeArrowheads="1"/>
          </p:cNvSpPr>
          <p:nvPr/>
        </p:nvSpPr>
        <p:spPr bwMode="auto">
          <a:xfrm>
            <a:off x="260350" y="2185988"/>
            <a:ext cx="4633913" cy="3959225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2000" tIns="36000" rIns="72000" bIns="36000"/>
          <a:lstStyle/>
          <a:p>
            <a:pPr algn="ctr">
              <a:lnSpc>
                <a:spcPct val="90000"/>
              </a:lnSpc>
              <a:spcBef>
                <a:spcPct val="20000"/>
              </a:spcBef>
            </a:pPr>
            <a:endParaRPr lang="ko-KR" altLang="ko-KR" sz="120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4997450" y="1597025"/>
            <a:ext cx="4633913" cy="588963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lvl="1" indent="-142869" algn="ctr" defTabSz="895311">
              <a:lnSpc>
                <a:spcPct val="110000"/>
              </a:lnSpc>
              <a:spcBef>
                <a:spcPct val="20000"/>
              </a:spcBef>
              <a:buSzPct val="120000"/>
              <a:defRPr/>
            </a:pPr>
            <a:r>
              <a:rPr lang="ko-KR" altLang="en-US" u="none" dirty="0">
                <a:solidFill>
                  <a:srgbClr val="FFFFFF"/>
                </a:solidFill>
                <a:latin typeface="맑은 고딕" pitchFamily="50" charset="-127"/>
              </a:rPr>
              <a:t>판매량 예측 </a:t>
            </a:r>
            <a:r>
              <a:rPr lang="ko-KR" altLang="en-US" u="none" dirty="0" smtClean="0">
                <a:solidFill>
                  <a:srgbClr val="FFFFFF"/>
                </a:solidFill>
                <a:latin typeface="맑은 고딕" pitchFamily="50" charset="-127"/>
              </a:rPr>
              <a:t>정보에 기반한</a:t>
            </a:r>
            <a:endParaRPr lang="en-US" altLang="ko-KR" u="none" dirty="0" smtClean="0">
              <a:solidFill>
                <a:srgbClr val="FFFFFF"/>
              </a:solidFill>
              <a:latin typeface="맑은 고딕" pitchFamily="50" charset="-127"/>
            </a:endParaRPr>
          </a:p>
          <a:p>
            <a:pPr marL="0" lvl="1" indent="-142869" algn="ctr" defTabSz="895311">
              <a:lnSpc>
                <a:spcPct val="110000"/>
              </a:lnSpc>
              <a:spcBef>
                <a:spcPct val="20000"/>
              </a:spcBef>
              <a:buSzPct val="120000"/>
              <a:defRPr/>
            </a:pPr>
            <a:r>
              <a:rPr lang="ko-KR" altLang="en-US" u="none" dirty="0" smtClean="0">
                <a:solidFill>
                  <a:srgbClr val="FFFFFF"/>
                </a:solidFill>
                <a:latin typeface="맑은 고딕" pitchFamily="50" charset="-127"/>
              </a:rPr>
              <a:t>경영 의사결정</a:t>
            </a:r>
            <a:endParaRPr lang="ko-KR" altLang="en-US" u="none" dirty="0">
              <a:solidFill>
                <a:srgbClr val="FFFFFF"/>
              </a:solidFill>
              <a:latin typeface="맑은 고딕" pitchFamily="50" charset="-127"/>
            </a:endParaRPr>
          </a:p>
        </p:txBody>
      </p:sp>
      <p:grpSp>
        <p:nvGrpSpPr>
          <p:cNvPr id="2" name="Group 88"/>
          <p:cNvGrpSpPr>
            <a:grpSpLocks/>
          </p:cNvGrpSpPr>
          <p:nvPr/>
        </p:nvGrpSpPr>
        <p:grpSpPr bwMode="auto">
          <a:xfrm>
            <a:off x="1023938" y="3113088"/>
            <a:ext cx="1690687" cy="241300"/>
            <a:chOff x="172" y="841"/>
            <a:chExt cx="816" cy="123"/>
          </a:xfrm>
        </p:grpSpPr>
        <p:sp>
          <p:nvSpPr>
            <p:cNvPr id="281641" name="Text Box 5"/>
            <p:cNvSpPr txBox="1">
              <a:spLocks noChangeArrowheads="1"/>
            </p:cNvSpPr>
            <p:nvPr/>
          </p:nvSpPr>
          <p:spPr bwMode="auto">
            <a:xfrm>
              <a:off x="280" y="841"/>
              <a:ext cx="582" cy="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400" b="1" u="sng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400" b="1" u="sng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400" b="1" u="sng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400" b="1" u="sng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400" b="1" u="sng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 u="sng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 u="sng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 u="sng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 u="sng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</a:defRPr>
              </a:lvl9pPr>
            </a:lstStyle>
            <a:p>
              <a:pPr algn="ctr">
                <a:spcBef>
                  <a:spcPct val="20000"/>
                </a:spcBef>
              </a:pPr>
              <a:r>
                <a:rPr lang="en-US" altLang="ko-KR" sz="1200" u="none" dirty="0">
                  <a:solidFill>
                    <a:srgbClr val="C00000"/>
                  </a:solidFill>
                  <a:latin typeface="맑은 고딕" pitchFamily="50" charset="-127"/>
                </a:rPr>
                <a:t>AS - IS</a:t>
              </a:r>
            </a:p>
          </p:txBody>
        </p:sp>
        <p:sp>
          <p:nvSpPr>
            <p:cNvPr id="281642" name="Line 6"/>
            <p:cNvSpPr>
              <a:spLocks noChangeShapeType="1"/>
            </p:cNvSpPr>
            <p:nvPr/>
          </p:nvSpPr>
          <p:spPr bwMode="auto">
            <a:xfrm>
              <a:off x="172" y="964"/>
              <a:ext cx="816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anchor="b"/>
            <a:lstStyle/>
            <a:p>
              <a:endParaRPr lang="ko-KR" altLang="en-US">
                <a:solidFill>
                  <a:srgbClr val="000000"/>
                </a:solidFill>
                <a:latin typeface="맑은 고딕" pitchFamily="50" charset="-127"/>
              </a:endParaRPr>
            </a:p>
          </p:txBody>
        </p:sp>
      </p:grpSp>
      <p:sp>
        <p:nvSpPr>
          <p:cNvPr id="13" name="Rectangle 17"/>
          <p:cNvSpPr>
            <a:spLocks noChangeArrowheads="1"/>
          </p:cNvSpPr>
          <p:nvPr/>
        </p:nvSpPr>
        <p:spPr bwMode="auto">
          <a:xfrm>
            <a:off x="342900" y="3354388"/>
            <a:ext cx="649288" cy="798512"/>
          </a:xfrm>
          <a:prstGeom prst="rect">
            <a:avLst/>
          </a:prstGeom>
          <a:solidFill>
            <a:srgbClr val="FF9933"/>
          </a:solidFill>
          <a:ln w="12700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120000"/>
              </a:lnSpc>
              <a:defRPr/>
            </a:pPr>
            <a:r>
              <a:rPr lang="ko-KR" altLang="en-US" sz="1200" u="none" dirty="0">
                <a:solidFill>
                  <a:srgbClr val="000000"/>
                </a:solidFill>
                <a:latin typeface="맑은 고딕" pitchFamily="50" charset="-127"/>
                <a:cs typeface="Arial Unicode MS" pitchFamily="50" charset="-127"/>
              </a:rPr>
              <a:t>주기</a:t>
            </a:r>
            <a:endParaRPr lang="en-US" altLang="ko-KR" sz="1200" u="none" dirty="0">
              <a:solidFill>
                <a:srgbClr val="000000"/>
              </a:solidFill>
              <a:latin typeface="맑은 고딕" pitchFamily="50" charset="-127"/>
              <a:cs typeface="Arial Unicode MS" pitchFamily="50" charset="-127"/>
            </a:endParaRPr>
          </a:p>
        </p:txBody>
      </p:sp>
      <p:sp>
        <p:nvSpPr>
          <p:cNvPr id="14" name="Rectangle 17"/>
          <p:cNvSpPr>
            <a:spLocks noChangeArrowheads="1"/>
          </p:cNvSpPr>
          <p:nvPr/>
        </p:nvSpPr>
        <p:spPr bwMode="auto">
          <a:xfrm>
            <a:off x="342900" y="4198938"/>
            <a:ext cx="649288" cy="798512"/>
          </a:xfrm>
          <a:prstGeom prst="rect">
            <a:avLst/>
          </a:prstGeom>
          <a:solidFill>
            <a:srgbClr val="FF9933"/>
          </a:solidFill>
          <a:ln w="12700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120000"/>
              </a:lnSpc>
              <a:defRPr/>
            </a:pPr>
            <a:r>
              <a:rPr lang="ko-KR" altLang="en-US" sz="1200" u="none" dirty="0">
                <a:solidFill>
                  <a:srgbClr val="000000"/>
                </a:solidFill>
                <a:latin typeface="맑은 고딕" pitchFamily="50" charset="-127"/>
                <a:cs typeface="Arial Unicode MS" pitchFamily="50" charset="-127"/>
              </a:rPr>
              <a:t>대상</a:t>
            </a:r>
            <a:endParaRPr lang="en-US" altLang="ko-KR" sz="1200" u="none" dirty="0">
              <a:solidFill>
                <a:srgbClr val="000000"/>
              </a:solidFill>
              <a:latin typeface="맑은 고딕" pitchFamily="50" charset="-127"/>
              <a:cs typeface="Arial Unicode MS" pitchFamily="50" charset="-127"/>
            </a:endParaRPr>
          </a:p>
        </p:txBody>
      </p:sp>
      <p:sp>
        <p:nvSpPr>
          <p:cNvPr id="15" name="Rectangle 17"/>
          <p:cNvSpPr>
            <a:spLocks noChangeArrowheads="1"/>
          </p:cNvSpPr>
          <p:nvPr/>
        </p:nvSpPr>
        <p:spPr bwMode="auto">
          <a:xfrm>
            <a:off x="342900" y="5056188"/>
            <a:ext cx="649288" cy="798512"/>
          </a:xfrm>
          <a:prstGeom prst="rect">
            <a:avLst/>
          </a:prstGeom>
          <a:solidFill>
            <a:srgbClr val="FF9933"/>
          </a:solidFill>
          <a:ln w="12700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120000"/>
              </a:lnSpc>
              <a:defRPr/>
            </a:pPr>
            <a:r>
              <a:rPr lang="ko-KR" altLang="en-US" sz="1200" u="none" dirty="0">
                <a:solidFill>
                  <a:srgbClr val="000000"/>
                </a:solidFill>
                <a:latin typeface="맑은 고딕" pitchFamily="50" charset="-127"/>
                <a:cs typeface="Arial Unicode MS" pitchFamily="50" charset="-127"/>
              </a:rPr>
              <a:t>정확도</a:t>
            </a:r>
            <a:endParaRPr lang="en-US" altLang="ko-KR" sz="1200" u="none" dirty="0">
              <a:solidFill>
                <a:srgbClr val="000000"/>
              </a:solidFill>
              <a:latin typeface="맑은 고딕" pitchFamily="50" charset="-127"/>
              <a:cs typeface="Arial Unicode MS" pitchFamily="50" charset="-127"/>
            </a:endParaRPr>
          </a:p>
        </p:txBody>
      </p:sp>
      <p:sp>
        <p:nvSpPr>
          <p:cNvPr id="281611" name="AutoShape 6"/>
          <p:cNvSpPr>
            <a:spLocks noChangeAspect="1" noChangeArrowheads="1"/>
          </p:cNvSpPr>
          <p:nvPr/>
        </p:nvSpPr>
        <p:spPr bwMode="auto">
          <a:xfrm rot="5400000">
            <a:off x="2624932" y="3669506"/>
            <a:ext cx="584200" cy="214313"/>
          </a:xfrm>
          <a:prstGeom prst="triangle">
            <a:avLst>
              <a:gd name="adj" fmla="val 50000"/>
            </a:avLst>
          </a:prstGeom>
          <a:solidFill>
            <a:srgbClr val="FFCC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endParaRPr lang="ko-KR" altLang="en-US" sz="120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281612" name="AutoShape 6"/>
          <p:cNvSpPr>
            <a:spLocks noChangeAspect="1" noChangeArrowheads="1"/>
          </p:cNvSpPr>
          <p:nvPr/>
        </p:nvSpPr>
        <p:spPr bwMode="auto">
          <a:xfrm rot="5400000">
            <a:off x="2624932" y="4491831"/>
            <a:ext cx="584200" cy="214313"/>
          </a:xfrm>
          <a:prstGeom prst="triangle">
            <a:avLst>
              <a:gd name="adj" fmla="val 50000"/>
            </a:avLst>
          </a:prstGeom>
          <a:solidFill>
            <a:srgbClr val="FFCC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endParaRPr lang="ko-KR" altLang="en-US" sz="120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281613" name="AutoShape 6"/>
          <p:cNvSpPr>
            <a:spLocks noChangeAspect="1" noChangeArrowheads="1"/>
          </p:cNvSpPr>
          <p:nvPr/>
        </p:nvSpPr>
        <p:spPr bwMode="auto">
          <a:xfrm rot="5400000">
            <a:off x="2624932" y="5312568"/>
            <a:ext cx="584200" cy="214313"/>
          </a:xfrm>
          <a:prstGeom prst="triangle">
            <a:avLst>
              <a:gd name="adj" fmla="val 50000"/>
            </a:avLst>
          </a:prstGeom>
          <a:solidFill>
            <a:srgbClr val="FFCC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endParaRPr lang="ko-KR" altLang="en-US" sz="120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281614" name="Line 25"/>
          <p:cNvSpPr>
            <a:spLocks noChangeShapeType="1"/>
          </p:cNvSpPr>
          <p:nvPr/>
        </p:nvSpPr>
        <p:spPr bwMode="auto">
          <a:xfrm flipV="1">
            <a:off x="3095625" y="4176713"/>
            <a:ext cx="1698625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281615" name="Line 27"/>
          <p:cNvSpPr>
            <a:spLocks noChangeShapeType="1"/>
          </p:cNvSpPr>
          <p:nvPr/>
        </p:nvSpPr>
        <p:spPr bwMode="auto">
          <a:xfrm>
            <a:off x="3095625" y="5854700"/>
            <a:ext cx="16906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281616" name="Line 25"/>
          <p:cNvSpPr>
            <a:spLocks noChangeShapeType="1"/>
          </p:cNvSpPr>
          <p:nvPr/>
        </p:nvSpPr>
        <p:spPr bwMode="auto">
          <a:xfrm flipV="1">
            <a:off x="3095625" y="5033963"/>
            <a:ext cx="1690688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281617" name="Line 25"/>
          <p:cNvSpPr>
            <a:spLocks noChangeShapeType="1"/>
          </p:cNvSpPr>
          <p:nvPr/>
        </p:nvSpPr>
        <p:spPr bwMode="auto">
          <a:xfrm flipV="1">
            <a:off x="1023938" y="4176713"/>
            <a:ext cx="1697037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281618" name="Line 27"/>
          <p:cNvSpPr>
            <a:spLocks noChangeShapeType="1"/>
          </p:cNvSpPr>
          <p:nvPr/>
        </p:nvSpPr>
        <p:spPr bwMode="auto">
          <a:xfrm>
            <a:off x="1023938" y="5856288"/>
            <a:ext cx="1690687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281619" name="Line 25"/>
          <p:cNvSpPr>
            <a:spLocks noChangeShapeType="1"/>
          </p:cNvSpPr>
          <p:nvPr/>
        </p:nvSpPr>
        <p:spPr bwMode="auto">
          <a:xfrm flipV="1">
            <a:off x="1023938" y="5033963"/>
            <a:ext cx="1690687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>
              <a:solidFill>
                <a:srgbClr val="000000"/>
              </a:solidFill>
              <a:latin typeface="맑은 고딕" pitchFamily="50" charset="-127"/>
            </a:endParaRPr>
          </a:p>
        </p:txBody>
      </p:sp>
      <p:grpSp>
        <p:nvGrpSpPr>
          <p:cNvPr id="3" name="Group 88"/>
          <p:cNvGrpSpPr>
            <a:grpSpLocks/>
          </p:cNvGrpSpPr>
          <p:nvPr/>
        </p:nvGrpSpPr>
        <p:grpSpPr bwMode="auto">
          <a:xfrm>
            <a:off x="3086100" y="3113088"/>
            <a:ext cx="1689100" cy="241300"/>
            <a:chOff x="172" y="841"/>
            <a:chExt cx="816" cy="123"/>
          </a:xfrm>
        </p:grpSpPr>
        <p:sp>
          <p:nvSpPr>
            <p:cNvPr id="281639" name="Text Box 5"/>
            <p:cNvSpPr txBox="1">
              <a:spLocks noChangeArrowheads="1"/>
            </p:cNvSpPr>
            <p:nvPr/>
          </p:nvSpPr>
          <p:spPr bwMode="auto">
            <a:xfrm>
              <a:off x="280" y="841"/>
              <a:ext cx="582" cy="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400" b="1" u="sng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400" b="1" u="sng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400" b="1" u="sng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400" b="1" u="sng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400" b="1" u="sng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 u="sng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 u="sng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 u="sng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 u="sng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</a:defRPr>
              </a:lvl9pPr>
            </a:lstStyle>
            <a:p>
              <a:pPr algn="ctr">
                <a:spcBef>
                  <a:spcPct val="20000"/>
                </a:spcBef>
              </a:pPr>
              <a:r>
                <a:rPr lang="en-US" altLang="ko-KR" sz="1200" u="none">
                  <a:solidFill>
                    <a:srgbClr val="C00000"/>
                  </a:solidFill>
                  <a:latin typeface="맑은 고딕" pitchFamily="50" charset="-127"/>
                </a:rPr>
                <a:t>TO - BE</a:t>
              </a:r>
            </a:p>
          </p:txBody>
        </p:sp>
        <p:sp>
          <p:nvSpPr>
            <p:cNvPr id="281640" name="Line 6"/>
            <p:cNvSpPr>
              <a:spLocks noChangeShapeType="1"/>
            </p:cNvSpPr>
            <p:nvPr/>
          </p:nvSpPr>
          <p:spPr bwMode="auto">
            <a:xfrm>
              <a:off x="172" y="964"/>
              <a:ext cx="816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anchor="b"/>
            <a:lstStyle/>
            <a:p>
              <a:endParaRPr lang="ko-KR" altLang="en-US">
                <a:solidFill>
                  <a:srgbClr val="000000"/>
                </a:solidFill>
                <a:latin typeface="맑은 고딕" pitchFamily="50" charset="-127"/>
              </a:endParaRPr>
            </a:p>
          </p:txBody>
        </p:sp>
      </p:grpSp>
      <p:sp>
        <p:nvSpPr>
          <p:cNvPr id="29" name="직사각형 28"/>
          <p:cNvSpPr/>
          <p:nvPr/>
        </p:nvSpPr>
        <p:spPr>
          <a:xfrm>
            <a:off x="989013" y="3498850"/>
            <a:ext cx="2063750" cy="5365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95250" indent="-95250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kumimoji="1" lang="ko-KR" altLang="en-US" sz="1200" u="none" spc="-50" dirty="0">
                <a:solidFill>
                  <a:srgbClr val="000000"/>
                </a:solidFill>
                <a:latin typeface="맑은 고딕" pitchFamily="50" charset="-127"/>
              </a:rPr>
              <a:t>월 </a:t>
            </a:r>
            <a:r>
              <a:rPr kumimoji="1" lang="en-US" altLang="ko-KR" sz="1200" u="none" spc="-50" dirty="0">
                <a:solidFill>
                  <a:srgbClr val="000000"/>
                </a:solidFill>
                <a:latin typeface="맑은 고딕" pitchFamily="50" charset="-127"/>
              </a:rPr>
              <a:t>1</a:t>
            </a:r>
            <a:r>
              <a:rPr kumimoji="1" lang="ko-KR" altLang="en-US" sz="1200" u="none" spc="-50" dirty="0">
                <a:solidFill>
                  <a:srgbClr val="000000"/>
                </a:solidFill>
                <a:latin typeface="맑은 고딕" pitchFamily="50" charset="-127"/>
              </a:rPr>
              <a:t>회 예측</a:t>
            </a:r>
            <a:endParaRPr kumimoji="1" lang="en-US" altLang="ko-KR" sz="1200" u="none" spc="-50" dirty="0">
              <a:solidFill>
                <a:srgbClr val="000000"/>
              </a:solidFill>
              <a:latin typeface="맑은 고딕" pitchFamily="50" charset="-127"/>
            </a:endParaRPr>
          </a:p>
          <a:p>
            <a:pPr marL="95250" indent="-95250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kumimoji="1" lang="ko-KR" altLang="en-US" sz="1200" u="none" spc="-50" dirty="0">
                <a:solidFill>
                  <a:srgbClr val="000000"/>
                </a:solidFill>
                <a:latin typeface="맑은 고딕" pitchFamily="50" charset="-127"/>
              </a:rPr>
              <a:t>주 </a:t>
            </a:r>
            <a:r>
              <a:rPr kumimoji="1" lang="en-US" altLang="ko-KR" sz="1200" u="none" spc="-50" dirty="0">
                <a:solidFill>
                  <a:srgbClr val="000000"/>
                </a:solidFill>
                <a:latin typeface="맑은 고딕" pitchFamily="50" charset="-127"/>
              </a:rPr>
              <a:t>1</a:t>
            </a:r>
            <a:r>
              <a:rPr kumimoji="1" lang="ko-KR" altLang="en-US" sz="1200" u="none" spc="-50" dirty="0">
                <a:solidFill>
                  <a:srgbClr val="000000"/>
                </a:solidFill>
                <a:latin typeface="맑은 고딕" pitchFamily="50" charset="-127"/>
              </a:rPr>
              <a:t>회 예측 업데이트</a:t>
            </a:r>
            <a:endParaRPr kumimoji="1" lang="en-US" altLang="ko-KR" sz="1200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2981325" y="3603625"/>
            <a:ext cx="2305050" cy="2952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95250" indent="-95250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kumimoji="1" lang="ko-KR" altLang="en-US" sz="1200" u="none" spc="-50" dirty="0" smtClean="0">
                <a:solidFill>
                  <a:srgbClr val="000000"/>
                </a:solidFill>
                <a:latin typeface="맑은 고딕" pitchFamily="50" charset="-127"/>
              </a:rPr>
              <a:t>월</a:t>
            </a:r>
            <a:r>
              <a:rPr kumimoji="1" lang="en-US" altLang="ko-KR" sz="1200" u="none" spc="-50" dirty="0" smtClean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200" u="none" spc="-50" dirty="0" smtClean="0">
                <a:solidFill>
                  <a:srgbClr val="000000"/>
                </a:solidFill>
                <a:latin typeface="맑은 고딕" pitchFamily="50" charset="-127"/>
              </a:rPr>
              <a:t>주 판매량 매주 예측</a:t>
            </a:r>
            <a:endParaRPr kumimoji="1" lang="en-US" altLang="ko-KR" sz="1200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989013" y="5080000"/>
            <a:ext cx="2141537" cy="7016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95250" indent="-95250">
              <a:lnSpc>
                <a:spcPct val="110000"/>
              </a:lnSpc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kumimoji="1" lang="ko-KR" altLang="en-US" sz="1200" u="none" spc="-70" dirty="0">
                <a:solidFill>
                  <a:srgbClr val="000000"/>
                </a:solidFill>
                <a:latin typeface="맑은 고딕" pitchFamily="50" charset="-127"/>
              </a:rPr>
              <a:t>실적 </a:t>
            </a:r>
            <a:r>
              <a:rPr kumimoji="1" lang="en-US" altLang="ko-KR" sz="1200" u="none" spc="-70" dirty="0">
                <a:solidFill>
                  <a:srgbClr val="000000"/>
                </a:solidFill>
                <a:latin typeface="맑은 고딕" pitchFamily="50" charset="-127"/>
              </a:rPr>
              <a:t>vs.</a:t>
            </a:r>
            <a:r>
              <a:rPr kumimoji="1" lang="ko-KR" altLang="en-US" sz="1200" u="none" spc="-70" dirty="0">
                <a:solidFill>
                  <a:srgbClr val="000000"/>
                </a:solidFill>
                <a:latin typeface="맑은 고딕" pitchFamily="50" charset="-127"/>
              </a:rPr>
              <a:t> 예측 차이 발생</a:t>
            </a:r>
            <a:r>
              <a:rPr kumimoji="1" lang="en-US" altLang="ko-KR" sz="1200" u="none" spc="-50" dirty="0">
                <a:solidFill>
                  <a:srgbClr val="000000"/>
                </a:solidFill>
                <a:latin typeface="맑은 고딕" pitchFamily="50" charset="-127"/>
              </a:rPr>
              <a:t/>
            </a:r>
            <a:br>
              <a:rPr kumimoji="1" lang="en-US" altLang="ko-KR" sz="1200" u="none" spc="-50" dirty="0">
                <a:solidFill>
                  <a:srgbClr val="000000"/>
                </a:solidFill>
                <a:latin typeface="맑은 고딕" pitchFamily="50" charset="-127"/>
              </a:rPr>
            </a:br>
            <a:r>
              <a:rPr kumimoji="1" lang="en-US" altLang="ko-KR" sz="1200" u="none" spc="-50" dirty="0">
                <a:solidFill>
                  <a:srgbClr val="000000"/>
                </a:solidFill>
                <a:latin typeface="맑은 고딕" pitchFamily="50" charset="-127"/>
              </a:rPr>
              <a:t>- </a:t>
            </a:r>
            <a:r>
              <a:rPr kumimoji="1" lang="ko-KR" altLang="en-US" sz="1200" u="none" spc="-50" dirty="0">
                <a:solidFill>
                  <a:srgbClr val="000000"/>
                </a:solidFill>
                <a:latin typeface="맑은 고딕" pitchFamily="50" charset="-127"/>
              </a:rPr>
              <a:t>영업 예측 편차</a:t>
            </a:r>
            <a:r>
              <a:rPr kumimoji="1" lang="en-US" altLang="ko-KR" sz="1200" u="none" spc="-50" dirty="0">
                <a:solidFill>
                  <a:srgbClr val="000000"/>
                </a:solidFill>
                <a:latin typeface="맑은 고딕" pitchFamily="50" charset="-127"/>
              </a:rPr>
              <a:t/>
            </a:r>
            <a:br>
              <a:rPr kumimoji="1" lang="en-US" altLang="ko-KR" sz="1200" u="none" spc="-50" dirty="0">
                <a:solidFill>
                  <a:srgbClr val="000000"/>
                </a:solidFill>
                <a:latin typeface="맑은 고딕" pitchFamily="50" charset="-127"/>
              </a:rPr>
            </a:br>
            <a:r>
              <a:rPr kumimoji="1" lang="en-US" altLang="ko-KR" sz="1200" u="none" spc="-50" dirty="0">
                <a:solidFill>
                  <a:srgbClr val="000000"/>
                </a:solidFill>
                <a:latin typeface="맑은 고딕" pitchFamily="50" charset="-127"/>
              </a:rPr>
              <a:t>  : 3~10%</a:t>
            </a:r>
          </a:p>
        </p:txBody>
      </p:sp>
      <p:sp>
        <p:nvSpPr>
          <p:cNvPr id="32" name="직사각형 31"/>
          <p:cNvSpPr/>
          <p:nvPr/>
        </p:nvSpPr>
        <p:spPr>
          <a:xfrm>
            <a:off x="2970213" y="5080000"/>
            <a:ext cx="2306637" cy="7016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95250" indent="-95250">
              <a:lnSpc>
                <a:spcPct val="110000"/>
              </a:lnSpc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kumimoji="1" lang="ko-KR" altLang="en-US" sz="1200" u="none" spc="-50" dirty="0">
                <a:solidFill>
                  <a:srgbClr val="000000"/>
                </a:solidFill>
                <a:latin typeface="맑은 고딕" pitchFamily="50" charset="-127"/>
              </a:rPr>
              <a:t>실적 </a:t>
            </a:r>
            <a:r>
              <a:rPr kumimoji="1" lang="en-US" altLang="ko-KR" sz="1200" u="none" spc="-50" dirty="0">
                <a:solidFill>
                  <a:srgbClr val="000000"/>
                </a:solidFill>
                <a:latin typeface="맑은 고딕" pitchFamily="50" charset="-127"/>
              </a:rPr>
              <a:t>vs.</a:t>
            </a:r>
            <a:r>
              <a:rPr kumimoji="1" lang="ko-KR" altLang="en-US" sz="1200" u="none" spc="-50" dirty="0">
                <a:solidFill>
                  <a:srgbClr val="000000"/>
                </a:solidFill>
                <a:latin typeface="맑은 고딕" pitchFamily="50" charset="-127"/>
              </a:rPr>
              <a:t> 예측 </a:t>
            </a:r>
            <a:r>
              <a:rPr kumimoji="1" lang="en-US" altLang="ko-KR" sz="1200" u="none" spc="-50" dirty="0" smtClean="0">
                <a:solidFill>
                  <a:srgbClr val="000000"/>
                </a:solidFill>
                <a:latin typeface="맑은 고딕" pitchFamily="50" charset="-127"/>
              </a:rPr>
              <a:t>Gap</a:t>
            </a:r>
            <a:r>
              <a:rPr kumimoji="1" lang="ko-KR" altLang="en-US" sz="1200" u="none" spc="-50" dirty="0" smtClean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kumimoji="1" lang="ko-KR" altLang="en-US" sz="1200" u="none" spc="-50" dirty="0">
                <a:solidFill>
                  <a:srgbClr val="000000"/>
                </a:solidFill>
                <a:latin typeface="맑은 고딕" pitchFamily="50" charset="-127"/>
              </a:rPr>
              <a:t>최소화</a:t>
            </a:r>
            <a:r>
              <a:rPr kumimoji="1" lang="en-US" altLang="ko-KR" sz="1200" u="none" spc="-50" dirty="0">
                <a:solidFill>
                  <a:srgbClr val="000000"/>
                </a:solidFill>
                <a:latin typeface="맑은 고딕" pitchFamily="50" charset="-127"/>
              </a:rPr>
              <a:t/>
            </a:r>
            <a:br>
              <a:rPr kumimoji="1" lang="en-US" altLang="ko-KR" sz="1200" u="none" spc="-50" dirty="0">
                <a:solidFill>
                  <a:srgbClr val="000000"/>
                </a:solidFill>
                <a:latin typeface="맑은 고딕" pitchFamily="50" charset="-127"/>
              </a:rPr>
            </a:br>
            <a:r>
              <a:rPr kumimoji="1" lang="en-US" altLang="ko-KR" sz="1200" u="none" spc="-50" dirty="0" smtClean="0">
                <a:solidFill>
                  <a:srgbClr val="000000"/>
                </a:solidFill>
                <a:latin typeface="맑은 고딕" pitchFamily="50" charset="-127"/>
              </a:rPr>
              <a:t>- </a:t>
            </a:r>
            <a:r>
              <a:rPr kumimoji="1" lang="ko-KR" altLang="en-US" sz="1200" u="none" spc="-50" dirty="0" smtClean="0">
                <a:solidFill>
                  <a:srgbClr val="000000"/>
                </a:solidFill>
                <a:latin typeface="맑은 고딕" pitchFamily="50" charset="-127"/>
              </a:rPr>
              <a:t>회사 전체 </a:t>
            </a:r>
            <a:r>
              <a:rPr kumimoji="1" lang="en-US" altLang="ko-KR" sz="1200" u="none" spc="-50" dirty="0" smtClean="0">
                <a:solidFill>
                  <a:srgbClr val="000000"/>
                </a:solidFill>
                <a:latin typeface="맑은 고딕" pitchFamily="50" charset="-127"/>
              </a:rPr>
              <a:t>: 96%</a:t>
            </a:r>
            <a:br>
              <a:rPr kumimoji="1" lang="en-US" altLang="ko-KR" sz="1200" u="none" spc="-50" dirty="0" smtClean="0">
                <a:solidFill>
                  <a:srgbClr val="000000"/>
                </a:solidFill>
                <a:latin typeface="맑은 고딕" pitchFamily="50" charset="-127"/>
              </a:rPr>
            </a:br>
            <a:r>
              <a:rPr kumimoji="1" lang="en-US" altLang="ko-KR" sz="1200" u="none" spc="-50" dirty="0" smtClean="0">
                <a:solidFill>
                  <a:srgbClr val="000000"/>
                </a:solidFill>
                <a:latin typeface="맑은 고딕" pitchFamily="50" charset="-127"/>
              </a:rPr>
              <a:t>  </a:t>
            </a:r>
            <a:r>
              <a:rPr kumimoji="1" lang="ko-KR" altLang="en-US" sz="1200" u="none" spc="-50" dirty="0" smtClean="0">
                <a:solidFill>
                  <a:srgbClr val="000000"/>
                </a:solidFill>
                <a:latin typeface="맑은 고딕" pitchFamily="50" charset="-127"/>
              </a:rPr>
              <a:t>브랜드</a:t>
            </a:r>
            <a:r>
              <a:rPr kumimoji="1" lang="en-US" altLang="ko-KR" sz="1200" u="none" spc="-50" dirty="0" smtClean="0">
                <a:solidFill>
                  <a:srgbClr val="000000"/>
                </a:solidFill>
                <a:latin typeface="맑은 고딕" pitchFamily="50" charset="-127"/>
              </a:rPr>
              <a:t>*</a:t>
            </a:r>
            <a:r>
              <a:rPr kumimoji="1" lang="ko-KR" altLang="en-US" sz="1200" u="none" spc="-50" dirty="0" smtClean="0">
                <a:solidFill>
                  <a:srgbClr val="000000"/>
                </a:solidFill>
                <a:latin typeface="맑은 고딕" pitchFamily="50" charset="-127"/>
              </a:rPr>
              <a:t>패키지 </a:t>
            </a:r>
            <a:r>
              <a:rPr kumimoji="1" lang="en-US" altLang="ko-KR" sz="1200" u="none" spc="-50" dirty="0" smtClean="0">
                <a:solidFill>
                  <a:srgbClr val="000000"/>
                </a:solidFill>
                <a:latin typeface="맑은 고딕" pitchFamily="50" charset="-127"/>
              </a:rPr>
              <a:t>: 95%</a:t>
            </a:r>
            <a:endParaRPr kumimoji="1" lang="en-US" altLang="ko-KR" sz="1200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989013" y="4375150"/>
            <a:ext cx="2000250" cy="461963"/>
          </a:xfrm>
          <a:prstGeom prst="rect">
            <a:avLst/>
          </a:prstGeom>
        </p:spPr>
        <p:txBody>
          <a:bodyPr>
            <a:spAutoFit/>
          </a:bodyPr>
          <a:lstStyle/>
          <a:p>
            <a:pPr marL="95250" indent="-95250">
              <a:spcBef>
                <a:spcPts val="3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kumimoji="1" lang="en-US" altLang="ko-KR" sz="1200" u="none" spc="-50" dirty="0">
                <a:solidFill>
                  <a:srgbClr val="000000"/>
                </a:solidFill>
                <a:latin typeface="맑은 고딕" pitchFamily="50" charset="-127"/>
              </a:rPr>
              <a:t>3</a:t>
            </a:r>
            <a:r>
              <a:rPr kumimoji="1" lang="ko-KR" altLang="en-US" sz="1200" u="none" spc="-50" dirty="0">
                <a:solidFill>
                  <a:srgbClr val="000000"/>
                </a:solidFill>
                <a:latin typeface="맑은 고딕" pitchFamily="50" charset="-127"/>
              </a:rPr>
              <a:t>개월</a:t>
            </a:r>
            <a:r>
              <a:rPr kumimoji="1" lang="en-US" altLang="ko-KR" sz="1200" u="none" spc="-50" dirty="0">
                <a:solidFill>
                  <a:srgbClr val="000000"/>
                </a:solidFill>
                <a:latin typeface="맑은 고딕" pitchFamily="50" charset="-127"/>
              </a:rPr>
              <a:t>, 12</a:t>
            </a:r>
            <a:r>
              <a:rPr kumimoji="1" lang="ko-KR" altLang="en-US" sz="1200" u="none" spc="-50" dirty="0">
                <a:solidFill>
                  <a:srgbClr val="000000"/>
                </a:solidFill>
                <a:latin typeface="맑은 고딕" pitchFamily="50" charset="-127"/>
              </a:rPr>
              <a:t>주 판매량</a:t>
            </a:r>
            <a:r>
              <a:rPr kumimoji="1" lang="en-US" altLang="ko-KR" sz="1200" u="none" spc="-50" dirty="0">
                <a:solidFill>
                  <a:srgbClr val="000000"/>
                </a:solidFill>
                <a:latin typeface="맑은 고딕" pitchFamily="50" charset="-127"/>
              </a:rPr>
              <a:t/>
            </a:r>
            <a:br>
              <a:rPr kumimoji="1" lang="en-US" altLang="ko-KR" sz="1200" u="none" spc="-50" dirty="0">
                <a:solidFill>
                  <a:srgbClr val="000000"/>
                </a:solidFill>
                <a:latin typeface="맑은 고딕" pitchFamily="50" charset="-127"/>
              </a:rPr>
            </a:br>
            <a:r>
              <a:rPr kumimoji="1" lang="en-US" altLang="ko-KR" sz="1200" u="none" spc="-50" dirty="0">
                <a:solidFill>
                  <a:srgbClr val="000000"/>
                </a:solidFill>
                <a:latin typeface="맑은 고딕" pitchFamily="50" charset="-127"/>
              </a:rPr>
              <a:t>(</a:t>
            </a:r>
            <a:r>
              <a:rPr kumimoji="1" lang="ko-KR" altLang="en-US" sz="1200" u="none" spc="-50" dirty="0">
                <a:solidFill>
                  <a:srgbClr val="000000"/>
                </a:solidFill>
                <a:latin typeface="맑은 고딕" pitchFamily="50" charset="-127"/>
              </a:rPr>
              <a:t>회사전체</a:t>
            </a:r>
            <a:r>
              <a:rPr kumimoji="1" lang="en-US" altLang="ko-KR" sz="1200" u="none" spc="-50" dirty="0">
                <a:solidFill>
                  <a:srgbClr val="000000"/>
                </a:solidFill>
                <a:latin typeface="맑은 고딕" pitchFamily="50" charset="-127"/>
              </a:rPr>
              <a:t>, 4-</a:t>
            </a:r>
            <a:r>
              <a:rPr kumimoji="1" lang="ko-KR" altLang="en-US" sz="1200" u="none" spc="-50" dirty="0">
                <a:solidFill>
                  <a:srgbClr val="000000"/>
                </a:solidFill>
                <a:latin typeface="맑은 고딕" pitchFamily="50" charset="-127"/>
              </a:rPr>
              <a:t>패키지</a:t>
            </a:r>
            <a:r>
              <a:rPr kumimoji="1" lang="en-US" altLang="ko-KR" sz="1200" u="none" spc="-50" dirty="0">
                <a:solidFill>
                  <a:srgbClr val="000000"/>
                </a:solidFill>
                <a:latin typeface="맑은 고딕" pitchFamily="50" charset="-127"/>
              </a:rPr>
              <a:t>)</a:t>
            </a:r>
          </a:p>
        </p:txBody>
      </p:sp>
      <p:sp>
        <p:nvSpPr>
          <p:cNvPr id="34" name="직사각형 33"/>
          <p:cNvSpPr/>
          <p:nvPr/>
        </p:nvSpPr>
        <p:spPr>
          <a:xfrm>
            <a:off x="2981325" y="4141788"/>
            <a:ext cx="2414588" cy="869950"/>
          </a:xfrm>
          <a:prstGeom prst="rect">
            <a:avLst/>
          </a:prstGeom>
        </p:spPr>
        <p:txBody>
          <a:bodyPr>
            <a:spAutoFit/>
          </a:bodyPr>
          <a:lstStyle/>
          <a:p>
            <a:pPr marL="95250" indent="-95250">
              <a:spcBef>
                <a:spcPts val="3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kumimoji="1" lang="en-US" altLang="ko-KR" sz="1200" u="none" spc="-50" dirty="0">
                <a:solidFill>
                  <a:srgbClr val="000000"/>
                </a:solidFill>
                <a:latin typeface="맑은 고딕" pitchFamily="50" charset="-127"/>
              </a:rPr>
              <a:t>1</a:t>
            </a:r>
            <a:r>
              <a:rPr kumimoji="1" lang="ko-KR" altLang="en-US" sz="1200" u="none" spc="-50" dirty="0">
                <a:solidFill>
                  <a:srgbClr val="000000"/>
                </a:solidFill>
                <a:latin typeface="맑은 고딕" pitchFamily="50" charset="-127"/>
              </a:rPr>
              <a:t>개월 판매량</a:t>
            </a:r>
            <a:r>
              <a:rPr kumimoji="1" lang="en-US" altLang="ko-KR" sz="1200" u="none" spc="-50" dirty="0">
                <a:solidFill>
                  <a:srgbClr val="000000"/>
                </a:solidFill>
                <a:latin typeface="맑은 고딕" pitchFamily="50" charset="-127"/>
              </a:rPr>
              <a:t/>
            </a:r>
            <a:br>
              <a:rPr kumimoji="1" lang="en-US" altLang="ko-KR" sz="1200" u="none" spc="-50" dirty="0">
                <a:solidFill>
                  <a:srgbClr val="000000"/>
                </a:solidFill>
                <a:latin typeface="맑은 고딕" pitchFamily="50" charset="-127"/>
              </a:rPr>
            </a:br>
            <a:r>
              <a:rPr kumimoji="1" lang="en-US" altLang="ko-KR" sz="1200" u="none" spc="-50" dirty="0">
                <a:solidFill>
                  <a:srgbClr val="000000"/>
                </a:solidFill>
                <a:latin typeface="맑은 고딕" pitchFamily="50" charset="-127"/>
              </a:rPr>
              <a:t>(</a:t>
            </a:r>
            <a:r>
              <a:rPr kumimoji="1" lang="ko-KR" altLang="en-US" sz="1200" u="none" spc="-50" dirty="0">
                <a:solidFill>
                  <a:srgbClr val="000000"/>
                </a:solidFill>
                <a:latin typeface="맑은 고딕" pitchFamily="50" charset="-127"/>
              </a:rPr>
              <a:t>회사전체</a:t>
            </a:r>
            <a:r>
              <a:rPr kumimoji="1" lang="en-US" altLang="ko-KR" sz="1200" u="none" spc="-50" dirty="0">
                <a:solidFill>
                  <a:srgbClr val="000000"/>
                </a:solidFill>
                <a:latin typeface="맑은 고딕" pitchFamily="50" charset="-127"/>
              </a:rPr>
              <a:t>)</a:t>
            </a:r>
          </a:p>
          <a:p>
            <a:pPr marL="95250" indent="-95250">
              <a:spcBef>
                <a:spcPts val="3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kumimoji="1" lang="en-US" altLang="ko-KR" sz="1200" u="none" spc="-50" dirty="0">
                <a:solidFill>
                  <a:srgbClr val="000000"/>
                </a:solidFill>
                <a:latin typeface="맑은 고딕" pitchFamily="50" charset="-127"/>
              </a:rPr>
              <a:t>4</a:t>
            </a:r>
            <a:r>
              <a:rPr kumimoji="1" lang="ko-KR" altLang="en-US" sz="1200" u="none" spc="-50" dirty="0">
                <a:solidFill>
                  <a:srgbClr val="000000"/>
                </a:solidFill>
                <a:latin typeface="맑은 고딕" pitchFamily="50" charset="-127"/>
              </a:rPr>
              <a:t>주 판매량</a:t>
            </a:r>
            <a:r>
              <a:rPr kumimoji="1" lang="en-US" altLang="ko-KR" sz="1200" u="none" spc="-50" dirty="0">
                <a:solidFill>
                  <a:srgbClr val="000000"/>
                </a:solidFill>
                <a:latin typeface="맑은 고딕" pitchFamily="50" charset="-127"/>
              </a:rPr>
              <a:t/>
            </a:r>
            <a:br>
              <a:rPr kumimoji="1" lang="en-US" altLang="ko-KR" sz="1200" u="none" spc="-50" dirty="0">
                <a:solidFill>
                  <a:srgbClr val="000000"/>
                </a:solidFill>
                <a:latin typeface="맑은 고딕" pitchFamily="50" charset="-127"/>
              </a:rPr>
            </a:br>
            <a:r>
              <a:rPr kumimoji="1" lang="en-US" altLang="ko-KR" sz="1200" u="none" spc="-50" dirty="0">
                <a:solidFill>
                  <a:srgbClr val="000000"/>
                </a:solidFill>
                <a:latin typeface="맑은 고딕" pitchFamily="50" charset="-127"/>
              </a:rPr>
              <a:t>(</a:t>
            </a:r>
            <a:r>
              <a:rPr kumimoji="1" lang="ko-KR" altLang="en-US" sz="1200" u="none" spc="-50" dirty="0">
                <a:solidFill>
                  <a:srgbClr val="000000"/>
                </a:solidFill>
                <a:latin typeface="맑은 고딕" pitchFamily="50" charset="-127"/>
              </a:rPr>
              <a:t>브랜드</a:t>
            </a:r>
            <a:r>
              <a:rPr kumimoji="1" lang="en-US" altLang="ko-KR" sz="1200" u="none" spc="-50" dirty="0">
                <a:solidFill>
                  <a:srgbClr val="000000"/>
                </a:solidFill>
                <a:latin typeface="맑은 고딕" pitchFamily="50" charset="-127"/>
              </a:rPr>
              <a:t>*</a:t>
            </a:r>
            <a:r>
              <a:rPr kumimoji="1" lang="ko-KR" altLang="en-US" sz="1200" u="none" spc="-50" dirty="0">
                <a:solidFill>
                  <a:srgbClr val="000000"/>
                </a:solidFill>
                <a:latin typeface="맑은 고딕" pitchFamily="50" charset="-127"/>
              </a:rPr>
              <a:t>패키지</a:t>
            </a:r>
            <a:r>
              <a:rPr kumimoji="1" lang="en-US" altLang="ko-KR" sz="1200" u="none" spc="-50" dirty="0">
                <a:solidFill>
                  <a:srgbClr val="000000"/>
                </a:solidFill>
                <a:latin typeface="맑은 고딕" pitchFamily="50" charset="-127"/>
              </a:rPr>
              <a:t>)</a:t>
            </a:r>
          </a:p>
        </p:txBody>
      </p:sp>
      <p:sp>
        <p:nvSpPr>
          <p:cNvPr id="35" name="직사각형 34"/>
          <p:cNvSpPr/>
          <p:nvPr/>
        </p:nvSpPr>
        <p:spPr>
          <a:xfrm>
            <a:off x="388938" y="2287588"/>
            <a:ext cx="3706812" cy="570926"/>
          </a:xfrm>
          <a:prstGeom prst="rect">
            <a:avLst/>
          </a:prstGeom>
        </p:spPr>
        <p:txBody>
          <a:bodyPr>
            <a:spAutoFit/>
          </a:bodyPr>
          <a:lstStyle/>
          <a:p>
            <a:pPr marL="95250" indent="-95250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kumimoji="1" lang="ko-KR" altLang="en-US" sz="1300" u="none" spc="-50" dirty="0">
                <a:solidFill>
                  <a:srgbClr val="000000"/>
                </a:solidFill>
                <a:latin typeface="맑은 고딕" pitchFamily="50" charset="-127"/>
              </a:rPr>
              <a:t>주 </a:t>
            </a:r>
            <a:r>
              <a:rPr kumimoji="1" lang="ko-KR" altLang="en-US" sz="1300" u="none" spc="-50" dirty="0" smtClean="0">
                <a:solidFill>
                  <a:srgbClr val="000000"/>
                </a:solidFill>
                <a:latin typeface="맑은 고딕" pitchFamily="50" charset="-127"/>
              </a:rPr>
              <a:t>단위로 합리적인 </a:t>
            </a:r>
            <a:r>
              <a:rPr kumimoji="1" lang="en-US" altLang="ko-KR" sz="1300" u="none" spc="-50" dirty="0" smtClean="0">
                <a:solidFill>
                  <a:srgbClr val="000000"/>
                </a:solidFill>
                <a:latin typeface="맑은 고딕" pitchFamily="50" charset="-127"/>
              </a:rPr>
              <a:t>S&amp;OP </a:t>
            </a:r>
            <a:r>
              <a:rPr kumimoji="1" lang="ko-KR" altLang="en-US" sz="1300" u="none" spc="-50" dirty="0">
                <a:solidFill>
                  <a:srgbClr val="000000"/>
                </a:solidFill>
                <a:latin typeface="맑은 고딕" pitchFamily="50" charset="-127"/>
              </a:rPr>
              <a:t>계획 </a:t>
            </a:r>
            <a:r>
              <a:rPr kumimoji="1" lang="ko-KR" altLang="en-US" sz="1300" u="none" spc="-50" dirty="0" smtClean="0">
                <a:solidFill>
                  <a:srgbClr val="000000"/>
                </a:solidFill>
                <a:latin typeface="맑은 고딕" pitchFamily="50" charset="-127"/>
              </a:rPr>
              <a:t>수립</a:t>
            </a:r>
            <a:endParaRPr kumimoji="1" lang="en-US" altLang="ko-KR" sz="1300" u="none" spc="-50" dirty="0">
              <a:solidFill>
                <a:srgbClr val="000000"/>
              </a:solidFill>
              <a:latin typeface="맑은 고딕" pitchFamily="50" charset="-127"/>
            </a:endParaRPr>
          </a:p>
          <a:p>
            <a:pPr marL="95250" indent="-95250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kumimoji="1" lang="ko-KR" altLang="en-US" sz="1300" u="none" spc="-50" dirty="0">
                <a:solidFill>
                  <a:srgbClr val="000000"/>
                </a:solidFill>
                <a:latin typeface="맑은 고딕" pitchFamily="50" charset="-127"/>
              </a:rPr>
              <a:t>예측 대상 </a:t>
            </a:r>
            <a:r>
              <a:rPr kumimoji="1" lang="ko-KR" altLang="en-US" sz="1300" u="none" spc="-50" dirty="0" smtClean="0">
                <a:solidFill>
                  <a:srgbClr val="000000"/>
                </a:solidFill>
                <a:latin typeface="맑은 고딕" pitchFamily="50" charset="-127"/>
              </a:rPr>
              <a:t>확대</a:t>
            </a:r>
            <a:r>
              <a:rPr kumimoji="1" lang="en-US" altLang="ko-KR" sz="1300" u="none" spc="-50" dirty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kumimoji="1" lang="ko-KR" altLang="en-US" sz="1300" u="none" spc="-50" dirty="0" smtClean="0">
                <a:solidFill>
                  <a:srgbClr val="000000"/>
                </a:solidFill>
                <a:latin typeface="맑은 고딕" pitchFamily="50" charset="-127"/>
              </a:rPr>
              <a:t>및 정확도 </a:t>
            </a:r>
            <a:r>
              <a:rPr kumimoji="1" lang="ko-KR" altLang="en-US" sz="1300" u="none" spc="-50" dirty="0">
                <a:solidFill>
                  <a:srgbClr val="000000"/>
                </a:solidFill>
                <a:latin typeface="맑은 고딕" pitchFamily="50" charset="-127"/>
              </a:rPr>
              <a:t>향상</a:t>
            </a:r>
          </a:p>
        </p:txBody>
      </p:sp>
      <p:sp>
        <p:nvSpPr>
          <p:cNvPr id="36" name="Rectangle 17"/>
          <p:cNvSpPr>
            <a:spLocks noChangeArrowheads="1"/>
          </p:cNvSpPr>
          <p:nvPr/>
        </p:nvSpPr>
        <p:spPr bwMode="auto">
          <a:xfrm>
            <a:off x="5385048" y="2988344"/>
            <a:ext cx="1214437" cy="2888928"/>
          </a:xfrm>
          <a:prstGeom prst="rect">
            <a:avLst/>
          </a:prstGeom>
          <a:solidFill>
            <a:srgbClr val="FF9933"/>
          </a:solidFill>
          <a:ln w="12700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120000"/>
              </a:lnSpc>
              <a:defRPr/>
            </a:pPr>
            <a:r>
              <a:rPr lang="ko-KR" altLang="en-US" sz="1200" u="none" dirty="0">
                <a:solidFill>
                  <a:srgbClr val="000000"/>
                </a:solidFill>
                <a:latin typeface="맑은 고딕" pitchFamily="50" charset="-127"/>
                <a:cs typeface="Arial Unicode MS" pitchFamily="50" charset="-127"/>
              </a:rPr>
              <a:t>판매량</a:t>
            </a:r>
            <a:endParaRPr lang="en-US" altLang="ko-KR" sz="1200" u="none" dirty="0">
              <a:solidFill>
                <a:srgbClr val="000000"/>
              </a:solidFill>
              <a:latin typeface="맑은 고딕" pitchFamily="50" charset="-127"/>
              <a:cs typeface="Arial Unicode MS" pitchFamily="50" charset="-127"/>
            </a:endParaRPr>
          </a:p>
          <a:p>
            <a:pPr algn="ctr">
              <a:lnSpc>
                <a:spcPct val="120000"/>
              </a:lnSpc>
              <a:defRPr/>
            </a:pPr>
            <a:r>
              <a:rPr lang="ko-KR" altLang="en-US" sz="1200" u="none" dirty="0">
                <a:solidFill>
                  <a:srgbClr val="000000"/>
                </a:solidFill>
                <a:latin typeface="맑은 고딕" pitchFamily="50" charset="-127"/>
                <a:cs typeface="Arial Unicode MS" pitchFamily="50" charset="-127"/>
              </a:rPr>
              <a:t>예측 모형</a:t>
            </a:r>
            <a:endParaRPr lang="en-US" altLang="ko-KR" sz="1200" u="none" dirty="0">
              <a:solidFill>
                <a:srgbClr val="000000"/>
              </a:solidFill>
              <a:latin typeface="맑은 고딕" pitchFamily="50" charset="-127"/>
              <a:cs typeface="Arial Unicode MS" pitchFamily="50" charset="-127"/>
            </a:endParaRPr>
          </a:p>
        </p:txBody>
      </p:sp>
      <p:sp>
        <p:nvSpPr>
          <p:cNvPr id="38" name="직사각형 37"/>
          <p:cNvSpPr/>
          <p:nvPr/>
        </p:nvSpPr>
        <p:spPr>
          <a:xfrm>
            <a:off x="5149850" y="2286000"/>
            <a:ext cx="4481513" cy="513795"/>
          </a:xfrm>
          <a:prstGeom prst="rect">
            <a:avLst/>
          </a:prstGeom>
        </p:spPr>
        <p:txBody>
          <a:bodyPr>
            <a:spAutoFit/>
          </a:bodyPr>
          <a:lstStyle/>
          <a:p>
            <a:pPr marL="95250" indent="-95250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kumimoji="1" lang="ko-KR" altLang="en-US" sz="1300" u="none" spc="-50" dirty="0">
                <a:solidFill>
                  <a:srgbClr val="000000"/>
                </a:solidFill>
                <a:latin typeface="맑은 고딕" pitchFamily="50" charset="-127"/>
              </a:rPr>
              <a:t>회사전체</a:t>
            </a:r>
            <a:r>
              <a:rPr kumimoji="1" lang="en-US" altLang="ko-KR" sz="1300" u="none" spc="-50" dirty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300" u="none" spc="-50" dirty="0">
                <a:solidFill>
                  <a:srgbClr val="000000"/>
                </a:solidFill>
                <a:latin typeface="맑은 고딕" pitchFamily="50" charset="-127"/>
              </a:rPr>
              <a:t>브랜드</a:t>
            </a:r>
            <a:r>
              <a:rPr kumimoji="1" lang="en-US" altLang="ko-KR" sz="1300" u="none" spc="-50" dirty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300" u="none" spc="-50" dirty="0">
                <a:solidFill>
                  <a:srgbClr val="000000"/>
                </a:solidFill>
                <a:latin typeface="맑은 고딕" pitchFamily="50" charset="-127"/>
              </a:rPr>
              <a:t>패키지</a:t>
            </a:r>
            <a:r>
              <a:rPr kumimoji="1" lang="en-US" altLang="ko-KR" sz="1300" u="none" spc="-50" dirty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300" u="none" spc="-50" dirty="0">
                <a:solidFill>
                  <a:srgbClr val="000000"/>
                </a:solidFill>
                <a:latin typeface="맑은 고딕" pitchFamily="50" charset="-127"/>
              </a:rPr>
              <a:t>권역 판매량에 영향이 높은 요인을 분석하여 유관부서 공유 및 영업</a:t>
            </a:r>
            <a:r>
              <a:rPr kumimoji="1" lang="en-US" altLang="ko-KR" sz="1300" u="none" spc="-50" dirty="0">
                <a:solidFill>
                  <a:srgbClr val="000000"/>
                </a:solidFill>
                <a:latin typeface="맑은 고딕" pitchFamily="50" charset="-127"/>
              </a:rPr>
              <a:t>/</a:t>
            </a:r>
            <a:r>
              <a:rPr kumimoji="1" lang="ko-KR" altLang="en-US" sz="1300" u="none" spc="-50" dirty="0">
                <a:solidFill>
                  <a:srgbClr val="000000"/>
                </a:solidFill>
                <a:latin typeface="맑은 고딕" pitchFamily="50" charset="-127"/>
              </a:rPr>
              <a:t>마케팅 전략 </a:t>
            </a:r>
            <a:r>
              <a:rPr kumimoji="1" lang="ko-KR" altLang="en-US" sz="1300" u="none" spc="-50" dirty="0" smtClean="0">
                <a:solidFill>
                  <a:srgbClr val="000000"/>
                </a:solidFill>
                <a:latin typeface="맑은 고딕" pitchFamily="50" charset="-127"/>
              </a:rPr>
              <a:t>수립</a:t>
            </a:r>
            <a:endParaRPr kumimoji="1" lang="en-US" altLang="ko-KR" sz="1300" u="none" spc="-50" dirty="0" smtClean="0">
              <a:solidFill>
                <a:srgbClr val="000000"/>
              </a:solidFill>
              <a:latin typeface="맑은 고딕" pitchFamily="50" charset="-127"/>
            </a:endParaRPr>
          </a:p>
        </p:txBody>
      </p:sp>
      <p:pic>
        <p:nvPicPr>
          <p:cNvPr id="281630" name="Picture 197" descr="person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1312" y="2925143"/>
            <a:ext cx="515938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1631" name="Picture 197" descr="person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2705" y="2924944"/>
            <a:ext cx="515938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직사각형 40"/>
          <p:cNvSpPr/>
          <p:nvPr/>
        </p:nvSpPr>
        <p:spPr>
          <a:xfrm>
            <a:off x="8088139" y="2955306"/>
            <a:ext cx="765175" cy="5365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95250" indent="-95250" algn="ctr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defRPr/>
            </a:pPr>
            <a:r>
              <a:rPr kumimoji="1" lang="ko-KR" altLang="en-US" sz="1200" u="none" spc="-50" dirty="0">
                <a:solidFill>
                  <a:srgbClr val="000000"/>
                </a:solidFill>
                <a:latin typeface="맑은 고딕" pitchFamily="50" charset="-127"/>
              </a:rPr>
              <a:t>업무</a:t>
            </a:r>
            <a:endParaRPr kumimoji="1" lang="en-US" altLang="ko-KR" sz="1200" u="none" spc="-50" dirty="0">
              <a:solidFill>
                <a:srgbClr val="000000"/>
              </a:solidFill>
              <a:latin typeface="맑은 고딕" pitchFamily="50" charset="-127"/>
            </a:endParaRPr>
          </a:p>
          <a:p>
            <a:pPr marL="95250" indent="-95250" algn="ctr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defRPr/>
            </a:pPr>
            <a:r>
              <a:rPr kumimoji="1" lang="ko-KR" altLang="en-US" sz="1200" u="none" spc="-50" dirty="0">
                <a:solidFill>
                  <a:srgbClr val="000000"/>
                </a:solidFill>
                <a:latin typeface="맑은 고딕" pitchFamily="50" charset="-127"/>
              </a:rPr>
              <a:t>담당자</a:t>
            </a:r>
            <a:endParaRPr kumimoji="1" lang="en-US" altLang="ko-KR" sz="1200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42" name="직사각형 41"/>
          <p:cNvSpPr/>
          <p:nvPr/>
        </p:nvSpPr>
        <p:spPr>
          <a:xfrm>
            <a:off x="8996080" y="2955107"/>
            <a:ext cx="766763" cy="5365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95250" indent="-95250" algn="ctr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defRPr/>
            </a:pPr>
            <a:r>
              <a:rPr kumimoji="1" lang="ko-KR" altLang="en-US" sz="1200" u="none" spc="-50" dirty="0">
                <a:solidFill>
                  <a:srgbClr val="000000"/>
                </a:solidFill>
                <a:latin typeface="맑은 고딕" pitchFamily="50" charset="-127"/>
              </a:rPr>
              <a:t>의사</a:t>
            </a:r>
            <a:endParaRPr kumimoji="1" lang="en-US" altLang="ko-KR" sz="1200" u="none" spc="-50" dirty="0">
              <a:solidFill>
                <a:srgbClr val="000000"/>
              </a:solidFill>
              <a:latin typeface="맑은 고딕" pitchFamily="50" charset="-127"/>
            </a:endParaRPr>
          </a:p>
          <a:p>
            <a:pPr marL="95250" indent="-95250" algn="ctr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defRPr/>
            </a:pPr>
            <a:r>
              <a:rPr kumimoji="1" lang="ko-KR" altLang="en-US" sz="1200" u="none" spc="-50" dirty="0">
                <a:solidFill>
                  <a:srgbClr val="000000"/>
                </a:solidFill>
                <a:latin typeface="맑은 고딕" pitchFamily="50" charset="-127"/>
              </a:rPr>
              <a:t>결정자</a:t>
            </a:r>
            <a:endParaRPr kumimoji="1" lang="en-US" altLang="ko-KR" sz="1200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281634" name="AutoShape 52"/>
          <p:cNvSpPr>
            <a:spLocks noChangeArrowheads="1"/>
          </p:cNvSpPr>
          <p:nvPr/>
        </p:nvSpPr>
        <p:spPr bwMode="auto">
          <a:xfrm>
            <a:off x="6681192" y="2929586"/>
            <a:ext cx="1080120" cy="530225"/>
          </a:xfrm>
          <a:prstGeom prst="rightArrow">
            <a:avLst>
              <a:gd name="adj1" fmla="val 48657"/>
              <a:gd name="adj2" fmla="val 37134"/>
            </a:avLst>
          </a:prstGeom>
          <a:gradFill rotWithShape="1">
            <a:gsLst>
              <a:gs pos="0">
                <a:srgbClr val="FFDB4D">
                  <a:alpha val="39998"/>
                </a:srgbClr>
              </a:gs>
              <a:gs pos="100000">
                <a:srgbClr val="FFCC00">
                  <a:alpha val="89998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endParaRPr lang="ko-KR" altLang="en-US" sz="120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46" name="직사각형 45"/>
          <p:cNvSpPr/>
          <p:nvPr/>
        </p:nvSpPr>
        <p:spPr bwMode="auto">
          <a:xfrm>
            <a:off x="6752628" y="3721674"/>
            <a:ext cx="2558085" cy="6848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50" indent="-95250">
              <a:lnSpc>
                <a:spcPct val="150000"/>
              </a:lnSpc>
              <a:spcBef>
                <a:spcPts val="3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kumimoji="1" lang="ko-KR" altLang="en-US" sz="1200" u="none" spc="-50" dirty="0">
                <a:solidFill>
                  <a:srgbClr val="000000"/>
                </a:solidFill>
                <a:latin typeface="맑은 고딕" pitchFamily="50" charset="-127"/>
              </a:rPr>
              <a:t>판매량 예측 결과</a:t>
            </a:r>
          </a:p>
          <a:p>
            <a:pPr marL="95250" indent="-95250">
              <a:lnSpc>
                <a:spcPct val="150000"/>
              </a:lnSpc>
              <a:spcBef>
                <a:spcPts val="3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kumimoji="1" lang="ko-KR" altLang="en-US" sz="1200" u="none" spc="-50" dirty="0">
                <a:solidFill>
                  <a:srgbClr val="000000"/>
                </a:solidFill>
                <a:latin typeface="맑은 고딕" pitchFamily="50" charset="-127"/>
              </a:rPr>
              <a:t>판매량에 영향을 미치는 주요 </a:t>
            </a:r>
            <a:r>
              <a:rPr kumimoji="1" lang="ko-KR" altLang="en-US" sz="1200" u="none" spc="-50" dirty="0" smtClean="0">
                <a:solidFill>
                  <a:srgbClr val="000000"/>
                </a:solidFill>
                <a:latin typeface="맑은 고딕" pitchFamily="50" charset="-127"/>
              </a:rPr>
              <a:t>요인</a:t>
            </a:r>
            <a:endParaRPr kumimoji="1" lang="en-US" altLang="ko-KR" sz="1200" u="none" spc="-50" dirty="0" smtClean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47" name="직사각형 46"/>
          <p:cNvSpPr/>
          <p:nvPr/>
        </p:nvSpPr>
        <p:spPr>
          <a:xfrm>
            <a:off x="6033120" y="3421757"/>
            <a:ext cx="2305050" cy="2952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95250" indent="-95250" algn="ctr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defRPr/>
            </a:pPr>
            <a:r>
              <a:rPr kumimoji="1" lang="ko-KR" altLang="en-US" sz="1200" u="none" spc="-50" dirty="0">
                <a:solidFill>
                  <a:srgbClr val="000000"/>
                </a:solidFill>
                <a:latin typeface="맑은 고딕" pitchFamily="50" charset="-127"/>
              </a:rPr>
              <a:t>예측 결과 제공</a:t>
            </a:r>
            <a:endParaRPr kumimoji="1" lang="en-US" altLang="ko-KR" sz="1200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28163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itchFamily="50" charset="-127"/>
              </a:rPr>
              <a:t>추진 목적</a:t>
            </a:r>
            <a:endParaRPr lang="en-US" altLang="ko-KR" dirty="0" smtClean="0">
              <a:latin typeface="맑은 고딕" pitchFamily="50" charset="-127"/>
            </a:endParaRPr>
          </a:p>
        </p:txBody>
      </p:sp>
      <p:sp>
        <p:nvSpPr>
          <p:cNvPr id="281638" name="Rectangle 3"/>
          <p:cNvSpPr txBox="1">
            <a:spLocks noChangeArrowheads="1"/>
          </p:cNvSpPr>
          <p:nvPr/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 latinLnBrk="1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정확한 판매량 예측 정보를 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유관부서에 제공하여 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원활한 업무 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수행 및 경영전략에 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활용하는 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기반을 </a:t>
            </a:r>
            <a:r>
              <a:rPr kumimoji="1"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마련하고자 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함</a:t>
            </a:r>
            <a:endParaRPr kumimoji="1" lang="en-US" altLang="ko-KR" sz="1600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44" name="직사각형 43"/>
          <p:cNvSpPr/>
          <p:nvPr/>
        </p:nvSpPr>
        <p:spPr bwMode="auto">
          <a:xfrm>
            <a:off x="6681192" y="3721674"/>
            <a:ext cx="2736304" cy="653476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ko-KR" altLang="en-US" u="none" dirty="0" smtClean="0">
              <a:cs typeface="Arial" pitchFamily="34" charset="0"/>
            </a:endParaRPr>
          </a:p>
        </p:txBody>
      </p:sp>
      <p:sp>
        <p:nvSpPr>
          <p:cNvPr id="45" name="직사각형 44"/>
          <p:cNvSpPr/>
          <p:nvPr/>
        </p:nvSpPr>
        <p:spPr bwMode="auto">
          <a:xfrm>
            <a:off x="6787403" y="4509120"/>
            <a:ext cx="2558085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50" indent="-95250">
              <a:lnSpc>
                <a:spcPct val="150000"/>
              </a:lnSpc>
              <a:spcBef>
                <a:spcPts val="3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kumimoji="1" lang="ko-KR" altLang="en-US" sz="1200" u="none" spc="-50" dirty="0" smtClean="0">
                <a:solidFill>
                  <a:srgbClr val="000000"/>
                </a:solidFill>
                <a:latin typeface="맑은 고딕" pitchFamily="50" charset="-127"/>
              </a:rPr>
              <a:t>생산 </a:t>
            </a:r>
            <a:r>
              <a:rPr kumimoji="1" lang="en-US" altLang="ko-KR" sz="1200" u="none" spc="-50" dirty="0" smtClean="0">
                <a:solidFill>
                  <a:srgbClr val="000000"/>
                </a:solidFill>
                <a:latin typeface="맑은 고딕" pitchFamily="50" charset="-127"/>
              </a:rPr>
              <a:t>– </a:t>
            </a:r>
            <a:r>
              <a:rPr kumimoji="1" lang="ko-KR" altLang="en-US" sz="1200" u="none" spc="-50" dirty="0" smtClean="0">
                <a:solidFill>
                  <a:srgbClr val="000000"/>
                </a:solidFill>
                <a:latin typeface="맑은 고딕" pitchFamily="50" charset="-127"/>
              </a:rPr>
              <a:t>제품 생산 관리 전략 수립</a:t>
            </a:r>
            <a:endParaRPr kumimoji="1" lang="en-US" altLang="ko-KR" sz="1200" u="none" spc="-50" dirty="0" smtClean="0">
              <a:solidFill>
                <a:srgbClr val="000000"/>
              </a:solidFill>
              <a:latin typeface="맑은 고딕" pitchFamily="50" charset="-127"/>
            </a:endParaRPr>
          </a:p>
          <a:p>
            <a:pPr marL="95250" indent="-95250">
              <a:lnSpc>
                <a:spcPct val="150000"/>
              </a:lnSpc>
              <a:spcBef>
                <a:spcPts val="3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kumimoji="1" lang="ko-KR" altLang="en-US" sz="1200" u="none" spc="-50" dirty="0" smtClean="0">
                <a:solidFill>
                  <a:srgbClr val="000000"/>
                </a:solidFill>
                <a:latin typeface="맑은 고딕" pitchFamily="50" charset="-127"/>
              </a:rPr>
              <a:t>영업 </a:t>
            </a:r>
            <a:r>
              <a:rPr kumimoji="1" lang="en-US" altLang="ko-KR" sz="1200" u="none" spc="-50" dirty="0" smtClean="0">
                <a:solidFill>
                  <a:srgbClr val="000000"/>
                </a:solidFill>
                <a:latin typeface="맑은 고딕" pitchFamily="50" charset="-127"/>
              </a:rPr>
              <a:t>– </a:t>
            </a:r>
            <a:r>
              <a:rPr kumimoji="1" lang="ko-KR" altLang="en-US" sz="1200" u="none" spc="-50" dirty="0" smtClean="0">
                <a:solidFill>
                  <a:srgbClr val="000000"/>
                </a:solidFill>
                <a:latin typeface="맑은 고딕" pitchFamily="50" charset="-127"/>
              </a:rPr>
              <a:t>지역</a:t>
            </a:r>
            <a:r>
              <a:rPr kumimoji="1" lang="en-US" altLang="ko-KR" sz="1200" u="none" spc="-50" dirty="0" smtClean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200" u="none" spc="-50" dirty="0" smtClean="0">
                <a:solidFill>
                  <a:srgbClr val="000000"/>
                </a:solidFill>
                <a:latin typeface="맑은 고딕" pitchFamily="50" charset="-127"/>
              </a:rPr>
              <a:t>브랜드</a:t>
            </a:r>
            <a:r>
              <a:rPr kumimoji="1" lang="en-US" altLang="ko-KR" sz="1200" u="none" spc="-50" dirty="0" smtClean="0">
                <a:solidFill>
                  <a:srgbClr val="000000"/>
                </a:solidFill>
                <a:latin typeface="맑은 고딕" pitchFamily="50" charset="-127"/>
              </a:rPr>
              <a:t>,</a:t>
            </a:r>
            <a:r>
              <a:rPr kumimoji="1" lang="ko-KR" altLang="en-US" sz="1200" u="none" spc="-50" dirty="0" smtClean="0">
                <a:solidFill>
                  <a:srgbClr val="000000"/>
                </a:solidFill>
                <a:latin typeface="맑은 고딕" pitchFamily="50" charset="-127"/>
              </a:rPr>
              <a:t> 패키지에 대한 주력 영업 선택 </a:t>
            </a:r>
            <a:endParaRPr kumimoji="1" lang="en-US" altLang="ko-KR" sz="1200" u="none" spc="-50" dirty="0" smtClean="0">
              <a:solidFill>
                <a:srgbClr val="000000"/>
              </a:solidFill>
              <a:latin typeface="맑은 고딕" pitchFamily="50" charset="-127"/>
            </a:endParaRPr>
          </a:p>
          <a:p>
            <a:pPr marL="95250" indent="-95250">
              <a:lnSpc>
                <a:spcPct val="150000"/>
              </a:lnSpc>
              <a:spcBef>
                <a:spcPts val="3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kumimoji="1" lang="ko-KR" altLang="en-US" sz="1200" u="none" spc="-50" dirty="0" smtClean="0">
                <a:solidFill>
                  <a:srgbClr val="000000"/>
                </a:solidFill>
                <a:latin typeface="맑은 고딕" pitchFamily="50" charset="-127"/>
              </a:rPr>
              <a:t>마케팅 </a:t>
            </a:r>
            <a:r>
              <a:rPr kumimoji="1" lang="en-US" altLang="ko-KR" sz="1200" u="none" spc="-50" dirty="0" smtClean="0">
                <a:solidFill>
                  <a:srgbClr val="000000"/>
                </a:solidFill>
                <a:latin typeface="맑은 고딕" pitchFamily="50" charset="-127"/>
              </a:rPr>
              <a:t>– </a:t>
            </a:r>
            <a:r>
              <a:rPr kumimoji="1" lang="ko-KR" altLang="en-US" sz="1200" u="none" spc="-50" dirty="0" smtClean="0">
                <a:solidFill>
                  <a:srgbClr val="000000"/>
                </a:solidFill>
                <a:latin typeface="맑은 고딕" pitchFamily="50" charset="-127"/>
              </a:rPr>
              <a:t>홍보 시점 및 지역 선정</a:t>
            </a:r>
            <a:endParaRPr kumimoji="1" lang="en-US" altLang="ko-KR" sz="1200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/>
          <p:cNvSpPr>
            <a:spLocks noChangeArrowheads="1"/>
          </p:cNvSpPr>
          <p:nvPr/>
        </p:nvSpPr>
        <p:spPr bwMode="auto">
          <a:xfrm>
            <a:off x="529447" y="2162146"/>
            <a:ext cx="4308376" cy="4003157"/>
          </a:xfrm>
          <a:prstGeom prst="rect">
            <a:avLst/>
          </a:prstGeom>
          <a:solidFill>
            <a:sysClr val="window" lastClr="FFFFFF"/>
          </a:solidFill>
          <a:ln w="9525" algn="ctr">
            <a:solidFill>
              <a:sysClr val="windowText" lastClr="000000"/>
            </a:solidFill>
            <a:round/>
            <a:headEnd/>
            <a:tailEnd/>
          </a:ln>
          <a:effectLst>
            <a:outerShdw dist="35921" dir="2700000" algn="ctr" rotWithShape="0">
              <a:sysClr val="windowText" lastClr="000000"/>
            </a:outerShdw>
          </a:effectLst>
        </p:spPr>
        <p:txBody>
          <a:bodyPr tIns="190800" anchorCtr="1"/>
          <a:lstStyle/>
          <a:p>
            <a:pPr marL="180975" indent="-180975" defTabSz="762000" fontAlgn="auto">
              <a:spcBef>
                <a:spcPct val="500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endParaRPr kumimoji="1" lang="ko-KR" altLang="en-US" sz="1200" b="0" u="none" kern="0" dirty="0" smtClean="0">
              <a:solidFill>
                <a:prstClr val="black"/>
              </a:solidFill>
              <a:latin typeface="산돌고딕 L" pitchFamily="18" charset="-127"/>
              <a:ea typeface="산돌고딕 L" pitchFamily="18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88008" y="2272871"/>
            <a:ext cx="4073554" cy="3882601"/>
          </a:xfrm>
          <a:prstGeom prst="rect">
            <a:avLst/>
          </a:prstGeom>
          <a:noFill/>
        </p:spPr>
        <p:txBody>
          <a:bodyPr wrap="square" lIns="90000" tIns="0" rIns="0" bIns="0" rtlCol="0" anchor="t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177800" indent="-177800" defTabSz="957644">
              <a:lnSpc>
                <a:spcPct val="110000"/>
              </a:lnSpc>
              <a:spcBef>
                <a:spcPts val="300"/>
              </a:spcBef>
              <a:buClr>
                <a:prstClr val="black"/>
              </a:buClr>
              <a:buFont typeface="Wingdings" pitchFamily="2" charset="2"/>
              <a:buChar char="l"/>
            </a:pP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통계 </a:t>
            </a: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Tool(R) 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기본 </a:t>
            </a: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Concept 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교육 </a:t>
            </a:r>
            <a:endParaRPr lang="en-US" altLang="ko-KR" b="0" u="none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49250" lvl="1" indent="-177800" defTabSz="957644">
              <a:lnSpc>
                <a:spcPct val="110000"/>
              </a:lnSpc>
              <a:spcBef>
                <a:spcPts val="300"/>
              </a:spcBef>
              <a:buClr>
                <a:prstClr val="black"/>
              </a:buClr>
              <a:buFontTx/>
              <a:buChar char="–"/>
            </a:pP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R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 기본 문법</a:t>
            </a: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및 주요 분석 기법</a:t>
            </a:r>
            <a:endParaRPr lang="en-US" altLang="ko-KR" b="0" u="none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177800" indent="-177800" defTabSz="957644">
              <a:lnSpc>
                <a:spcPct val="110000"/>
              </a:lnSpc>
              <a:spcBef>
                <a:spcPts val="2000"/>
              </a:spcBef>
              <a:buClr>
                <a:prstClr val="black"/>
              </a:buClr>
              <a:buFont typeface="Wingdings" pitchFamily="2" charset="2"/>
              <a:buChar char="l"/>
            </a:pP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판매량 예측 프로그램 교육</a:t>
            </a:r>
            <a:endParaRPr lang="en-US" altLang="ko-KR" b="0" u="none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49250" lvl="1" indent="-177800" defTabSz="957644">
              <a:lnSpc>
                <a:spcPct val="110000"/>
              </a:lnSpc>
              <a:spcBef>
                <a:spcPts val="300"/>
              </a:spcBef>
              <a:buClr>
                <a:prstClr val="black"/>
              </a:buClr>
              <a:buFontTx/>
              <a:buChar char="–"/>
            </a:pP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R 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자동화 스크립트 교육</a:t>
            </a: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</a:p>
          <a:p>
            <a:pPr marL="349250" lvl="1" indent="-177800" defTabSz="957644">
              <a:lnSpc>
                <a:spcPct val="110000"/>
              </a:lnSpc>
              <a:spcBef>
                <a:spcPts val="300"/>
              </a:spcBef>
              <a:buClr>
                <a:prstClr val="black"/>
              </a:buClr>
              <a:buFontTx/>
              <a:buChar char="–"/>
            </a:pP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예측모형 투입변수 추가</a:t>
            </a: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/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삭제</a:t>
            </a: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/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변경</a:t>
            </a:r>
            <a:endParaRPr lang="en-US" altLang="ko-KR" b="0" u="none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177800" indent="-177800" defTabSz="957644">
              <a:lnSpc>
                <a:spcPct val="110000"/>
              </a:lnSpc>
              <a:spcBef>
                <a:spcPts val="2000"/>
              </a:spcBef>
              <a:buClr>
                <a:prstClr val="black"/>
              </a:buClr>
              <a:buFont typeface="Wingdings" pitchFamily="2" charset="2"/>
              <a:buChar char="l"/>
            </a:pP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통계 </a:t>
            </a: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Tool(R)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을</a:t>
            </a: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이용한 </a:t>
            </a:r>
            <a:r>
              <a:rPr lang="ko-KR" altLang="en-US" b="0" u="none" kern="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시계열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 분석</a:t>
            </a:r>
            <a:endParaRPr lang="en-US" altLang="ko-KR" b="0" u="none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177800" indent="-177800" defTabSz="957644">
              <a:lnSpc>
                <a:spcPct val="110000"/>
              </a:lnSpc>
              <a:spcBef>
                <a:spcPts val="2000"/>
              </a:spcBef>
              <a:buClr>
                <a:prstClr val="black"/>
              </a:buClr>
              <a:buFont typeface="Wingdings" pitchFamily="2" charset="2"/>
              <a:buChar char="l"/>
            </a:pPr>
            <a:r>
              <a:rPr lang="ko-KR" altLang="en-US" b="0" u="none" kern="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잔차변동성모형과</a:t>
            </a: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 Champion &amp; Challenger</a:t>
            </a:r>
          </a:p>
          <a:p>
            <a:pPr marL="349250" lvl="1" indent="-177800" defTabSz="957644">
              <a:lnSpc>
                <a:spcPct val="110000"/>
              </a:lnSpc>
              <a:spcBef>
                <a:spcPts val="300"/>
              </a:spcBef>
              <a:buClr>
                <a:prstClr val="black"/>
              </a:buClr>
              <a:buFontTx/>
              <a:buChar char="–"/>
            </a:pPr>
            <a:r>
              <a:rPr lang="ko-KR" altLang="en-US" b="0" u="none" kern="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잔차변동성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 모형에 대한 이해</a:t>
            </a:r>
            <a:endParaRPr lang="en-US" altLang="ko-KR" b="0" u="none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49250" lvl="1" indent="-177800" defTabSz="957644">
              <a:lnSpc>
                <a:spcPct val="110000"/>
              </a:lnSpc>
              <a:spcBef>
                <a:spcPts val="300"/>
              </a:spcBef>
              <a:buClr>
                <a:prstClr val="black"/>
              </a:buClr>
              <a:buFontTx/>
              <a:buChar char="–"/>
            </a:pPr>
            <a:r>
              <a:rPr lang="ko-KR" altLang="en-US" b="0" u="none" kern="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잔차변동성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 모형에 대한 </a:t>
            </a: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R Script 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이해</a:t>
            </a:r>
            <a:endParaRPr lang="en-US" altLang="ko-KR" b="0" u="none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49250" lvl="1" indent="-177800" defTabSz="957644">
              <a:lnSpc>
                <a:spcPct val="110000"/>
              </a:lnSpc>
              <a:spcBef>
                <a:spcPts val="300"/>
              </a:spcBef>
              <a:buClr>
                <a:prstClr val="black"/>
              </a:buClr>
              <a:buFontTx/>
              <a:buChar char="–"/>
            </a:pP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Champion &amp; Challenger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에 대한 이해</a:t>
            </a:r>
            <a:endParaRPr lang="en-US" altLang="ko-KR" b="0" u="none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49250" lvl="1" indent="-177800" defTabSz="957644">
              <a:lnSpc>
                <a:spcPct val="110000"/>
              </a:lnSpc>
              <a:spcBef>
                <a:spcPts val="300"/>
              </a:spcBef>
              <a:buClr>
                <a:prstClr val="black"/>
              </a:buClr>
              <a:buFontTx/>
              <a:buChar char="–"/>
            </a:pP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Champion &amp; Challenger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에 대한 </a:t>
            </a: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R Script 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이해</a:t>
            </a: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</a:p>
        </p:txBody>
      </p:sp>
      <p:sp>
        <p:nvSpPr>
          <p:cNvPr id="17" name="오각형 16"/>
          <p:cNvSpPr/>
          <p:nvPr/>
        </p:nvSpPr>
        <p:spPr>
          <a:xfrm rot="5400000">
            <a:off x="2395636" y="-453412"/>
            <a:ext cx="576000" cy="4308375"/>
          </a:xfrm>
          <a:prstGeom prst="homePlate">
            <a:avLst>
              <a:gd name="adj" fmla="val 0"/>
            </a:avLst>
          </a:prstGeom>
          <a:solidFill>
            <a:sysClr val="window" lastClr="FFFFFF">
              <a:lumMod val="95000"/>
            </a:sysClr>
          </a:solidFill>
          <a:ln w="9525">
            <a:solidFill>
              <a:sysClr val="windowText" lastClr="000000">
                <a:lumMod val="65000"/>
                <a:lumOff val="35000"/>
              </a:sysClr>
            </a:solidFill>
            <a:round/>
            <a:headEnd/>
            <a:tailEnd/>
          </a:ln>
          <a:effectLst>
            <a:outerShdw dist="35921" dir="2700000" algn="ctr" rotWithShape="0">
              <a:srgbClr val="000000"/>
            </a:outerShdw>
          </a:effectLst>
        </p:spPr>
        <p:txBody>
          <a:bodyPr wrap="none" anchor="ctr"/>
          <a:lstStyle/>
          <a:p>
            <a:pPr defTabSz="91436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10000"/>
              <a:defRPr/>
            </a:pPr>
            <a:endParaRPr lang="ko-KR" altLang="en-US" sz="1500" b="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sp>
        <p:nvSpPr>
          <p:cNvPr id="18" name="Rectangle 14"/>
          <p:cNvSpPr>
            <a:spLocks noChangeArrowheads="1"/>
          </p:cNvSpPr>
          <p:nvPr/>
        </p:nvSpPr>
        <p:spPr bwMode="auto">
          <a:xfrm>
            <a:off x="540378" y="1582590"/>
            <a:ext cx="4309069" cy="256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44456" lvl="1" indent="-142869" algn="ctr" defTabSz="89531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en-US" altLang="ko-KR" sz="1600" b="0" u="none" kern="0" dirty="0" smtClean="0">
                <a:solidFill>
                  <a:sysClr val="windowText" lastClr="000000"/>
                </a:solidFill>
                <a:latin typeface="HY헤드라인M" pitchFamily="18" charset="-127"/>
                <a:ea typeface="HY헤드라인M" pitchFamily="18" charset="-127"/>
              </a:rPr>
              <a:t>R </a:t>
            </a:r>
            <a:r>
              <a:rPr lang="ko-KR" altLang="en-US" sz="1600" b="0" u="none" kern="0" dirty="0" smtClean="0">
                <a:solidFill>
                  <a:sysClr val="windowText" lastClr="000000"/>
                </a:solidFill>
                <a:latin typeface="HY헤드라인M" pitchFamily="18" charset="-127"/>
                <a:ea typeface="HY헤드라인M" pitchFamily="18" charset="-127"/>
              </a:rPr>
              <a:t>사용자 교육</a:t>
            </a:r>
            <a:endParaRPr lang="en-US" altLang="ko-KR" sz="1600" b="0" u="none" kern="0" dirty="0" smtClean="0">
              <a:solidFill>
                <a:sysClr val="windowText" lastClr="000000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19" name="오각형 18"/>
          <p:cNvSpPr/>
          <p:nvPr/>
        </p:nvSpPr>
        <p:spPr>
          <a:xfrm rot="5400000">
            <a:off x="6996312" y="-459224"/>
            <a:ext cx="576000" cy="4320000"/>
          </a:xfrm>
          <a:prstGeom prst="homePlate">
            <a:avLst>
              <a:gd name="adj" fmla="val 0"/>
            </a:avLst>
          </a:prstGeom>
          <a:solidFill>
            <a:sysClr val="window" lastClr="FFFFFF">
              <a:lumMod val="95000"/>
            </a:sysClr>
          </a:solidFill>
          <a:ln w="9525">
            <a:solidFill>
              <a:sysClr val="windowText" lastClr="000000">
                <a:lumMod val="65000"/>
                <a:lumOff val="35000"/>
              </a:sysClr>
            </a:solidFill>
            <a:round/>
            <a:headEnd/>
            <a:tailEnd/>
          </a:ln>
          <a:effectLst>
            <a:outerShdw dist="35921" dir="2700000" algn="ctr" rotWithShape="0">
              <a:srgbClr val="000000"/>
            </a:outerShdw>
          </a:effectLst>
        </p:spPr>
        <p:txBody>
          <a:bodyPr wrap="none" anchor="ctr"/>
          <a:lstStyle/>
          <a:p>
            <a:pPr defTabSz="91436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10000"/>
              <a:defRPr/>
            </a:pPr>
            <a:endParaRPr lang="ko-KR" altLang="en-US" sz="1500" b="0" u="none" kern="0" dirty="0" smtClean="0">
              <a:solidFill>
                <a:sysClr val="windowText" lastClr="000000"/>
              </a:solidFill>
              <a:latin typeface="맑은 고딕"/>
              <a:ea typeface="맑은 고딕"/>
            </a:endParaRPr>
          </a:p>
        </p:txBody>
      </p:sp>
      <p:sp>
        <p:nvSpPr>
          <p:cNvPr id="20" name="Rectangle 14"/>
          <p:cNvSpPr>
            <a:spLocks noChangeArrowheads="1"/>
          </p:cNvSpPr>
          <p:nvPr/>
        </p:nvSpPr>
        <p:spPr bwMode="auto">
          <a:xfrm>
            <a:off x="5124312" y="1582590"/>
            <a:ext cx="4320000" cy="256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44456" lvl="1" indent="-142869" algn="ctr" defTabSz="895311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ko-KR" altLang="en-US" sz="1600" b="0" u="none" kern="0" dirty="0" smtClean="0">
                <a:solidFill>
                  <a:sysClr val="windowText" lastClr="000000"/>
                </a:solidFill>
                <a:latin typeface="HY헤드라인M" pitchFamily="18" charset="-127"/>
                <a:ea typeface="HY헤드라인M" pitchFamily="18" charset="-127"/>
              </a:rPr>
              <a:t>유지보수 지원</a:t>
            </a:r>
            <a:endParaRPr lang="en-US" altLang="ko-KR" sz="1600" b="0" u="none" kern="0" dirty="0" smtClean="0">
              <a:solidFill>
                <a:sysClr val="windowText" lastClr="000000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21" name="Rectangle 6"/>
          <p:cNvSpPr>
            <a:spLocks noChangeArrowheads="1"/>
          </p:cNvSpPr>
          <p:nvPr/>
        </p:nvSpPr>
        <p:spPr bwMode="auto">
          <a:xfrm>
            <a:off x="5124312" y="2162147"/>
            <a:ext cx="4320000" cy="4003156"/>
          </a:xfrm>
          <a:prstGeom prst="rect">
            <a:avLst/>
          </a:prstGeom>
          <a:solidFill>
            <a:sysClr val="window" lastClr="FFFFFF"/>
          </a:solidFill>
          <a:ln w="9525" algn="ctr">
            <a:solidFill>
              <a:sysClr val="windowText" lastClr="000000"/>
            </a:solidFill>
            <a:round/>
            <a:headEnd/>
            <a:tailEnd/>
          </a:ln>
          <a:effectLst>
            <a:outerShdw dist="35921" dir="2700000" algn="ctr" rotWithShape="0">
              <a:sysClr val="windowText" lastClr="000000"/>
            </a:outerShdw>
          </a:effectLst>
        </p:spPr>
        <p:txBody>
          <a:bodyPr tIns="190800" anchorCtr="1"/>
          <a:lstStyle/>
          <a:p>
            <a:pPr marL="180975" indent="-180975" defTabSz="762000" fontAlgn="auto">
              <a:spcBef>
                <a:spcPct val="500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endParaRPr kumimoji="1" lang="ko-KR" altLang="en-US" sz="1200" b="0" u="none" kern="0" dirty="0" smtClean="0">
              <a:solidFill>
                <a:prstClr val="black"/>
              </a:solidFill>
              <a:latin typeface="산돌고딕 L" pitchFamily="18" charset="-127"/>
              <a:ea typeface="산돌고딕 L" pitchFamily="18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199751" y="2272871"/>
            <a:ext cx="4179361" cy="3331681"/>
          </a:xfrm>
          <a:prstGeom prst="rect">
            <a:avLst/>
          </a:prstGeom>
          <a:noFill/>
        </p:spPr>
        <p:txBody>
          <a:bodyPr wrap="square" lIns="90000" tIns="0" rIns="0" bIns="0" rtlCol="0" anchor="t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177800" indent="-177800" defTabSz="957644">
              <a:lnSpc>
                <a:spcPct val="110000"/>
              </a:lnSpc>
              <a:spcBef>
                <a:spcPts val="300"/>
              </a:spcBef>
              <a:buClr>
                <a:prstClr val="black"/>
              </a:buClr>
              <a:buFont typeface="Wingdings" pitchFamily="2" charset="2"/>
              <a:buChar char="l"/>
            </a:pP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회귀 분석 및 </a:t>
            </a:r>
            <a:r>
              <a:rPr lang="ko-KR" altLang="en-US" b="0" u="none" kern="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시계열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 예측 결과 생성</a:t>
            </a:r>
            <a:endParaRPr lang="en-US" altLang="ko-KR" b="0" u="none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49250" lvl="1" indent="-177800" defTabSz="957644">
              <a:lnSpc>
                <a:spcPct val="110000"/>
              </a:lnSpc>
              <a:spcBef>
                <a:spcPts val="300"/>
              </a:spcBef>
              <a:buClr>
                <a:prstClr val="black"/>
              </a:buClr>
              <a:buFontTx/>
              <a:buChar char="–"/>
            </a:pP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현재 모형에 대한 이해와 결과 생성 방법 설명 및 매뉴얼 제공</a:t>
            </a:r>
            <a:endParaRPr lang="en-US" altLang="ko-KR" b="0" u="none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177800" indent="-177800" defTabSz="957644">
              <a:lnSpc>
                <a:spcPct val="110000"/>
              </a:lnSpc>
              <a:spcBef>
                <a:spcPts val="2000"/>
              </a:spcBef>
              <a:buClr>
                <a:prstClr val="black"/>
              </a:buClr>
              <a:buFont typeface="Wingdings" pitchFamily="2" charset="2"/>
              <a:buChar char="l"/>
            </a:pP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브랜드 패키지 별 투입변수 리스트 제공</a:t>
            </a:r>
            <a:endParaRPr lang="en-US" altLang="ko-KR" b="0" u="none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177800" indent="-177800" defTabSz="957644">
              <a:lnSpc>
                <a:spcPct val="110000"/>
              </a:lnSpc>
              <a:spcBef>
                <a:spcPts val="2000"/>
              </a:spcBef>
              <a:buClr>
                <a:prstClr val="black"/>
              </a:buClr>
              <a:buFont typeface="Wingdings" pitchFamily="2" charset="2"/>
              <a:buChar char="l"/>
            </a:pP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새로운 모형 생성 방법</a:t>
            </a:r>
            <a:endParaRPr lang="en-US" altLang="ko-KR" b="0" u="none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49250" lvl="1" indent="-177800" defTabSz="957644">
              <a:lnSpc>
                <a:spcPct val="110000"/>
              </a:lnSpc>
              <a:spcBef>
                <a:spcPts val="300"/>
              </a:spcBef>
              <a:buClr>
                <a:prstClr val="black"/>
              </a:buClr>
              <a:buFontTx/>
              <a:buChar char="–"/>
            </a:pP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더 </a:t>
            </a:r>
            <a:r>
              <a:rPr lang="ko-KR" altLang="en-US" b="0" u="none" kern="0" dirty="0" err="1" smtClean="0">
                <a:solidFill>
                  <a:prstClr val="black"/>
                </a:solidFill>
                <a:latin typeface="맑은 고딕"/>
                <a:ea typeface="맑은 고딕"/>
              </a:rPr>
              <a:t>프리미어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 </a:t>
            </a: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OB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 모형 생성 방안 교육</a:t>
            </a:r>
            <a:endParaRPr lang="en-US" altLang="ko-KR" b="0" u="none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49250" lvl="1" indent="-177800" defTabSz="957644">
              <a:lnSpc>
                <a:spcPct val="110000"/>
              </a:lnSpc>
              <a:spcBef>
                <a:spcPts val="300"/>
              </a:spcBef>
              <a:buClr>
                <a:prstClr val="black"/>
              </a:buClr>
              <a:buFontTx/>
              <a:buChar char="–"/>
            </a:pP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예측모형 투입변수 추가</a:t>
            </a: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/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삭제</a:t>
            </a: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/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변경</a:t>
            </a:r>
            <a:endParaRPr lang="en-US" altLang="ko-KR" b="0" u="none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177800" indent="-177800" defTabSz="957644">
              <a:lnSpc>
                <a:spcPct val="110000"/>
              </a:lnSpc>
              <a:spcBef>
                <a:spcPts val="2000"/>
              </a:spcBef>
              <a:buClr>
                <a:prstClr val="black"/>
              </a:buClr>
              <a:buFont typeface="Wingdings" pitchFamily="2" charset="2"/>
              <a:buChar char="l"/>
            </a:pP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2015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년</a:t>
            </a: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 3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월까지 </a:t>
            </a:r>
            <a:r>
              <a:rPr lang="en-US" altLang="ko-KR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3</a:t>
            </a:r>
            <a:r>
              <a:rPr lang="ko-KR" altLang="en-US" b="0" u="none" kern="0" dirty="0" smtClean="0">
                <a:solidFill>
                  <a:prstClr val="black"/>
                </a:solidFill>
                <a:latin typeface="맑은 고딕"/>
                <a:ea typeface="맑은 고딕"/>
              </a:rPr>
              <a:t>회 지원 가능</a:t>
            </a:r>
            <a:endParaRPr lang="en-US" altLang="ko-KR" b="0" u="none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49250" lvl="1" indent="-177800" defTabSz="957644">
              <a:lnSpc>
                <a:spcPct val="110000"/>
              </a:lnSpc>
              <a:spcBef>
                <a:spcPts val="300"/>
              </a:spcBef>
              <a:buClr>
                <a:prstClr val="black"/>
              </a:buClr>
              <a:buFontTx/>
              <a:buChar char="–"/>
            </a:pPr>
            <a:endParaRPr lang="en-US" altLang="ko-KR" b="0" u="none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  <a:p>
            <a:pPr marL="349250" lvl="1" indent="-177800" defTabSz="957644">
              <a:lnSpc>
                <a:spcPct val="110000"/>
              </a:lnSpc>
              <a:spcBef>
                <a:spcPts val="300"/>
              </a:spcBef>
              <a:buClr>
                <a:prstClr val="black"/>
              </a:buClr>
              <a:buFontTx/>
              <a:buChar char="–"/>
            </a:pPr>
            <a:endParaRPr lang="en-US" altLang="ko-KR" b="0" u="none" kern="0" dirty="0" smtClean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26" name="Rectangle 2"/>
          <p:cNvSpPr>
            <a:spLocks noGrp="1" noChangeArrowheads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dirty="0" smtClean="0">
                <a:latin typeface="맑은 고딕" pitchFamily="50" charset="-127"/>
              </a:rPr>
              <a:t>교육 및 유지보수 지원</a:t>
            </a:r>
            <a:endParaRPr lang="en-US" altLang="ko-KR" dirty="0" smtClean="0">
              <a:latin typeface="맑은 고딕" pitchFamily="50" charset="-127"/>
            </a:endParaRPr>
          </a:p>
        </p:txBody>
      </p:sp>
      <p:sp>
        <p:nvSpPr>
          <p:cNvPr id="27" name="Rectangle 3"/>
          <p:cNvSpPr txBox="1">
            <a:spLocks noChangeArrowheads="1"/>
          </p:cNvSpPr>
          <p:nvPr/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 defTabSz="957240">
              <a:defRPr/>
            </a:pPr>
            <a:r>
              <a:rPr kumimoji="1" lang="en-US" altLang="ko-KR" sz="1600" u="none" dirty="0" smtClean="0">
                <a:solidFill>
                  <a:prstClr val="black"/>
                </a:solidFill>
                <a:latin typeface="맑은 고딕"/>
                <a:ea typeface="맑은 고딕"/>
                <a:cs typeface="Meiryo UI" pitchFamily="34" charset="-128"/>
              </a:rPr>
              <a:t>Claim</a:t>
            </a:r>
            <a:r>
              <a:rPr kumimoji="1" lang="ko-KR" altLang="en-US" sz="1600" u="none" dirty="0">
                <a:solidFill>
                  <a:prstClr val="black"/>
                </a:solidFill>
                <a:latin typeface="맑은 고딕"/>
                <a:ea typeface="맑은 고딕"/>
                <a:cs typeface="Meiryo UI" pitchFamily="34" charset="-128"/>
              </a:rPr>
              <a:t> </a:t>
            </a:r>
            <a:r>
              <a:rPr kumimoji="1" lang="ko-KR" altLang="en-US" sz="1600" u="none" dirty="0" smtClean="0">
                <a:solidFill>
                  <a:prstClr val="black"/>
                </a:solidFill>
                <a:latin typeface="맑은 고딕"/>
                <a:ea typeface="맑은 고딕"/>
                <a:cs typeface="Meiryo UI" pitchFamily="34" charset="-128"/>
              </a:rPr>
              <a:t>이슈에 대한 예측 모형 보정 및 자가 운영을 위한 사용자 교육과 유지보수 지원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altLang="ko-KR" dirty="0" smtClean="0">
                <a:solidFill>
                  <a:schemeClr val="accent4"/>
                </a:solidFill>
                <a:latin typeface="맑은 고딕" pitchFamily="50" charset="-127"/>
              </a:rPr>
              <a:t>Table of Contents</a:t>
            </a: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538163" y="2132856"/>
            <a:ext cx="8832850" cy="327025"/>
          </a:xfrm>
          <a:prstGeom prst="rect">
            <a:avLst/>
          </a:prstGeo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95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anchor="ctr"/>
          <a:lstStyle/>
          <a:p>
            <a:pPr>
              <a:defRPr/>
            </a:pPr>
            <a:endParaRPr lang="ko-KR" altLang="en-US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96129" y="1182813"/>
            <a:ext cx="7929279" cy="1769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1997" tIns="0" rIns="71997" bIns="0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16510"/>
              <a:contourClr>
                <a:schemeClr val="bg1"/>
              </a:contourClr>
            </a:sp3d>
          </a:bodyPr>
          <a:lstStyle/>
          <a:p>
            <a:pPr marL="177800" lvl="1" indent="-173038" fontAlgn="auto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1500" u="none" kern="0" dirty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프로젝트 </a:t>
            </a:r>
            <a:r>
              <a:rPr lang="ko-KR" altLang="en-US" sz="1500" u="none" kern="0" dirty="0" smtClean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개요</a:t>
            </a:r>
            <a:endParaRPr lang="en-US" altLang="ko-KR" sz="1500" u="none" kern="0" dirty="0">
              <a:ln w="15875">
                <a:noFill/>
              </a:ln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  <a:p>
            <a:pPr marL="177800" lvl="1" indent="-173038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1500" u="none" kern="0" dirty="0" smtClean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프로젝트 상세</a:t>
            </a:r>
            <a:endParaRPr lang="en-US" altLang="ko-KR" sz="1500" u="none" kern="0" dirty="0" smtClean="0">
              <a:ln w="15875">
                <a:noFill/>
              </a:ln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  <a:p>
            <a:pPr marL="177800" lvl="1" indent="-173038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1500" u="none" kern="0" dirty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프로젝트 유지보수</a:t>
            </a:r>
            <a:r>
              <a:rPr lang="en-US" altLang="ko-KR" sz="1500" u="none" kern="0" dirty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 </a:t>
            </a:r>
          </a:p>
          <a:p>
            <a:pPr marL="177800" lvl="1" indent="-173038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ko-KR" sz="1500" u="none" kern="0" dirty="0" smtClean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Appendix</a:t>
            </a:r>
            <a:endParaRPr lang="en-US" altLang="ko-KR" sz="1500" u="none" kern="0" dirty="0">
              <a:ln w="15875">
                <a:noFill/>
              </a:ln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altLang="ko-KR" dirty="0" smtClean="0">
                <a:solidFill>
                  <a:schemeClr val="accent4"/>
                </a:solidFill>
                <a:latin typeface="맑은 고딕" pitchFamily="50" charset="-127"/>
              </a:rPr>
              <a:t>Table of Contents</a:t>
            </a: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538163" y="2625503"/>
            <a:ext cx="8832850" cy="327025"/>
          </a:xfrm>
          <a:prstGeom prst="rect">
            <a:avLst/>
          </a:prstGeo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95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anchor="ctr"/>
          <a:lstStyle/>
          <a:p>
            <a:pPr>
              <a:defRPr/>
            </a:pPr>
            <a:endParaRPr lang="ko-KR" altLang="en-US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96129" y="1182813"/>
            <a:ext cx="7929279" cy="1769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1997" tIns="0" rIns="71997" bIns="0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16510"/>
              <a:contourClr>
                <a:schemeClr val="bg1"/>
              </a:contourClr>
            </a:sp3d>
          </a:bodyPr>
          <a:lstStyle/>
          <a:p>
            <a:pPr marL="177800" lvl="1" indent="-173038" fontAlgn="auto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1500" u="none" kern="0" dirty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프로젝트 </a:t>
            </a:r>
            <a:r>
              <a:rPr lang="ko-KR" altLang="en-US" sz="1500" u="none" kern="0" dirty="0" smtClean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개요</a:t>
            </a:r>
            <a:endParaRPr lang="en-US" altLang="ko-KR" sz="1500" u="none" kern="0" dirty="0">
              <a:ln w="15875">
                <a:noFill/>
              </a:ln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  <a:p>
            <a:pPr marL="177800" lvl="1" indent="-173038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1500" u="none" kern="0" dirty="0" smtClean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프로젝트 상세</a:t>
            </a:r>
            <a:endParaRPr lang="en-US" altLang="ko-KR" sz="1500" u="none" kern="0" dirty="0" smtClean="0">
              <a:ln w="15875">
                <a:noFill/>
              </a:ln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  <a:p>
            <a:pPr marL="177800" lvl="1" indent="-173038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1500" u="none" kern="0" dirty="0" smtClean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모형 유지보수</a:t>
            </a:r>
            <a:r>
              <a:rPr lang="en-US" altLang="ko-KR" sz="1500" u="none" kern="0" dirty="0" smtClean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 </a:t>
            </a:r>
          </a:p>
          <a:p>
            <a:pPr marL="177800" lvl="1" indent="-173038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ko-KR" sz="1500" u="none" kern="0" dirty="0" smtClean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Appendix</a:t>
            </a:r>
            <a:endParaRPr lang="en-US" altLang="ko-KR" sz="1500" u="none" kern="0" dirty="0">
              <a:ln w="15875">
                <a:noFill/>
              </a:ln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Box 5"/>
          <p:cNvSpPr txBox="1">
            <a:spLocks noChangeArrowheads="1"/>
          </p:cNvSpPr>
          <p:nvPr/>
        </p:nvSpPr>
        <p:spPr bwMode="auto">
          <a:xfrm>
            <a:off x="2144688" y="2716267"/>
            <a:ext cx="5616624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ctr" defTabSz="660083" fontAlgn="auto" latinLnBrk="1">
              <a:spcBef>
                <a:spcPts val="0"/>
              </a:spcBef>
              <a:spcAft>
                <a:spcPts val="0"/>
              </a:spcAft>
            </a:pPr>
            <a:r>
              <a:rPr lang="en-US" altLang="ko-KR" sz="4400" u="none" spc="-210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나눔고딕" pitchFamily="50" charset="-127"/>
                <a:cs typeface="Arial" pitchFamily="34" charset="0"/>
              </a:rPr>
              <a:t>Appendix</a:t>
            </a:r>
            <a:endParaRPr lang="ko-KR" altLang="en-US" sz="4400" u="none" spc="-210" dirty="0" smtClean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나눔고딕" pitchFamily="50" charset="-127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2"/>
          <p:cNvSpPr>
            <a:spLocks noChangeArrowheads="1"/>
          </p:cNvSpPr>
          <p:nvPr/>
        </p:nvSpPr>
        <p:spPr bwMode="auto">
          <a:xfrm rot="5400000">
            <a:off x="257246" y="1774826"/>
            <a:ext cx="4859999" cy="44028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tx1"/>
            </a:outerShdw>
          </a:effectLst>
        </p:spPr>
        <p:txBody>
          <a:bodyPr tIns="190800" anchorCtr="1"/>
          <a:lstStyle/>
          <a:p>
            <a:pPr marL="180975" indent="-180975" defTabSz="762000">
              <a:spcBef>
                <a:spcPct val="50000"/>
              </a:spcBef>
              <a:buFont typeface="Wingdings" pitchFamily="2" charset="2"/>
              <a:buChar char="§"/>
              <a:defRPr/>
            </a:pPr>
            <a:endParaRPr kumimoji="1" lang="ko-KR" altLang="en-US" sz="1200" u="none" dirty="0" smtClean="0">
              <a:solidFill>
                <a:prstClr val="black"/>
              </a:solidFill>
              <a:latin typeface="+mj-lt"/>
              <a:ea typeface="산돌고딕 L" pitchFamily="18" charset="-127"/>
            </a:endParaRPr>
          </a:p>
        </p:txBody>
      </p:sp>
      <p:sp>
        <p:nvSpPr>
          <p:cNvPr id="34" name="Rectangle 2"/>
          <p:cNvSpPr>
            <a:spLocks noChangeArrowheads="1"/>
          </p:cNvSpPr>
          <p:nvPr/>
        </p:nvSpPr>
        <p:spPr bwMode="auto">
          <a:xfrm rot="5400000">
            <a:off x="4868972" y="1774824"/>
            <a:ext cx="4859999" cy="44028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tx1"/>
            </a:outerShdw>
          </a:effectLst>
        </p:spPr>
        <p:txBody>
          <a:bodyPr tIns="190800" anchorCtr="1"/>
          <a:lstStyle/>
          <a:p>
            <a:pPr marL="180975" indent="-180975" defTabSz="762000">
              <a:spcBef>
                <a:spcPct val="50000"/>
              </a:spcBef>
              <a:buFont typeface="Wingdings" pitchFamily="2" charset="2"/>
              <a:buChar char="§"/>
              <a:defRPr/>
            </a:pPr>
            <a:endParaRPr kumimoji="1" lang="ko-KR" altLang="en-US" sz="1200" u="none" dirty="0" smtClean="0">
              <a:solidFill>
                <a:prstClr val="black"/>
              </a:solidFill>
              <a:latin typeface="+mj-lt"/>
              <a:ea typeface="산돌고딕 L" pitchFamily="18" charset="-127"/>
            </a:endParaRPr>
          </a:p>
        </p:txBody>
      </p:sp>
      <p:grpSp>
        <p:nvGrpSpPr>
          <p:cNvPr id="2" name="그룹 66"/>
          <p:cNvGrpSpPr/>
          <p:nvPr/>
        </p:nvGrpSpPr>
        <p:grpSpPr>
          <a:xfrm>
            <a:off x="1" y="230307"/>
            <a:ext cx="2990664" cy="410962"/>
            <a:chOff x="0" y="376936"/>
            <a:chExt cx="3914777" cy="632968"/>
          </a:xfrm>
        </p:grpSpPr>
        <p:sp>
          <p:nvSpPr>
            <p:cNvPr id="19" name="직사각형 18"/>
            <p:cNvSpPr/>
            <p:nvPr/>
          </p:nvSpPr>
          <p:spPr>
            <a:xfrm>
              <a:off x="0" y="376936"/>
              <a:ext cx="481888" cy="63296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9050">
              <a:noFill/>
              <a:headEnd type="oval"/>
              <a:tailEnd type="oval"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128016" tIns="64008" rIns="128016" bIns="64008" rtlCol="0" anchor="ctr"/>
            <a:lstStyle/>
            <a:p>
              <a:pPr defTabSz="1280104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+mj-lt"/>
                <a:ea typeface="나눔고딕" pitchFamily="50" charset="-127"/>
              </a:endParaRPr>
            </a:p>
          </p:txBody>
        </p:sp>
        <p:sp>
          <p:nvSpPr>
            <p:cNvPr id="20" name="Text Box 5"/>
            <p:cNvSpPr txBox="1">
              <a:spLocks noChangeArrowheads="1"/>
            </p:cNvSpPr>
            <p:nvPr/>
          </p:nvSpPr>
          <p:spPr bwMode="auto">
            <a:xfrm>
              <a:off x="733710" y="476403"/>
              <a:ext cx="3181067" cy="4740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defTabSz="957198" latinLnBrk="1">
                <a:defRPr/>
              </a:pP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#1. </a:t>
              </a:r>
              <a:r>
                <a:rPr kumimoji="1" lang="ko-KR" altLang="en-US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판매량 예측 대상</a:t>
              </a:r>
            </a:p>
          </p:txBody>
        </p:sp>
      </p:grpSp>
      <p:grpSp>
        <p:nvGrpSpPr>
          <p:cNvPr id="3" name="Group 15"/>
          <p:cNvGrpSpPr>
            <a:grpSpLocks/>
          </p:cNvGrpSpPr>
          <p:nvPr/>
        </p:nvGrpSpPr>
        <p:grpSpPr bwMode="auto">
          <a:xfrm>
            <a:off x="500379" y="1004480"/>
            <a:ext cx="4392000" cy="395288"/>
            <a:chOff x="172" y="887"/>
            <a:chExt cx="422" cy="249"/>
          </a:xfrm>
        </p:grpSpPr>
        <p:sp>
          <p:nvSpPr>
            <p:cNvPr id="26" name="Text Box 16"/>
            <p:cNvSpPr txBox="1">
              <a:spLocks noChangeArrowheads="1"/>
            </p:cNvSpPr>
            <p:nvPr/>
          </p:nvSpPr>
          <p:spPr bwMode="auto">
            <a:xfrm>
              <a:off x="172" y="887"/>
              <a:ext cx="422" cy="24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 defTabSz="761966" fontAlgn="auto" latinLnBrk="1">
                <a:lnSpc>
                  <a:spcPct val="140000"/>
                </a:lnSpc>
                <a:spcBef>
                  <a:spcPct val="50000"/>
                </a:spcBef>
                <a:spcAft>
                  <a:spcPts val="0"/>
                </a:spcAft>
              </a:pPr>
              <a:r>
                <a:rPr lang="ko-KR" altLang="en-US" sz="1600" u="none" dirty="0" smtClean="0">
                  <a:solidFill>
                    <a:prstClr val="black"/>
                  </a:solidFill>
                  <a:latin typeface="+mj-lt"/>
                  <a:ea typeface="맑은 고딕"/>
                </a:rPr>
                <a:t>브랜드</a:t>
              </a:r>
              <a:r>
                <a:rPr lang="en-US" altLang="ko-KR" sz="1600" u="none" dirty="0" smtClean="0">
                  <a:solidFill>
                    <a:prstClr val="black"/>
                  </a:solidFill>
                  <a:latin typeface="+mj-lt"/>
                  <a:ea typeface="맑은 고딕"/>
                </a:rPr>
                <a:t>*</a:t>
              </a:r>
              <a:r>
                <a:rPr lang="ko-KR" altLang="en-US" sz="1600" u="none" dirty="0" smtClean="0">
                  <a:solidFill>
                    <a:prstClr val="black"/>
                  </a:solidFill>
                  <a:latin typeface="+mj-lt"/>
                  <a:ea typeface="맑은 고딕"/>
                </a:rPr>
                <a:t>패키지 판매량 예측 대상</a:t>
              </a:r>
              <a:endParaRPr lang="en-US" altLang="ko-KR" sz="1600" u="none" dirty="0" smtClean="0">
                <a:solidFill>
                  <a:prstClr val="black"/>
                </a:solidFill>
                <a:latin typeface="+mj-lt"/>
                <a:ea typeface="맑은 고딕"/>
              </a:endParaRPr>
            </a:p>
          </p:txBody>
        </p:sp>
        <p:sp>
          <p:nvSpPr>
            <p:cNvPr id="27" name="Line 17"/>
            <p:cNvSpPr>
              <a:spLocks noChangeShapeType="1"/>
            </p:cNvSpPr>
            <p:nvPr/>
          </p:nvSpPr>
          <p:spPr bwMode="auto">
            <a:xfrm flipV="1">
              <a:off x="172" y="1135"/>
              <a:ext cx="42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600" u="none" dirty="0">
                <a:solidFill>
                  <a:prstClr val="black"/>
                </a:solidFill>
                <a:latin typeface="+mj-lt"/>
                <a:ea typeface="맑은 고딕"/>
              </a:endParaRPr>
            </a:p>
          </p:txBody>
        </p:sp>
      </p:grpSp>
      <p:grpSp>
        <p:nvGrpSpPr>
          <p:cNvPr id="4" name="Group 15"/>
          <p:cNvGrpSpPr>
            <a:grpSpLocks/>
          </p:cNvGrpSpPr>
          <p:nvPr/>
        </p:nvGrpSpPr>
        <p:grpSpPr bwMode="auto">
          <a:xfrm>
            <a:off x="5085141" y="1004478"/>
            <a:ext cx="4392000" cy="393700"/>
            <a:chOff x="172" y="887"/>
            <a:chExt cx="422" cy="248"/>
          </a:xfrm>
        </p:grpSpPr>
        <p:sp>
          <p:nvSpPr>
            <p:cNvPr id="29" name="Text Box 16"/>
            <p:cNvSpPr txBox="1">
              <a:spLocks noChangeArrowheads="1"/>
            </p:cNvSpPr>
            <p:nvPr/>
          </p:nvSpPr>
          <p:spPr bwMode="auto">
            <a:xfrm>
              <a:off x="172" y="887"/>
              <a:ext cx="422" cy="21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 defTabSz="761966" fontAlgn="auto" latinLnBrk="1">
                <a:spcBef>
                  <a:spcPct val="50000"/>
                </a:spcBef>
                <a:spcAft>
                  <a:spcPts val="0"/>
                </a:spcAft>
              </a:pPr>
              <a:r>
                <a:rPr lang="ko-KR" altLang="en-US" sz="1600" u="none" dirty="0" smtClean="0">
                  <a:solidFill>
                    <a:prstClr val="black"/>
                  </a:solidFill>
                  <a:latin typeface="+mj-lt"/>
                  <a:ea typeface="맑은 고딕"/>
                </a:rPr>
                <a:t>권역</a:t>
              </a:r>
              <a:r>
                <a:rPr lang="en-US" altLang="ko-KR" sz="1600" u="none" dirty="0" smtClean="0">
                  <a:solidFill>
                    <a:prstClr val="black"/>
                  </a:solidFill>
                  <a:latin typeface="+mj-lt"/>
                  <a:ea typeface="맑은 고딕"/>
                </a:rPr>
                <a:t>*6</a:t>
              </a:r>
              <a:r>
                <a:rPr lang="ko-KR" altLang="en-US" sz="1600" u="none" dirty="0" smtClean="0">
                  <a:solidFill>
                    <a:prstClr val="black"/>
                  </a:solidFill>
                  <a:latin typeface="+mj-lt"/>
                  <a:ea typeface="맑은 고딕"/>
                </a:rPr>
                <a:t>패키지 판매량 예측 대상</a:t>
              </a:r>
              <a:endParaRPr lang="ko-KR" altLang="en-US" sz="1600" u="none" baseline="30000" dirty="0">
                <a:solidFill>
                  <a:prstClr val="black"/>
                </a:solidFill>
                <a:latin typeface="+mj-lt"/>
                <a:ea typeface="맑은 고딕"/>
              </a:endParaRPr>
            </a:p>
          </p:txBody>
        </p:sp>
        <p:sp>
          <p:nvSpPr>
            <p:cNvPr id="30" name="Line 17"/>
            <p:cNvSpPr>
              <a:spLocks noChangeShapeType="1"/>
            </p:cNvSpPr>
            <p:nvPr/>
          </p:nvSpPr>
          <p:spPr bwMode="auto">
            <a:xfrm flipV="1">
              <a:off x="172" y="1135"/>
              <a:ext cx="42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19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600" u="none" dirty="0">
                <a:solidFill>
                  <a:prstClr val="black"/>
                </a:solidFill>
                <a:latin typeface="+mj-lt"/>
                <a:ea typeface="맑은 고딕"/>
              </a:endParaRPr>
            </a:p>
          </p:txBody>
        </p:sp>
      </p:grpSp>
      <p:sp>
        <p:nvSpPr>
          <p:cNvPr id="58" name="실행 단추: 홈 57">
            <a:hlinkClick r:id="rId3" action="ppaction://hlinksldjump" highlightClick="1"/>
          </p:cNvPr>
          <p:cNvSpPr/>
          <p:nvPr/>
        </p:nvSpPr>
        <p:spPr bwMode="auto">
          <a:xfrm>
            <a:off x="9450705" y="428414"/>
            <a:ext cx="288000" cy="288000"/>
          </a:xfrm>
          <a:prstGeom prst="actionButtonHome">
            <a:avLst/>
          </a:prstGeom>
          <a:solidFill>
            <a:srgbClr val="FFFFFF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36000" rIns="90000" bIns="36000" numCol="1" rtlCol="0" anchor="ctr" anchorCtr="0" compatLnSpc="1">
            <a:prstTxWarp prst="textNoShape">
              <a:avLst/>
            </a:prstTxWarp>
          </a:bodyPr>
          <a:lstStyle/>
          <a:p>
            <a:pPr algn="ctr" latinLnBrk="1">
              <a:buFont typeface="Arial" pitchFamily="34" charset="0"/>
              <a:buChar char="•"/>
              <a:defRPr/>
            </a:pPr>
            <a:endParaRPr kumimoji="1" lang="ko-KR" altLang="en-US" sz="1300" u="none" kern="0" dirty="0" smtClean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67" name="직사각형 66"/>
          <p:cNvSpPr/>
          <p:nvPr/>
        </p:nvSpPr>
        <p:spPr>
          <a:xfrm>
            <a:off x="560512" y="1715589"/>
            <a:ext cx="4392488" cy="11341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lnSpc>
                <a:spcPct val="110000"/>
              </a:lnSpc>
              <a:spcBef>
                <a:spcPts val="0"/>
              </a:spcBef>
              <a:buClr>
                <a:srgbClr val="000000"/>
              </a:buClr>
              <a:buFont typeface="Wingdings" pitchFamily="2" charset="2"/>
              <a:buChar char="l"/>
            </a:pPr>
            <a:r>
              <a:rPr kumimoji="1"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판매량 예측 대상 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: 20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개 모형</a:t>
            </a:r>
            <a:endParaRPr kumimoji="1" lang="en-US" altLang="ko-KR" sz="1500" u="none" dirty="0" smtClean="0">
              <a:solidFill>
                <a:srgbClr val="000000"/>
              </a:solidFill>
              <a:latin typeface="+mj-lt"/>
              <a:ea typeface="맑은 고딕"/>
            </a:endParaRPr>
          </a:p>
          <a:p>
            <a:pPr marL="273050" lvl="1" indent="-101600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buFontTx/>
              <a:buChar char="–"/>
            </a:pPr>
            <a:r>
              <a:rPr kumimoji="1" lang="ko-KR" altLang="en-US" b="0" u="none" dirty="0" smtClean="0">
                <a:solidFill>
                  <a:srgbClr val="000000"/>
                </a:solidFill>
                <a:latin typeface="+mj-lt"/>
                <a:ea typeface="맑은 고딕"/>
              </a:rPr>
              <a:t>브랜드 </a:t>
            </a:r>
            <a:r>
              <a:rPr kumimoji="1" lang="en-US" altLang="ko-KR" b="0" u="none" dirty="0" smtClean="0">
                <a:solidFill>
                  <a:srgbClr val="000000"/>
                </a:solidFill>
                <a:latin typeface="+mj-lt"/>
                <a:ea typeface="맑은 고딕"/>
              </a:rPr>
              <a:t>: Cass, Cass Light, OB, </a:t>
            </a:r>
            <a:r>
              <a:rPr kumimoji="1" lang="en-US" altLang="ko-KR" b="0" u="none" dirty="0" err="1" smtClean="0">
                <a:solidFill>
                  <a:srgbClr val="000000"/>
                </a:solidFill>
                <a:latin typeface="+mj-lt"/>
                <a:ea typeface="맑은 고딕"/>
              </a:rPr>
              <a:t>Cafri</a:t>
            </a:r>
            <a:r>
              <a:rPr kumimoji="1" lang="en-US" altLang="ko-KR" b="0" u="none" dirty="0" smtClean="0">
                <a:solidFill>
                  <a:srgbClr val="000000"/>
                </a:solidFill>
                <a:latin typeface="+mj-lt"/>
                <a:ea typeface="맑은 고딕"/>
              </a:rPr>
              <a:t>, Budweiser, </a:t>
            </a:r>
            <a:r>
              <a:rPr kumimoji="1" lang="en-US" altLang="ko-KR" b="0" u="none" dirty="0" err="1" smtClean="0">
                <a:solidFill>
                  <a:srgbClr val="000000"/>
                </a:solidFill>
                <a:latin typeface="+mj-lt"/>
                <a:ea typeface="맑은 고딕"/>
              </a:rPr>
              <a:t>Hoegaarden</a:t>
            </a:r>
            <a:endParaRPr kumimoji="1" lang="en-US" altLang="ko-KR" b="0" u="none" dirty="0" smtClean="0">
              <a:solidFill>
                <a:srgbClr val="000000"/>
              </a:solidFill>
              <a:latin typeface="+mj-lt"/>
              <a:ea typeface="맑은 고딕"/>
            </a:endParaRPr>
          </a:p>
          <a:p>
            <a:pPr marL="273050" lvl="1" indent="-101600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buFontTx/>
              <a:buChar char="–"/>
            </a:pPr>
            <a:r>
              <a:rPr kumimoji="1" lang="ko-KR" altLang="en-US" b="0" u="none" dirty="0" smtClean="0">
                <a:solidFill>
                  <a:srgbClr val="000000"/>
                </a:solidFill>
                <a:latin typeface="+mj-lt"/>
                <a:ea typeface="맑은 고딕"/>
              </a:rPr>
              <a:t>패키지 </a:t>
            </a:r>
            <a:r>
              <a:rPr kumimoji="1" lang="en-US" altLang="ko-KR" b="0" u="none" dirty="0" smtClean="0">
                <a:solidFill>
                  <a:srgbClr val="000000"/>
                </a:solidFill>
                <a:latin typeface="+mj-lt"/>
                <a:ea typeface="맑은 고딕"/>
              </a:rPr>
              <a:t>: Bottle, Can, PET, Keg</a:t>
            </a:r>
          </a:p>
        </p:txBody>
      </p:sp>
      <p:pic>
        <p:nvPicPr>
          <p:cNvPr id="1679370" name="Picture 1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84200" y="2857500"/>
            <a:ext cx="4191000" cy="1574800"/>
          </a:xfrm>
          <a:prstGeom prst="rect">
            <a:avLst/>
          </a:prstGeom>
          <a:noFill/>
          <a:ln w="9525">
            <a:miter lim="800000"/>
            <a:headEnd/>
            <a:tailEnd/>
          </a:ln>
          <a:effectLst/>
        </p:spPr>
      </p:pic>
      <p:sp>
        <p:nvSpPr>
          <p:cNvPr id="70" name="직사각형 69"/>
          <p:cNvSpPr/>
          <p:nvPr/>
        </p:nvSpPr>
        <p:spPr>
          <a:xfrm>
            <a:off x="3693239" y="4440829"/>
            <a:ext cx="1259761" cy="2937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50" indent="-95250">
              <a:lnSpc>
                <a:spcPct val="110000"/>
              </a:lnSpc>
              <a:spcBef>
                <a:spcPts val="0"/>
              </a:spcBef>
              <a:buClr>
                <a:srgbClr val="000000"/>
              </a:buClr>
            </a:pPr>
            <a:r>
              <a:rPr kumimoji="1" lang="en-US" altLang="ko-KR" sz="1300" b="0" u="none" smtClean="0">
                <a:solidFill>
                  <a:srgbClr val="000000"/>
                </a:solidFill>
                <a:latin typeface="+mj-lt"/>
                <a:ea typeface="맑은 고딕"/>
              </a:rPr>
              <a:t>KPI</a:t>
            </a:r>
            <a:r>
              <a:rPr kumimoji="1" lang="ko-KR" altLang="en-US" sz="1300" b="0" u="none" smtClean="0">
                <a:solidFill>
                  <a:srgbClr val="000000"/>
                </a:solidFill>
                <a:latin typeface="+mj-lt"/>
                <a:ea typeface="맑은 고딕"/>
              </a:rPr>
              <a:t> 측정 대상</a:t>
            </a:r>
            <a:endParaRPr kumimoji="1" lang="en-US" altLang="ko-KR" sz="1300" b="0" u="none" dirty="0" smtClean="0">
              <a:solidFill>
                <a:srgbClr val="000000"/>
              </a:solidFill>
              <a:latin typeface="+mj-lt"/>
              <a:ea typeface="맑은 고딕"/>
            </a:endParaRPr>
          </a:p>
        </p:txBody>
      </p:sp>
      <p:sp>
        <p:nvSpPr>
          <p:cNvPr id="74" name="직사각형 73"/>
          <p:cNvSpPr/>
          <p:nvPr/>
        </p:nvSpPr>
        <p:spPr>
          <a:xfrm>
            <a:off x="560512" y="4799103"/>
            <a:ext cx="3902080" cy="14480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lnSpc>
                <a:spcPct val="110000"/>
              </a:lnSpc>
              <a:spcBef>
                <a:spcPts val="0"/>
              </a:spcBef>
              <a:buClr>
                <a:srgbClr val="000000"/>
              </a:buClr>
              <a:buFont typeface="Wingdings" pitchFamily="2" charset="2"/>
              <a:buChar char="l"/>
            </a:pPr>
            <a:r>
              <a:rPr kumimoji="1" lang="en-US" altLang="ko-KR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KPI 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측정 대상 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: 16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개 모형</a:t>
            </a:r>
            <a:endParaRPr kumimoji="1" lang="en-US" altLang="ko-KR" sz="1500" u="none" dirty="0" smtClean="0">
              <a:solidFill>
                <a:srgbClr val="000000"/>
              </a:solidFill>
              <a:latin typeface="+mj-lt"/>
              <a:ea typeface="맑은 고딕"/>
            </a:endParaRPr>
          </a:p>
          <a:p>
            <a:pPr marL="319088" lvl="2" indent="-141288" defTabSz="895311" fontAlgn="auto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SzPct val="120000"/>
              <a:buFont typeface="맑은 고딕" pitchFamily="50" charset="-127"/>
              <a:buChar char="–"/>
            </a:pPr>
            <a:r>
              <a:rPr lang="ko-KR" altLang="en-US" b="0" u="none" kern="0" dirty="0" smtClean="0">
                <a:solidFill>
                  <a:sysClr val="windowText" lastClr="000000"/>
                </a:solidFill>
                <a:latin typeface="+mj-lt"/>
                <a:ea typeface="맑은 고딕"/>
              </a:rPr>
              <a:t>최근 </a:t>
            </a:r>
            <a:r>
              <a:rPr lang="en-US" altLang="ko-KR" b="0" u="none" kern="0" dirty="0" smtClean="0">
                <a:solidFill>
                  <a:sysClr val="windowText" lastClr="000000"/>
                </a:solidFill>
                <a:latin typeface="+mj-lt"/>
                <a:ea typeface="맑은 고딕"/>
              </a:rPr>
              <a:t>4</a:t>
            </a:r>
            <a:r>
              <a:rPr lang="ko-KR" altLang="en-US" b="0" u="none" kern="0" dirty="0" smtClean="0">
                <a:solidFill>
                  <a:sysClr val="windowText" lastClr="000000"/>
                </a:solidFill>
                <a:latin typeface="+mj-lt"/>
                <a:ea typeface="맑은 고딕"/>
              </a:rPr>
              <a:t>주 </a:t>
            </a:r>
            <a:r>
              <a:rPr lang="ko-KR" altLang="en-US" b="0" u="none" kern="0" dirty="0" err="1" smtClean="0">
                <a:solidFill>
                  <a:sysClr val="windowText" lastClr="000000"/>
                </a:solidFill>
                <a:latin typeface="+mj-lt"/>
                <a:ea typeface="맑은 고딕"/>
              </a:rPr>
              <a:t>주별</a:t>
            </a:r>
            <a:r>
              <a:rPr lang="ko-KR" altLang="en-US" b="0" u="none" kern="0" dirty="0" smtClean="0">
                <a:solidFill>
                  <a:sysClr val="windowText" lastClr="000000"/>
                </a:solidFill>
                <a:latin typeface="+mj-lt"/>
                <a:ea typeface="맑은 고딕"/>
              </a:rPr>
              <a:t> 예측 판매량</a:t>
            </a:r>
            <a:endParaRPr lang="en-US" altLang="ko-KR" b="0" u="none" kern="0" dirty="0" smtClean="0">
              <a:solidFill>
                <a:sysClr val="windowText" lastClr="000000"/>
              </a:solidFill>
              <a:latin typeface="+mj-lt"/>
              <a:ea typeface="맑은 고딕"/>
            </a:endParaRPr>
          </a:p>
          <a:p>
            <a:pPr marL="319088" lvl="2" indent="-141288" defTabSz="895311" fontAlgn="auto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SzPct val="120000"/>
              <a:buFont typeface="맑은 고딕" pitchFamily="50" charset="-127"/>
              <a:buChar char="–"/>
            </a:pPr>
            <a:r>
              <a:rPr lang="ko-KR" altLang="en-US" b="0" u="none" kern="0" dirty="0" smtClean="0">
                <a:solidFill>
                  <a:sysClr val="windowText" lastClr="000000"/>
                </a:solidFill>
                <a:latin typeface="+mj-lt"/>
                <a:ea typeface="맑은 고딕"/>
              </a:rPr>
              <a:t>목표 정확도 </a:t>
            </a:r>
            <a:r>
              <a:rPr lang="en-US" altLang="ko-KR" b="0" u="none" kern="0" dirty="0" smtClean="0">
                <a:solidFill>
                  <a:sysClr val="windowText" lastClr="000000"/>
                </a:solidFill>
                <a:latin typeface="+mj-lt"/>
                <a:ea typeface="맑은 고딕"/>
              </a:rPr>
              <a:t>95%</a:t>
            </a:r>
          </a:p>
          <a:p>
            <a:pPr marL="319088" lvl="2" indent="-141288" defTabSz="895311" fontAlgn="auto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SzPct val="120000"/>
              <a:buFont typeface="맑은 고딕" pitchFamily="50" charset="-127"/>
              <a:buChar char="–"/>
            </a:pPr>
            <a:r>
              <a:rPr lang="ko-KR" altLang="en-US" b="0" u="none" kern="0" dirty="0" err="1" smtClean="0">
                <a:solidFill>
                  <a:sysClr val="windowText" lastClr="000000"/>
                </a:solidFill>
                <a:latin typeface="+mj-lt"/>
                <a:ea typeface="맑은 고딕"/>
              </a:rPr>
              <a:t>주차별</a:t>
            </a:r>
            <a:r>
              <a:rPr lang="ko-KR" altLang="en-US" b="0" u="none" kern="0" dirty="0" smtClean="0">
                <a:solidFill>
                  <a:sysClr val="windowText" lastClr="000000"/>
                </a:solidFill>
                <a:latin typeface="+mj-lt"/>
                <a:ea typeface="맑은 고딕"/>
              </a:rPr>
              <a:t> 정확도 산출 후 가중치 부여</a:t>
            </a:r>
            <a:endParaRPr lang="en-US" altLang="ko-KR" b="0" u="none" kern="0" dirty="0" smtClean="0">
              <a:solidFill>
                <a:sysClr val="windowText" lastClr="000000"/>
              </a:solidFill>
              <a:latin typeface="+mj-lt"/>
              <a:ea typeface="맑은 고딕"/>
            </a:endParaRPr>
          </a:p>
          <a:p>
            <a:pPr marL="319088" lvl="2" indent="-141288" defTabSz="895311" fontAlgn="auto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SzPct val="120000"/>
              <a:buFontTx/>
              <a:buChar char="※"/>
            </a:pPr>
            <a:r>
              <a:rPr lang="en-US" altLang="ko-KR" b="0" u="none" kern="0" dirty="0" smtClean="0">
                <a:solidFill>
                  <a:sysClr val="windowText" lastClr="000000"/>
                </a:solidFill>
                <a:latin typeface="+mj-lt"/>
                <a:ea typeface="맑은 고딕"/>
              </a:rPr>
              <a:t>1</a:t>
            </a:r>
            <a:r>
              <a:rPr lang="ko-KR" altLang="en-US" b="0" u="none" kern="0" dirty="0" smtClean="0">
                <a:solidFill>
                  <a:sysClr val="windowText" lastClr="000000"/>
                </a:solidFill>
                <a:latin typeface="+mj-lt"/>
                <a:ea typeface="맑은 고딕"/>
              </a:rPr>
              <a:t>주</a:t>
            </a:r>
            <a:r>
              <a:rPr lang="en-US" altLang="ko-KR" b="0" u="none" kern="0" dirty="0" smtClean="0">
                <a:solidFill>
                  <a:sysClr val="windowText" lastClr="000000"/>
                </a:solidFill>
                <a:latin typeface="+mj-lt"/>
                <a:ea typeface="맑은 고딕"/>
              </a:rPr>
              <a:t>: 40%, 2</a:t>
            </a:r>
            <a:r>
              <a:rPr lang="ko-KR" altLang="en-US" b="0" u="none" kern="0" dirty="0" smtClean="0">
                <a:solidFill>
                  <a:sysClr val="windowText" lastClr="000000"/>
                </a:solidFill>
                <a:latin typeface="+mj-lt"/>
                <a:ea typeface="맑은 고딕"/>
              </a:rPr>
              <a:t>주</a:t>
            </a:r>
            <a:r>
              <a:rPr lang="en-US" altLang="ko-KR" b="0" u="none" kern="0" dirty="0" smtClean="0">
                <a:solidFill>
                  <a:sysClr val="windowText" lastClr="000000"/>
                </a:solidFill>
                <a:latin typeface="+mj-lt"/>
                <a:ea typeface="맑은 고딕"/>
              </a:rPr>
              <a:t>: 30%, 3</a:t>
            </a:r>
            <a:r>
              <a:rPr lang="ko-KR" altLang="en-US" b="0" u="none" kern="0" dirty="0" smtClean="0">
                <a:solidFill>
                  <a:sysClr val="windowText" lastClr="000000"/>
                </a:solidFill>
                <a:latin typeface="+mj-lt"/>
                <a:ea typeface="맑은 고딕"/>
              </a:rPr>
              <a:t>주</a:t>
            </a:r>
            <a:r>
              <a:rPr lang="en-US" altLang="ko-KR" b="0" u="none" kern="0" dirty="0" smtClean="0">
                <a:solidFill>
                  <a:sysClr val="windowText" lastClr="000000"/>
                </a:solidFill>
                <a:latin typeface="+mj-lt"/>
                <a:ea typeface="맑은 고딕"/>
              </a:rPr>
              <a:t>: 20%, 4</a:t>
            </a:r>
            <a:r>
              <a:rPr lang="ko-KR" altLang="en-US" b="0" u="none" kern="0" dirty="0" smtClean="0">
                <a:solidFill>
                  <a:sysClr val="windowText" lastClr="000000"/>
                </a:solidFill>
                <a:latin typeface="+mj-lt"/>
                <a:ea typeface="맑은 고딕"/>
              </a:rPr>
              <a:t>주</a:t>
            </a:r>
            <a:r>
              <a:rPr lang="en-US" altLang="ko-KR" b="0" u="none" kern="0" dirty="0" smtClean="0">
                <a:solidFill>
                  <a:sysClr val="windowText" lastClr="000000"/>
                </a:solidFill>
                <a:latin typeface="+mj-lt"/>
                <a:ea typeface="맑은 고딕"/>
              </a:rPr>
              <a:t>: 10%</a:t>
            </a:r>
          </a:p>
        </p:txBody>
      </p:sp>
      <p:sp>
        <p:nvSpPr>
          <p:cNvPr id="77" name="직사각형 76"/>
          <p:cNvSpPr/>
          <p:nvPr/>
        </p:nvSpPr>
        <p:spPr>
          <a:xfrm>
            <a:off x="5169024" y="1715589"/>
            <a:ext cx="4248472" cy="11341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lnSpc>
                <a:spcPct val="110000"/>
              </a:lnSpc>
              <a:spcBef>
                <a:spcPts val="0"/>
              </a:spcBef>
              <a:buClr>
                <a:srgbClr val="000000"/>
              </a:buClr>
              <a:buFont typeface="Wingdings" pitchFamily="2" charset="2"/>
              <a:buChar char="l"/>
            </a:pPr>
            <a:r>
              <a:rPr kumimoji="1"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판매량 예측 대상 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: 39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개 모형</a:t>
            </a:r>
            <a:endParaRPr kumimoji="1" lang="en-US" altLang="ko-KR" sz="1500" u="none" dirty="0" smtClean="0">
              <a:solidFill>
                <a:srgbClr val="000000"/>
              </a:solidFill>
              <a:latin typeface="+mj-lt"/>
              <a:ea typeface="맑은 고딕"/>
            </a:endParaRPr>
          </a:p>
          <a:p>
            <a:pPr marL="355600" indent="-177800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buFontTx/>
              <a:buChar char="–"/>
            </a:pPr>
            <a:r>
              <a:rPr kumimoji="1" lang="ko-KR" altLang="en-US" b="0" u="none" dirty="0" smtClean="0">
                <a:solidFill>
                  <a:srgbClr val="000000"/>
                </a:solidFill>
                <a:latin typeface="+mj-lt"/>
                <a:ea typeface="맑은 고딕"/>
              </a:rPr>
              <a:t>권역 </a:t>
            </a:r>
            <a:r>
              <a:rPr kumimoji="1" lang="en-US" altLang="ko-KR" b="0" u="none" dirty="0" smtClean="0">
                <a:solidFill>
                  <a:srgbClr val="000000"/>
                </a:solidFill>
                <a:latin typeface="+mj-lt"/>
                <a:ea typeface="맑은 고딕"/>
              </a:rPr>
              <a:t>: </a:t>
            </a:r>
            <a:r>
              <a:rPr kumimoji="1" lang="ko-KR" altLang="en-US" b="0" u="none" dirty="0" smtClean="0">
                <a:solidFill>
                  <a:srgbClr val="000000"/>
                </a:solidFill>
                <a:latin typeface="+mj-lt"/>
                <a:ea typeface="맑은 고딕"/>
              </a:rPr>
              <a:t>서울</a:t>
            </a:r>
            <a:r>
              <a:rPr kumimoji="1" lang="en-US" altLang="ko-KR" b="0" u="none" dirty="0" smtClean="0">
                <a:solidFill>
                  <a:srgbClr val="000000"/>
                </a:solidFill>
                <a:latin typeface="+mj-lt"/>
                <a:ea typeface="맑은 고딕"/>
              </a:rPr>
              <a:t>, </a:t>
            </a:r>
            <a:r>
              <a:rPr kumimoji="1" lang="ko-KR" altLang="en-US" b="0" u="none" dirty="0" smtClean="0">
                <a:solidFill>
                  <a:srgbClr val="000000"/>
                </a:solidFill>
                <a:latin typeface="+mj-lt"/>
                <a:ea typeface="맑은 고딕"/>
              </a:rPr>
              <a:t>수도</a:t>
            </a:r>
            <a:r>
              <a:rPr kumimoji="1" lang="en-US" altLang="ko-KR" b="0" u="none" dirty="0" smtClean="0">
                <a:solidFill>
                  <a:srgbClr val="000000"/>
                </a:solidFill>
                <a:latin typeface="+mj-lt"/>
                <a:ea typeface="맑은 고딕"/>
              </a:rPr>
              <a:t>, </a:t>
            </a:r>
            <a:r>
              <a:rPr kumimoji="1" lang="ko-KR" altLang="en-US" b="0" u="none" dirty="0" smtClean="0">
                <a:solidFill>
                  <a:srgbClr val="000000"/>
                </a:solidFill>
                <a:latin typeface="+mj-lt"/>
                <a:ea typeface="맑은 고딕"/>
              </a:rPr>
              <a:t>중부</a:t>
            </a:r>
            <a:r>
              <a:rPr kumimoji="1" lang="en-US" altLang="ko-KR" b="0" u="none" dirty="0" smtClean="0">
                <a:solidFill>
                  <a:srgbClr val="000000"/>
                </a:solidFill>
                <a:latin typeface="+mj-lt"/>
                <a:ea typeface="맑은 고딕"/>
              </a:rPr>
              <a:t>, </a:t>
            </a:r>
            <a:r>
              <a:rPr kumimoji="1" lang="ko-KR" altLang="en-US" b="0" u="none" dirty="0" smtClean="0">
                <a:solidFill>
                  <a:srgbClr val="000000"/>
                </a:solidFill>
                <a:latin typeface="+mj-lt"/>
                <a:ea typeface="맑은 고딕"/>
              </a:rPr>
              <a:t>호남</a:t>
            </a:r>
            <a:r>
              <a:rPr kumimoji="1" lang="en-US" altLang="ko-KR" b="0" u="none" dirty="0" smtClean="0">
                <a:solidFill>
                  <a:srgbClr val="000000"/>
                </a:solidFill>
                <a:latin typeface="+mj-lt"/>
                <a:ea typeface="맑은 고딕"/>
              </a:rPr>
              <a:t>, </a:t>
            </a:r>
            <a:r>
              <a:rPr kumimoji="1" lang="ko-KR" altLang="en-US" b="0" u="none" dirty="0" smtClean="0">
                <a:solidFill>
                  <a:srgbClr val="000000"/>
                </a:solidFill>
                <a:latin typeface="+mj-lt"/>
                <a:ea typeface="맑은 고딕"/>
              </a:rPr>
              <a:t>경남</a:t>
            </a:r>
            <a:r>
              <a:rPr kumimoji="1" lang="en-US" altLang="ko-KR" b="0" u="none" dirty="0" smtClean="0">
                <a:solidFill>
                  <a:srgbClr val="000000"/>
                </a:solidFill>
                <a:latin typeface="+mj-lt"/>
                <a:ea typeface="맑은 고딕"/>
              </a:rPr>
              <a:t>, </a:t>
            </a:r>
            <a:r>
              <a:rPr kumimoji="1" lang="ko-KR" altLang="en-US" b="0" u="none" dirty="0" smtClean="0">
                <a:solidFill>
                  <a:srgbClr val="000000"/>
                </a:solidFill>
                <a:latin typeface="+mj-lt"/>
                <a:ea typeface="맑은 고딕"/>
              </a:rPr>
              <a:t>경북</a:t>
            </a:r>
            <a:r>
              <a:rPr kumimoji="1" lang="en-US" altLang="ko-KR" b="0" u="none" dirty="0" smtClean="0">
                <a:solidFill>
                  <a:srgbClr val="000000"/>
                </a:solidFill>
                <a:latin typeface="+mj-lt"/>
                <a:ea typeface="맑은 고딕"/>
              </a:rPr>
              <a:t>, </a:t>
            </a:r>
            <a:r>
              <a:rPr kumimoji="1" lang="ko-KR" altLang="en-US" b="0" u="none" dirty="0" smtClean="0">
                <a:solidFill>
                  <a:srgbClr val="000000"/>
                </a:solidFill>
                <a:latin typeface="+mj-lt"/>
                <a:ea typeface="맑은 고딕"/>
              </a:rPr>
              <a:t>가정</a:t>
            </a:r>
          </a:p>
          <a:p>
            <a:pPr marL="355600" indent="-177800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buFontTx/>
              <a:buChar char="–"/>
            </a:pPr>
            <a:r>
              <a:rPr kumimoji="1" lang="en-US" altLang="ko-KR" b="0" u="none" dirty="0" smtClean="0">
                <a:solidFill>
                  <a:srgbClr val="000000"/>
                </a:solidFill>
                <a:latin typeface="+mj-lt"/>
                <a:ea typeface="맑은 고딕"/>
              </a:rPr>
              <a:t>6-</a:t>
            </a:r>
            <a:r>
              <a:rPr kumimoji="1" lang="ko-KR" altLang="en-US" b="0" u="none" dirty="0" smtClean="0">
                <a:solidFill>
                  <a:srgbClr val="000000"/>
                </a:solidFill>
                <a:latin typeface="+mj-lt"/>
                <a:ea typeface="맑은 고딕"/>
              </a:rPr>
              <a:t>패키지 </a:t>
            </a:r>
            <a:r>
              <a:rPr kumimoji="1" lang="en-US" altLang="ko-KR" b="0" u="none" dirty="0" smtClean="0">
                <a:solidFill>
                  <a:srgbClr val="000000"/>
                </a:solidFill>
                <a:latin typeface="+mj-lt"/>
                <a:ea typeface="맑은 고딕"/>
              </a:rPr>
              <a:t>: On 500ml, On 330ml, OFF </a:t>
            </a:r>
            <a:r>
              <a:rPr kumimoji="1" lang="ko-KR" altLang="en-US" b="0" u="none" dirty="0" smtClean="0">
                <a:solidFill>
                  <a:srgbClr val="000000"/>
                </a:solidFill>
                <a:latin typeface="+mj-lt"/>
                <a:ea typeface="맑은 고딕"/>
              </a:rPr>
              <a:t>병</a:t>
            </a:r>
            <a:r>
              <a:rPr kumimoji="1" lang="en-US" altLang="ko-KR" b="0" u="none" dirty="0" smtClean="0">
                <a:solidFill>
                  <a:srgbClr val="000000"/>
                </a:solidFill>
                <a:latin typeface="+mj-lt"/>
                <a:ea typeface="맑은 고딕"/>
              </a:rPr>
              <a:t>, Can, Q-pack, </a:t>
            </a:r>
            <a:r>
              <a:rPr kumimoji="1" lang="ko-KR" altLang="en-US" b="0" u="none" dirty="0" smtClean="0">
                <a:solidFill>
                  <a:srgbClr val="000000"/>
                </a:solidFill>
                <a:latin typeface="+mj-lt"/>
                <a:ea typeface="맑은 고딕"/>
              </a:rPr>
              <a:t>생맥주</a:t>
            </a:r>
            <a:endParaRPr kumimoji="1" lang="en-US" altLang="ko-KR" b="0" u="none" dirty="0" smtClean="0">
              <a:solidFill>
                <a:srgbClr val="000000"/>
              </a:solidFill>
              <a:latin typeface="+mj-lt"/>
              <a:ea typeface="맑은 고딕"/>
            </a:endParaRPr>
          </a:p>
        </p:txBody>
      </p:sp>
      <p:sp>
        <p:nvSpPr>
          <p:cNvPr id="78" name="직사각형 77"/>
          <p:cNvSpPr/>
          <p:nvPr/>
        </p:nvSpPr>
        <p:spPr>
          <a:xfrm>
            <a:off x="5169024" y="4799103"/>
            <a:ext cx="3816424" cy="3247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lnSpc>
                <a:spcPct val="110000"/>
              </a:lnSpc>
              <a:spcBef>
                <a:spcPts val="0"/>
              </a:spcBef>
              <a:buClr>
                <a:srgbClr val="000000"/>
              </a:buClr>
              <a:buFont typeface="Wingdings" pitchFamily="2" charset="2"/>
              <a:buChar char="l"/>
            </a:pPr>
            <a:r>
              <a:rPr kumimoji="1" lang="en-US" altLang="ko-KR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KPI 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측정 대상 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: 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없음</a:t>
            </a:r>
            <a:endParaRPr lang="en-US" altLang="ko-KR" b="0" u="none" kern="0" dirty="0" smtClean="0">
              <a:solidFill>
                <a:sysClr val="windowText" lastClr="000000"/>
              </a:solidFill>
              <a:latin typeface="+mj-lt"/>
              <a:ea typeface="맑은 고딕"/>
            </a:endParaRPr>
          </a:p>
        </p:txBody>
      </p:sp>
      <p:sp>
        <p:nvSpPr>
          <p:cNvPr id="22" name="직사각형 21"/>
          <p:cNvSpPr/>
          <p:nvPr/>
        </p:nvSpPr>
        <p:spPr>
          <a:xfrm>
            <a:off x="3440832" y="4509120"/>
            <a:ext cx="252000" cy="18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95" fontAlgn="auto" latinLnBrk="1">
              <a:spcBef>
                <a:spcPts val="0"/>
              </a:spcBef>
              <a:spcAft>
                <a:spcPts val="0"/>
              </a:spcAft>
            </a:pPr>
            <a:endParaRPr lang="ko-KR" altLang="en-US" sz="1800" b="0" u="none" dirty="0">
              <a:solidFill>
                <a:prstClr val="white"/>
              </a:solidFill>
              <a:latin typeface="+mj-lt"/>
            </a:endParaRPr>
          </a:p>
        </p:txBody>
      </p:sp>
      <p:grpSp>
        <p:nvGrpSpPr>
          <p:cNvPr id="5" name="그룹 32"/>
          <p:cNvGrpSpPr/>
          <p:nvPr/>
        </p:nvGrpSpPr>
        <p:grpSpPr>
          <a:xfrm>
            <a:off x="5219700" y="2857500"/>
            <a:ext cx="4127500" cy="1866900"/>
            <a:chOff x="5219700" y="2857500"/>
            <a:chExt cx="4127500" cy="1866900"/>
          </a:xfrm>
        </p:grpSpPr>
        <p:pic>
          <p:nvPicPr>
            <p:cNvPr id="1679371" name="Picture 11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219700" y="2857500"/>
              <a:ext cx="4127500" cy="1866900"/>
            </a:xfrm>
            <a:prstGeom prst="rect">
              <a:avLst/>
            </a:prstGeom>
            <a:noFill/>
            <a:ln w="9525">
              <a:miter lim="800000"/>
              <a:headEnd/>
              <a:tailEnd/>
            </a:ln>
            <a:effectLst/>
          </p:spPr>
        </p:pic>
        <p:sp>
          <p:nvSpPr>
            <p:cNvPr id="25" name="TextBox 24"/>
            <p:cNvSpPr txBox="1"/>
            <p:nvPr/>
          </p:nvSpPr>
          <p:spPr>
            <a:xfrm>
              <a:off x="8901589" y="4477604"/>
              <a:ext cx="396000" cy="20005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 defTabSz="914195" fontAlgn="auto" latinLnBrk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300" b="0" u="none" dirty="0" smtClean="0">
                  <a:solidFill>
                    <a:srgbClr val="990033"/>
                  </a:solidFill>
                  <a:latin typeface="+mj-lt"/>
                  <a:ea typeface="맑은 고딕"/>
                </a:rPr>
                <a:t>N/A</a:t>
              </a:r>
              <a:endParaRPr lang="ko-KR" altLang="en-US" sz="1300" b="0" u="none" dirty="0">
                <a:solidFill>
                  <a:srgbClr val="990033"/>
                </a:solidFill>
                <a:latin typeface="+mj-lt"/>
                <a:ea typeface="맑은 고딕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8901589" y="3246532"/>
              <a:ext cx="396000" cy="20005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 defTabSz="914195" fontAlgn="auto" latinLnBrk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300" b="0" u="none" dirty="0" smtClean="0">
                  <a:solidFill>
                    <a:srgbClr val="990033"/>
                  </a:solidFill>
                  <a:latin typeface="+mj-lt"/>
                  <a:ea typeface="맑은 고딕"/>
                </a:rPr>
                <a:t>N/A</a:t>
              </a:r>
              <a:endParaRPr lang="ko-KR" altLang="en-US" sz="1300" b="0" u="none" dirty="0">
                <a:solidFill>
                  <a:srgbClr val="990033"/>
                </a:solidFill>
                <a:latin typeface="+mj-lt"/>
                <a:ea typeface="맑은 고딕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8901589" y="3495297"/>
              <a:ext cx="396000" cy="20005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 defTabSz="914195" fontAlgn="auto" latinLnBrk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ko-KR" sz="1300" b="0" u="none" dirty="0" smtClean="0">
                  <a:solidFill>
                    <a:srgbClr val="990033"/>
                  </a:solidFill>
                  <a:latin typeface="+mj-lt"/>
                  <a:ea typeface="맑은 고딕"/>
                </a:rPr>
                <a:t>N/A</a:t>
              </a:r>
              <a:endParaRPr lang="ko-KR" altLang="en-US" sz="1300" b="0" u="none" dirty="0">
                <a:solidFill>
                  <a:srgbClr val="990033"/>
                </a:solidFill>
                <a:latin typeface="+mj-lt"/>
                <a:ea typeface="맑은 고딕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그룹 66"/>
          <p:cNvGrpSpPr/>
          <p:nvPr/>
        </p:nvGrpSpPr>
        <p:grpSpPr>
          <a:xfrm>
            <a:off x="1" y="230307"/>
            <a:ext cx="2137867" cy="410962"/>
            <a:chOff x="0" y="376936"/>
            <a:chExt cx="2798467" cy="632968"/>
          </a:xfrm>
        </p:grpSpPr>
        <p:sp>
          <p:nvSpPr>
            <p:cNvPr id="6" name="직사각형 5"/>
            <p:cNvSpPr/>
            <p:nvPr/>
          </p:nvSpPr>
          <p:spPr>
            <a:xfrm>
              <a:off x="0" y="376936"/>
              <a:ext cx="481888" cy="63296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9050">
              <a:noFill/>
              <a:headEnd type="oval"/>
              <a:tailEnd type="oval"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128016" tIns="64008" rIns="128016" bIns="64008" rtlCol="0" anchor="ctr"/>
            <a:lstStyle/>
            <a:p>
              <a:pPr defTabSz="1280104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+mj-lt"/>
                <a:ea typeface="나눔고딕" pitchFamily="50" charset="-127"/>
              </a:endParaRPr>
            </a:p>
          </p:txBody>
        </p:sp>
        <p:sp>
          <p:nvSpPr>
            <p:cNvPr id="7" name="Text Box 5"/>
            <p:cNvSpPr txBox="1">
              <a:spLocks noChangeArrowheads="1"/>
            </p:cNvSpPr>
            <p:nvPr/>
          </p:nvSpPr>
          <p:spPr bwMode="auto">
            <a:xfrm>
              <a:off x="733710" y="476403"/>
              <a:ext cx="2064757" cy="4740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defTabSz="957198" latinLnBrk="1">
                <a:defRPr/>
              </a:pP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#2. </a:t>
              </a:r>
              <a:r>
                <a:rPr kumimoji="1" lang="ko-KR" altLang="en-US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모형 결과</a:t>
              </a:r>
            </a:p>
          </p:txBody>
        </p:sp>
      </p:grp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622126" y="831352"/>
            <a:ext cx="926009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57240">
              <a:defRPr/>
            </a:pPr>
            <a:r>
              <a:rPr kumimoji="1" lang="ko-KR" altLang="en-US" sz="1600" u="none" dirty="0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판매량 예측에 사용하기 위해 영업</a:t>
            </a:r>
            <a:r>
              <a:rPr kumimoji="1" lang="en-US" altLang="ko-KR" sz="1600" u="none" dirty="0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, </a:t>
            </a:r>
            <a:r>
              <a:rPr kumimoji="1" lang="ko-KR" altLang="en-US" sz="1600" u="none" dirty="0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마케팅</a:t>
            </a:r>
            <a:r>
              <a:rPr kumimoji="1" lang="en-US" altLang="ko-KR" sz="1600" u="none" dirty="0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, </a:t>
            </a:r>
            <a:r>
              <a:rPr kumimoji="1" lang="ko-KR" altLang="en-US" sz="1600" u="none" dirty="0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외부로부터 수집한 </a:t>
            </a:r>
            <a:r>
              <a:rPr kumimoji="1" lang="en-US" altLang="ko-KR" sz="1600" u="none" dirty="0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Data</a:t>
            </a:r>
            <a:r>
              <a:rPr kumimoji="1" lang="ko-KR" altLang="en-US" sz="1600" u="none" dirty="0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는 </a:t>
            </a:r>
            <a:r>
              <a:rPr kumimoji="1" lang="en-US" altLang="ko-KR" sz="1600" u="none" dirty="0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233</a:t>
            </a:r>
            <a:r>
              <a:rPr kumimoji="1" lang="ko-KR" altLang="en-US" sz="1600" u="none" dirty="0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개임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54400" y="2017671"/>
            <a:ext cx="8928000" cy="42480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tx1"/>
            </a:outerShdw>
          </a:effectLst>
        </p:spPr>
        <p:txBody>
          <a:bodyPr tIns="190800" anchorCtr="1"/>
          <a:lstStyle/>
          <a:p>
            <a:pPr marL="180975" indent="-180975" defTabSz="762000">
              <a:spcBef>
                <a:spcPct val="50000"/>
              </a:spcBef>
              <a:buFont typeface="Wingdings" pitchFamily="2" charset="2"/>
              <a:buChar char="§"/>
              <a:defRPr/>
            </a:pPr>
            <a:endParaRPr kumimoji="1" lang="en-US" altLang="ko-KR" sz="1200" u="none" dirty="0" smtClean="0">
              <a:solidFill>
                <a:prstClr val="black"/>
              </a:solidFill>
              <a:latin typeface="맑은 고딕" pitchFamily="50" charset="-127"/>
            </a:endParaRPr>
          </a:p>
        </p:txBody>
      </p:sp>
      <p:grpSp>
        <p:nvGrpSpPr>
          <p:cNvPr id="10" name="Group 15"/>
          <p:cNvGrpSpPr>
            <a:grpSpLocks/>
          </p:cNvGrpSpPr>
          <p:nvPr/>
        </p:nvGrpSpPr>
        <p:grpSpPr bwMode="auto">
          <a:xfrm>
            <a:off x="3981000" y="1364661"/>
            <a:ext cx="1944000" cy="329188"/>
            <a:chOff x="172" y="887"/>
            <a:chExt cx="1323" cy="211"/>
          </a:xfrm>
        </p:grpSpPr>
        <p:sp>
          <p:nvSpPr>
            <p:cNvPr id="11" name="Text Box 16"/>
            <p:cNvSpPr txBox="1">
              <a:spLocks noChangeArrowheads="1"/>
            </p:cNvSpPr>
            <p:nvPr/>
          </p:nvSpPr>
          <p:spPr bwMode="auto">
            <a:xfrm>
              <a:off x="207" y="887"/>
              <a:ext cx="1288" cy="20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 defTabSz="762000" fontAlgn="auto" latinLnBrk="1">
                <a:spcBef>
                  <a:spcPct val="50000"/>
                </a:spcBef>
                <a:spcAft>
                  <a:spcPts val="0"/>
                </a:spcAft>
              </a:pPr>
              <a:r>
                <a:rPr lang="ko-KR" altLang="en-US" sz="1500" u="none" dirty="0" smtClean="0">
                  <a:solidFill>
                    <a:prstClr val="black"/>
                  </a:solidFill>
                  <a:latin typeface="맑은 고딕" pitchFamily="50" charset="-127"/>
                </a:rPr>
                <a:t>수집 </a:t>
              </a:r>
              <a:r>
                <a:rPr lang="en-US" altLang="ko-KR" sz="1500" u="none" dirty="0" smtClean="0">
                  <a:solidFill>
                    <a:prstClr val="black"/>
                  </a:solidFill>
                  <a:latin typeface="맑은 고딕" pitchFamily="50" charset="-127"/>
                </a:rPr>
                <a:t>Data</a:t>
              </a:r>
              <a:r>
                <a:rPr lang="en-US" altLang="ko-KR" sz="1600" u="none" baseline="30000" dirty="0" smtClean="0">
                  <a:solidFill>
                    <a:prstClr val="black"/>
                  </a:solidFill>
                  <a:latin typeface="맑은 고딕" pitchFamily="50" charset="-127"/>
                </a:rPr>
                <a:t>1)</a:t>
              </a:r>
              <a:endParaRPr lang="ko-KR" altLang="en-US" sz="1600" u="none" baseline="30000" dirty="0" smtClean="0">
                <a:solidFill>
                  <a:prstClr val="black"/>
                </a:solidFill>
                <a:latin typeface="맑은 고딕" pitchFamily="50" charset="-127"/>
              </a:endParaRPr>
            </a:p>
          </p:txBody>
        </p:sp>
        <p:sp>
          <p:nvSpPr>
            <p:cNvPr id="12" name="Line 17"/>
            <p:cNvSpPr>
              <a:spLocks noChangeShapeType="1"/>
            </p:cNvSpPr>
            <p:nvPr/>
          </p:nvSpPr>
          <p:spPr bwMode="auto">
            <a:xfrm flipV="1">
              <a:off x="172" y="1098"/>
              <a:ext cx="128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500" u="none" dirty="0">
                <a:solidFill>
                  <a:prstClr val="black"/>
                </a:solidFill>
                <a:latin typeface="맑은 고딕" pitchFamily="50" charset="-127"/>
              </a:endParaRPr>
            </a:p>
          </p:txBody>
        </p:sp>
      </p:grpSp>
      <p:sp>
        <p:nvSpPr>
          <p:cNvPr id="13" name="Freeform 6"/>
          <p:cNvSpPr>
            <a:spLocks/>
          </p:cNvSpPr>
          <p:nvPr>
            <p:custDataLst>
              <p:tags r:id="rId1"/>
            </p:custDataLst>
          </p:nvPr>
        </p:nvSpPr>
        <p:spPr bwMode="blackWhite">
          <a:xfrm>
            <a:off x="776536" y="2168481"/>
            <a:ext cx="3960000" cy="3960000"/>
          </a:xfrm>
          <a:prstGeom prst="foldedCorner">
            <a:avLst>
              <a:gd name="adj" fmla="val 13968"/>
            </a:avLst>
          </a:prstGeom>
          <a:solidFill>
            <a:srgbClr val="FDF9F9"/>
          </a:solidFill>
          <a:ln w="12700" cap="flat" cmpd="sng" algn="ctr">
            <a:solidFill>
              <a:schemeClr val="bg1">
                <a:lumMod val="50000"/>
              </a:schemeClr>
            </a:solidFill>
            <a:prstDash val="sysDot"/>
          </a:ln>
          <a:effectLst/>
        </p:spPr>
        <p:txBody>
          <a:bodyPr vert="horz" lIns="18000" tIns="18000" rIns="18000" bIns="18000" rtlCol="0" anchor="ctr"/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20000"/>
              <a:defRPr/>
            </a:pPr>
            <a:endParaRPr lang="ko-KR" altLang="en-US" b="0" u="none" kern="0" dirty="0">
              <a:solidFill>
                <a:prstClr val="black">
                  <a:lumMod val="75000"/>
                  <a:lumOff val="25000"/>
                </a:prstClr>
              </a:solidFill>
              <a:latin typeface="맑은 고딕" pitchFamily="50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064568" y="2461169"/>
            <a:ext cx="3384376" cy="30664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82550" indent="-82550" defTabSz="914360">
              <a:lnSpc>
                <a:spcPct val="130000"/>
              </a:lnSpc>
              <a:spcBef>
                <a:spcPts val="500"/>
              </a:spcBef>
              <a:spcAft>
                <a:spcPts val="500"/>
              </a:spcAft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ko-KR" altLang="en-US" u="none" kern="0" dirty="0" smtClean="0">
                <a:solidFill>
                  <a:prstClr val="black"/>
                </a:solidFill>
                <a:latin typeface="맑은 고딕" pitchFamily="50" charset="-127"/>
              </a:rPr>
              <a:t>영업 </a:t>
            </a:r>
            <a:r>
              <a:rPr lang="en-US" altLang="ko-KR" u="none" kern="0" dirty="0" smtClean="0">
                <a:solidFill>
                  <a:prstClr val="black"/>
                </a:solidFill>
                <a:latin typeface="맑은 고딕" pitchFamily="50" charset="-127"/>
              </a:rPr>
              <a:t>(66</a:t>
            </a:r>
            <a:r>
              <a:rPr lang="ko-KR" altLang="en-US" u="none" kern="0" dirty="0" smtClean="0">
                <a:solidFill>
                  <a:prstClr val="black"/>
                </a:solidFill>
                <a:latin typeface="맑은 고딕" pitchFamily="50" charset="-127"/>
              </a:rPr>
              <a:t>개</a:t>
            </a:r>
            <a:r>
              <a:rPr lang="en-US" altLang="ko-KR" u="none" kern="0" dirty="0" smtClean="0">
                <a:solidFill>
                  <a:prstClr val="black"/>
                </a:solidFill>
                <a:latin typeface="맑은 고딕" pitchFamily="50" charset="-127"/>
              </a:rPr>
              <a:t>)</a:t>
            </a:r>
          </a:p>
          <a:p>
            <a:pPr marL="276225" lvl="1" indent="-82550" defTabSz="91436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prstClr val="black"/>
              </a:buClr>
              <a:buFontTx/>
              <a:buChar char="-"/>
              <a:defRPr/>
            </a:pP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OFF : Hyper/CVS/TRAD POCs</a:t>
            </a:r>
          </a:p>
          <a:p>
            <a:pPr marL="276225" lvl="1" indent="-82550" defTabSz="91436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prstClr val="black"/>
              </a:buClr>
              <a:buFontTx/>
              <a:buChar char="-"/>
              <a:defRPr/>
            </a:pP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ON : BNO/DRAFT/KR POCs,  </a:t>
            </a:r>
            <a:b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</a:b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      BNO/DRAFT </a:t>
            </a: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신규전향</a:t>
            </a:r>
            <a:endParaRPr lang="en-US" altLang="ko-KR" sz="1300" b="0" u="none" kern="0" spc="-50" dirty="0" smtClean="0">
              <a:solidFill>
                <a:prstClr val="black"/>
              </a:solidFill>
              <a:latin typeface="맑은 고딕" pitchFamily="50" charset="-127"/>
            </a:endParaRPr>
          </a:p>
          <a:p>
            <a:pPr marL="276225" lvl="1" indent="-82550" defTabSz="91436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prstClr val="black"/>
              </a:buClr>
              <a:buFontTx/>
              <a:buChar char="-"/>
              <a:defRPr/>
            </a:pP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SPPM : Sales </a:t>
            </a:r>
            <a:r>
              <a:rPr lang="en-US" altLang="ko-KR" sz="1300" b="0" u="none" kern="0" spc="-50" dirty="0">
                <a:solidFill>
                  <a:prstClr val="black"/>
                </a:solidFill>
                <a:latin typeface="맑은 고딕" pitchFamily="50" charset="-127"/>
              </a:rPr>
              <a:t>Package, Target, </a:t>
            </a: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재고</a:t>
            </a:r>
            <a:endParaRPr lang="en-US" altLang="ko-KR" sz="1300" b="0" u="none" kern="0" spc="-50" dirty="0" smtClean="0">
              <a:solidFill>
                <a:prstClr val="black"/>
              </a:solidFill>
              <a:latin typeface="맑은 고딕" pitchFamily="50" charset="-127"/>
            </a:endParaRPr>
          </a:p>
          <a:p>
            <a:pPr marL="276225" lvl="1" indent="-82550" defTabSz="91436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prstClr val="black"/>
              </a:buClr>
              <a:buFontTx/>
              <a:buChar char="-"/>
              <a:defRPr/>
            </a:pP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KWAM : Traditional </a:t>
            </a: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판매</a:t>
            </a: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, </a:t>
            </a: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주류 판매</a:t>
            </a:r>
            <a:endParaRPr lang="en-US" altLang="ko-KR" sz="1300" b="0" u="none" kern="0" spc="-50" dirty="0">
              <a:solidFill>
                <a:prstClr val="black"/>
              </a:solidFill>
              <a:latin typeface="맑은 고딕" pitchFamily="50" charset="-127"/>
            </a:endParaRPr>
          </a:p>
          <a:p>
            <a:pPr marL="82550" indent="-82550" defTabSz="914360">
              <a:lnSpc>
                <a:spcPct val="130000"/>
              </a:lnSpc>
              <a:spcBef>
                <a:spcPts val="500"/>
              </a:spcBef>
              <a:spcAft>
                <a:spcPts val="500"/>
              </a:spcAft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ko-KR" altLang="en-US" u="none" kern="0" dirty="0" smtClean="0">
                <a:solidFill>
                  <a:prstClr val="black"/>
                </a:solidFill>
                <a:latin typeface="맑은 고딕" pitchFamily="50" charset="-127"/>
              </a:rPr>
              <a:t>마케팅 </a:t>
            </a:r>
            <a:r>
              <a:rPr lang="en-US" altLang="ko-KR" u="none" kern="0" dirty="0" smtClean="0">
                <a:solidFill>
                  <a:prstClr val="black"/>
                </a:solidFill>
                <a:latin typeface="맑은 고딕" pitchFamily="50" charset="-127"/>
              </a:rPr>
              <a:t>(43</a:t>
            </a:r>
            <a:r>
              <a:rPr lang="ko-KR" altLang="en-US" u="none" kern="0" dirty="0" smtClean="0">
                <a:solidFill>
                  <a:prstClr val="black"/>
                </a:solidFill>
                <a:latin typeface="맑은 고딕" pitchFamily="50" charset="-127"/>
              </a:rPr>
              <a:t>개</a:t>
            </a:r>
            <a:r>
              <a:rPr lang="en-US" altLang="ko-KR" u="none" kern="0" dirty="0" smtClean="0">
                <a:solidFill>
                  <a:prstClr val="black"/>
                </a:solidFill>
                <a:latin typeface="맑은 고딕" pitchFamily="50" charset="-127"/>
              </a:rPr>
              <a:t>)</a:t>
            </a:r>
          </a:p>
          <a:p>
            <a:pPr marL="276225" lvl="1" indent="-82550" defTabSz="91436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prstClr val="black"/>
              </a:buClr>
              <a:buFontTx/>
              <a:buChar char="-"/>
              <a:defRPr/>
            </a:pP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OFF : Modern Channel Index,</a:t>
            </a:r>
            <a:b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</a:b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        </a:t>
            </a:r>
            <a:r>
              <a:rPr lang="en-US" altLang="ko-KR" sz="1300" b="0" u="none" kern="0" spc="-50" dirty="0" err="1" smtClean="0">
                <a:solidFill>
                  <a:prstClr val="black"/>
                </a:solidFill>
                <a:latin typeface="맑은 고딕" pitchFamily="50" charset="-127"/>
              </a:rPr>
              <a:t>Neilsen</a:t>
            </a: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 Retail Index, </a:t>
            </a:r>
            <a:r>
              <a:rPr lang="ko-KR" altLang="en-US" sz="1300" b="0" u="none" kern="0" spc="-50" dirty="0" err="1" smtClean="0">
                <a:solidFill>
                  <a:prstClr val="black"/>
                </a:solidFill>
                <a:latin typeface="맑은 고딕" pitchFamily="50" charset="-127"/>
              </a:rPr>
              <a:t>던험비</a:t>
            </a: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 매출액</a:t>
            </a:r>
            <a:endParaRPr lang="en-US" altLang="ko-KR" sz="1300" b="0" u="none" kern="0" spc="-50" dirty="0" smtClean="0">
              <a:solidFill>
                <a:prstClr val="black"/>
              </a:solidFill>
              <a:latin typeface="맑은 고딕" pitchFamily="50" charset="-127"/>
            </a:endParaRPr>
          </a:p>
          <a:p>
            <a:pPr marL="276225" lvl="1" indent="-82550" defTabSz="91436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prstClr val="black"/>
              </a:buClr>
              <a:buFontTx/>
              <a:buChar char="-"/>
              <a:defRPr/>
            </a:pP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브랜드지표</a:t>
            </a: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, </a:t>
            </a: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광고지표</a:t>
            </a: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, </a:t>
            </a: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외부지표</a:t>
            </a:r>
            <a:endParaRPr lang="en-US" altLang="ko-KR" sz="1300" b="0" u="none" kern="0" spc="-50" dirty="0" smtClean="0">
              <a:solidFill>
                <a:prstClr val="black"/>
              </a:solidFill>
              <a:latin typeface="맑은 고딕" pitchFamily="50" charset="-127"/>
            </a:endParaRPr>
          </a:p>
          <a:p>
            <a:pPr marL="276225" lvl="1" indent="-82550" defTabSz="91436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prstClr val="black"/>
              </a:buClr>
              <a:buFontTx/>
              <a:buChar char="-"/>
              <a:defRPr/>
            </a:pP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마케팅 예산</a:t>
            </a:r>
            <a:endParaRPr lang="en-US" altLang="ko-KR" sz="1300" b="0" u="none" kern="0" spc="-50" dirty="0" smtClean="0">
              <a:solidFill>
                <a:prstClr val="black"/>
              </a:solidFill>
              <a:latin typeface="맑은 고딕" pitchFamily="50" charset="-127"/>
            </a:endParaRPr>
          </a:p>
        </p:txBody>
      </p:sp>
      <p:sp>
        <p:nvSpPr>
          <p:cNvPr id="15" name="Freeform 6"/>
          <p:cNvSpPr>
            <a:spLocks/>
          </p:cNvSpPr>
          <p:nvPr>
            <p:custDataLst>
              <p:tags r:id="rId2"/>
            </p:custDataLst>
          </p:nvPr>
        </p:nvSpPr>
        <p:spPr bwMode="blackWhite">
          <a:xfrm>
            <a:off x="5361698" y="2168481"/>
            <a:ext cx="3960000" cy="3960000"/>
          </a:xfrm>
          <a:prstGeom prst="foldedCorner">
            <a:avLst>
              <a:gd name="adj" fmla="val 13668"/>
            </a:avLst>
          </a:prstGeom>
          <a:solidFill>
            <a:srgbClr val="FDF9F9"/>
          </a:solidFill>
          <a:ln w="12700" cap="flat" cmpd="sng" algn="ctr">
            <a:solidFill>
              <a:schemeClr val="bg1">
                <a:lumMod val="50000"/>
              </a:schemeClr>
            </a:solidFill>
            <a:prstDash val="sysDot"/>
          </a:ln>
          <a:effectLst/>
        </p:spPr>
        <p:txBody>
          <a:bodyPr vert="horz" lIns="18000" tIns="18000" rIns="18000" bIns="18000" rtlCol="0" anchor="ctr"/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20000"/>
              <a:defRPr/>
            </a:pPr>
            <a:endParaRPr lang="ko-KR" altLang="en-US" b="0" u="none" kern="0" dirty="0">
              <a:solidFill>
                <a:prstClr val="black">
                  <a:lumMod val="75000"/>
                  <a:lumOff val="25000"/>
                </a:prstClr>
              </a:solidFill>
              <a:latin typeface="맑은 고딕" pitchFamily="50" charset="-127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673080" y="2461169"/>
            <a:ext cx="3384376" cy="23970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82550" indent="-82550" defTabSz="914360">
              <a:lnSpc>
                <a:spcPct val="130000"/>
              </a:lnSpc>
              <a:spcBef>
                <a:spcPts val="500"/>
              </a:spcBef>
              <a:spcAft>
                <a:spcPts val="500"/>
              </a:spcAft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ko-KR" altLang="en-US" u="none" kern="0" dirty="0" smtClean="0">
                <a:solidFill>
                  <a:prstClr val="black"/>
                </a:solidFill>
                <a:latin typeface="맑은 고딕" pitchFamily="50" charset="-127"/>
              </a:rPr>
              <a:t>날씨</a:t>
            </a:r>
            <a:r>
              <a:rPr lang="en-US" altLang="ko-KR" u="none" kern="0" dirty="0" smtClean="0">
                <a:solidFill>
                  <a:prstClr val="black"/>
                </a:solidFill>
                <a:latin typeface="맑은 고딕" pitchFamily="50" charset="-127"/>
              </a:rPr>
              <a:t> (78</a:t>
            </a:r>
            <a:r>
              <a:rPr lang="ko-KR" altLang="en-US" u="none" kern="0" dirty="0" smtClean="0">
                <a:solidFill>
                  <a:prstClr val="black"/>
                </a:solidFill>
                <a:latin typeface="맑은 고딕" pitchFamily="50" charset="-127"/>
              </a:rPr>
              <a:t>개</a:t>
            </a:r>
            <a:r>
              <a:rPr lang="en-US" altLang="ko-KR" u="none" kern="0" dirty="0" smtClean="0">
                <a:solidFill>
                  <a:prstClr val="black"/>
                </a:solidFill>
                <a:latin typeface="맑은 고딕" pitchFamily="50" charset="-127"/>
              </a:rPr>
              <a:t>)</a:t>
            </a:r>
            <a:r>
              <a:rPr lang="en-US" altLang="ko-KR" sz="1300" b="0" u="none" kern="0" spc="-50" dirty="0">
                <a:solidFill>
                  <a:prstClr val="black"/>
                </a:solidFill>
                <a:latin typeface="맑은 고딕" pitchFamily="50" charset="-127"/>
              </a:rPr>
              <a:t/>
            </a:r>
            <a:br>
              <a:rPr lang="en-US" altLang="ko-KR" sz="1300" b="0" u="none" kern="0" spc="-50" dirty="0">
                <a:solidFill>
                  <a:prstClr val="black"/>
                </a:solidFill>
                <a:latin typeface="맑은 고딕" pitchFamily="50" charset="-127"/>
              </a:rPr>
            </a:br>
            <a:r>
              <a:rPr lang="en-US" altLang="ko-KR" sz="1300" b="0" u="none" kern="0" spc="-50" dirty="0">
                <a:solidFill>
                  <a:prstClr val="black"/>
                </a:solidFill>
                <a:latin typeface="맑은 고딕" pitchFamily="50" charset="-127"/>
              </a:rPr>
              <a:t>- </a:t>
            </a: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기온</a:t>
            </a:r>
            <a:r>
              <a:rPr lang="en-US" altLang="ko-KR" sz="1300" b="0" u="none" kern="0" spc="-50" dirty="0">
                <a:solidFill>
                  <a:prstClr val="black"/>
                </a:solidFill>
                <a:latin typeface="맑은 고딕" pitchFamily="50" charset="-127"/>
              </a:rPr>
              <a:t>, </a:t>
            </a:r>
            <a:r>
              <a:rPr lang="ko-KR" altLang="en-US" sz="1300" b="0" u="none" kern="0" spc="-50" dirty="0">
                <a:solidFill>
                  <a:prstClr val="black"/>
                </a:solidFill>
                <a:latin typeface="맑은 고딕" pitchFamily="50" charset="-127"/>
              </a:rPr>
              <a:t>비</a:t>
            </a:r>
            <a:r>
              <a:rPr lang="en-US" altLang="ko-KR" sz="1300" b="0" u="none" kern="0" spc="-50" dirty="0">
                <a:solidFill>
                  <a:prstClr val="black"/>
                </a:solidFill>
                <a:latin typeface="맑은 고딕" pitchFamily="50" charset="-127"/>
              </a:rPr>
              <a:t>, </a:t>
            </a: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강수량 예보</a:t>
            </a: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/</a:t>
            </a: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실적 </a:t>
            </a:r>
            <a:endParaRPr lang="en-US" altLang="ko-KR" sz="1300" b="0" u="none" kern="0" spc="-50" dirty="0">
              <a:solidFill>
                <a:prstClr val="black"/>
              </a:solidFill>
              <a:latin typeface="맑은 고딕" pitchFamily="50" charset="-127"/>
            </a:endParaRPr>
          </a:p>
          <a:p>
            <a:pPr marL="82550" indent="-82550" defTabSz="914360">
              <a:lnSpc>
                <a:spcPct val="130000"/>
              </a:lnSpc>
              <a:spcBef>
                <a:spcPts val="500"/>
              </a:spcBef>
              <a:spcAft>
                <a:spcPts val="500"/>
              </a:spcAft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en-US" altLang="ko-KR" u="none" kern="0" dirty="0" smtClean="0">
                <a:solidFill>
                  <a:prstClr val="black"/>
                </a:solidFill>
                <a:latin typeface="맑은 고딕" pitchFamily="50" charset="-127"/>
              </a:rPr>
              <a:t>Trend / Event (46</a:t>
            </a:r>
            <a:r>
              <a:rPr lang="ko-KR" altLang="en-US" u="none" kern="0" dirty="0" smtClean="0">
                <a:solidFill>
                  <a:prstClr val="black"/>
                </a:solidFill>
                <a:latin typeface="맑은 고딕" pitchFamily="50" charset="-127"/>
              </a:rPr>
              <a:t>개</a:t>
            </a:r>
            <a:r>
              <a:rPr lang="en-US" altLang="ko-KR" u="none" kern="0" dirty="0" smtClean="0">
                <a:solidFill>
                  <a:prstClr val="black"/>
                </a:solidFill>
                <a:latin typeface="맑은 고딕" pitchFamily="50" charset="-127"/>
              </a:rPr>
              <a:t>)</a:t>
            </a:r>
            <a:r>
              <a:rPr lang="en-US" altLang="ko-KR" sz="1300" b="0" u="none" kern="0" spc="-50" dirty="0">
                <a:solidFill>
                  <a:prstClr val="black"/>
                </a:solidFill>
                <a:latin typeface="맑은 고딕" pitchFamily="50" charset="-127"/>
              </a:rPr>
              <a:t/>
            </a:r>
            <a:br>
              <a:rPr lang="en-US" altLang="ko-KR" sz="1300" b="0" u="none" kern="0" spc="-50" dirty="0">
                <a:solidFill>
                  <a:prstClr val="black"/>
                </a:solidFill>
                <a:latin typeface="맑은 고딕" pitchFamily="50" charset="-127"/>
              </a:rPr>
            </a:br>
            <a:r>
              <a:rPr lang="en-US" altLang="ko-KR" sz="1300" b="0" u="none" kern="0" spc="-50" dirty="0">
                <a:solidFill>
                  <a:prstClr val="black"/>
                </a:solidFill>
                <a:latin typeface="맑은 고딕" pitchFamily="50" charset="-127"/>
              </a:rPr>
              <a:t>- </a:t>
            </a: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Year </a:t>
            </a:r>
            <a:r>
              <a:rPr lang="en-US" altLang="ko-KR" sz="1300" b="0" u="none" kern="0" spc="-50" dirty="0" err="1" smtClean="0">
                <a:solidFill>
                  <a:prstClr val="black"/>
                </a:solidFill>
                <a:latin typeface="맑은 고딕" pitchFamily="50" charset="-127"/>
              </a:rPr>
              <a:t>Seq</a:t>
            </a: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, Week </a:t>
            </a:r>
            <a:r>
              <a:rPr lang="en-US" altLang="ko-KR" sz="1300" b="0" u="none" kern="0" spc="-50" dirty="0" err="1" smtClean="0">
                <a:solidFill>
                  <a:prstClr val="black"/>
                </a:solidFill>
                <a:latin typeface="맑은 고딕" pitchFamily="50" charset="-127"/>
              </a:rPr>
              <a:t>Seq</a:t>
            </a: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, Day </a:t>
            </a:r>
            <a:r>
              <a:rPr lang="en-US" altLang="ko-KR" sz="1300" b="0" u="none" kern="0" spc="-50" dirty="0" err="1" smtClean="0">
                <a:solidFill>
                  <a:prstClr val="black"/>
                </a:solidFill>
                <a:latin typeface="맑은 고딕" pitchFamily="50" charset="-127"/>
              </a:rPr>
              <a:t>Seq</a:t>
            </a: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 </a:t>
            </a: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등 </a:t>
            </a: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Trend </a:t>
            </a: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변수</a:t>
            </a: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/>
            </a:r>
            <a:b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</a:b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- </a:t>
            </a: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명절</a:t>
            </a:r>
            <a:r>
              <a:rPr lang="en-US" altLang="ko-KR" sz="1300" b="0" u="none" kern="0" spc="-50" dirty="0">
                <a:solidFill>
                  <a:prstClr val="black"/>
                </a:solidFill>
                <a:latin typeface="맑은 고딕" pitchFamily="50" charset="-127"/>
              </a:rPr>
              <a:t>, </a:t>
            </a:r>
            <a:r>
              <a:rPr lang="ko-KR" altLang="en-US" sz="1300" b="0" u="none" kern="0" spc="-50" dirty="0">
                <a:solidFill>
                  <a:prstClr val="black"/>
                </a:solidFill>
                <a:latin typeface="맑은 고딕" pitchFamily="50" charset="-127"/>
              </a:rPr>
              <a:t>공휴일</a:t>
            </a:r>
            <a:r>
              <a:rPr lang="en-US" altLang="ko-KR" sz="1300" b="0" u="none" kern="0" spc="-50" dirty="0">
                <a:solidFill>
                  <a:prstClr val="black"/>
                </a:solidFill>
                <a:latin typeface="맑은 고딕" pitchFamily="50" charset="-127"/>
              </a:rPr>
              <a:t>, </a:t>
            </a:r>
            <a:r>
              <a:rPr lang="ko-KR" altLang="en-US" sz="1300" b="0" u="none" kern="0" spc="-50" dirty="0">
                <a:solidFill>
                  <a:prstClr val="black"/>
                </a:solidFill>
                <a:latin typeface="맑은 고딕" pitchFamily="50" charset="-127"/>
              </a:rPr>
              <a:t>근무일</a:t>
            </a:r>
            <a:r>
              <a:rPr lang="en-US" altLang="ko-KR" sz="1300" b="0" u="none" kern="0" spc="-50" dirty="0">
                <a:solidFill>
                  <a:prstClr val="black"/>
                </a:solidFill>
                <a:latin typeface="맑은 고딕" pitchFamily="50" charset="-127"/>
              </a:rPr>
              <a:t>, </a:t>
            </a:r>
            <a:r>
              <a:rPr lang="ko-KR" altLang="en-US" sz="1300" b="0" u="none" kern="0" spc="-50" dirty="0" err="1">
                <a:solidFill>
                  <a:prstClr val="black"/>
                </a:solidFill>
                <a:latin typeface="맑은 고딕" pitchFamily="50" charset="-127"/>
              </a:rPr>
              <a:t>도매사</a:t>
            </a:r>
            <a:r>
              <a:rPr lang="ko-KR" altLang="en-US" sz="1300" b="0" u="none" kern="0" spc="-50" dirty="0">
                <a:solidFill>
                  <a:prstClr val="black"/>
                </a:solidFill>
                <a:latin typeface="맑은 고딕" pitchFamily="50" charset="-127"/>
              </a:rPr>
              <a:t> 휴가 </a:t>
            </a: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등 </a:t>
            </a: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Event </a:t>
            </a: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변수</a:t>
            </a:r>
            <a:endParaRPr lang="en-US" altLang="ko-KR" sz="1300" b="0" u="none" kern="0" spc="-50" dirty="0" smtClean="0">
              <a:solidFill>
                <a:prstClr val="black"/>
              </a:solidFill>
              <a:latin typeface="맑은 고딕" pitchFamily="50" charset="-127"/>
            </a:endParaRPr>
          </a:p>
          <a:p>
            <a:pPr marL="82550" indent="-82550" defTabSz="914360">
              <a:lnSpc>
                <a:spcPct val="130000"/>
              </a:lnSpc>
              <a:spcBef>
                <a:spcPts val="500"/>
              </a:spcBef>
              <a:spcAft>
                <a:spcPts val="500"/>
              </a:spcAft>
              <a:buClr>
                <a:prstClr val="black"/>
              </a:buClr>
              <a:buFont typeface="Wingdings" pitchFamily="2" charset="2"/>
              <a:buChar char="§"/>
              <a:defRPr/>
            </a:pPr>
            <a:r>
              <a:rPr lang="ko-KR" altLang="en-US" u="none" kern="0" dirty="0" smtClean="0">
                <a:solidFill>
                  <a:prstClr val="black"/>
                </a:solidFill>
                <a:latin typeface="맑은 고딕" pitchFamily="50" charset="-127"/>
              </a:rPr>
              <a:t>판매량</a:t>
            </a: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/>
            </a:r>
            <a:b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</a:b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- </a:t>
            </a: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일자</a:t>
            </a: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, </a:t>
            </a: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권역</a:t>
            </a: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, </a:t>
            </a: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브랜드</a:t>
            </a: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, </a:t>
            </a:r>
            <a:r>
              <a:rPr lang="ko-KR" altLang="en-US" sz="1300" b="0" u="none" kern="0" spc="-50" dirty="0" err="1" smtClean="0">
                <a:solidFill>
                  <a:prstClr val="black"/>
                </a:solidFill>
                <a:latin typeface="맑은 고딕" pitchFamily="50" charset="-127"/>
              </a:rPr>
              <a:t>패키지별</a:t>
            </a: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 </a:t>
            </a: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 </a:t>
            </a: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상세 판매량</a:t>
            </a:r>
            <a:endParaRPr lang="en-US" altLang="ko-KR" sz="1300" b="0" u="none" kern="0" spc="-50" dirty="0" smtClean="0">
              <a:solidFill>
                <a:prstClr val="black"/>
              </a:solidFill>
              <a:latin typeface="맑은 고딕" pitchFamily="50" charset="-127"/>
            </a:endParaRPr>
          </a:p>
        </p:txBody>
      </p:sp>
      <p:cxnSp>
        <p:nvCxnSpPr>
          <p:cNvPr id="17" name="직선 연결선 16"/>
          <p:cNvCxnSpPr/>
          <p:nvPr/>
        </p:nvCxnSpPr>
        <p:spPr bwMode="auto">
          <a:xfrm rot="5400000">
            <a:off x="3038400" y="4148481"/>
            <a:ext cx="3960000" cy="0"/>
          </a:xfrm>
          <a:prstGeom prst="line">
            <a:avLst/>
          </a:prstGeom>
          <a:solidFill>
            <a:srgbClr val="A3A3A3">
              <a:alpha val="2000"/>
            </a:srgbClr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직사각형 17"/>
          <p:cNvSpPr/>
          <p:nvPr/>
        </p:nvSpPr>
        <p:spPr>
          <a:xfrm>
            <a:off x="3872880" y="6309320"/>
            <a:ext cx="5112568" cy="292382"/>
          </a:xfrm>
          <a:prstGeom prst="rect">
            <a:avLst/>
          </a:prstGeom>
        </p:spPr>
        <p:txBody>
          <a:bodyPr wrap="square" lIns="91433" tIns="45717" rIns="91433" bIns="45717">
            <a:spAutoFit/>
          </a:bodyPr>
          <a:lstStyle/>
          <a:p>
            <a:pPr marL="177792" indent="-177792" algn="r" defTabSz="914195" fontAlgn="auto">
              <a:spcBef>
                <a:spcPts val="300"/>
              </a:spcBef>
              <a:spcAft>
                <a:spcPts val="0"/>
              </a:spcAft>
            </a:pPr>
            <a:r>
              <a:rPr lang="ko-KR" altLang="en-US" sz="1300" b="0" u="none" dirty="0" smtClean="0">
                <a:solidFill>
                  <a:prstClr val="black"/>
                </a:solidFill>
                <a:latin typeface="맑은 고딕" pitchFamily="50" charset="-127"/>
              </a:rPr>
              <a:t>주</a:t>
            </a:r>
            <a:r>
              <a:rPr lang="en-US" altLang="ko-KR" sz="1300" b="0" u="none" dirty="0" smtClean="0">
                <a:solidFill>
                  <a:prstClr val="black"/>
                </a:solidFill>
                <a:latin typeface="맑은 고딕" pitchFamily="50" charset="-127"/>
              </a:rPr>
              <a:t>1) Confidential </a:t>
            </a:r>
            <a:r>
              <a:rPr lang="ko-KR" altLang="en-US" sz="1300" b="0" u="none" dirty="0" smtClean="0">
                <a:solidFill>
                  <a:prstClr val="black"/>
                </a:solidFill>
                <a:latin typeface="맑은 고딕" pitchFamily="50" charset="-127"/>
              </a:rPr>
              <a:t>자료이며</a:t>
            </a:r>
            <a:r>
              <a:rPr lang="en-US" altLang="ko-KR" sz="1300" b="0" u="none" dirty="0" smtClean="0">
                <a:solidFill>
                  <a:prstClr val="black"/>
                </a:solidFill>
                <a:latin typeface="맑은 고딕" pitchFamily="50" charset="-127"/>
              </a:rPr>
              <a:t>, </a:t>
            </a:r>
            <a:r>
              <a:rPr lang="ko-KR" altLang="en-US" sz="1300" b="0" u="none" dirty="0" smtClean="0">
                <a:solidFill>
                  <a:prstClr val="black"/>
                </a:solidFill>
                <a:latin typeface="맑은 고딕" pitchFamily="50" charset="-127"/>
              </a:rPr>
              <a:t>보안유지서약서 작성 이후 전달받음</a:t>
            </a:r>
            <a:endParaRPr lang="en-US" altLang="ko-KR" sz="1300" b="0" u="none" dirty="0" smtClean="0">
              <a:solidFill>
                <a:prstClr val="black"/>
              </a:solidFill>
              <a:latin typeface="맑은 고딕" pitchFamily="50" charset="-127"/>
            </a:endParaRP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66"/>
          <p:cNvGrpSpPr/>
          <p:nvPr/>
        </p:nvGrpSpPr>
        <p:grpSpPr>
          <a:xfrm>
            <a:off x="1" y="230307"/>
            <a:ext cx="2028863" cy="410962"/>
            <a:chOff x="0" y="376936"/>
            <a:chExt cx="2655781" cy="632968"/>
          </a:xfrm>
        </p:grpSpPr>
        <p:sp>
          <p:nvSpPr>
            <p:cNvPr id="3" name="직사각형 2"/>
            <p:cNvSpPr/>
            <p:nvPr/>
          </p:nvSpPr>
          <p:spPr>
            <a:xfrm>
              <a:off x="0" y="376936"/>
              <a:ext cx="481888" cy="63296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9050">
              <a:noFill/>
              <a:headEnd type="oval"/>
              <a:tailEnd type="oval"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128016" tIns="64008" rIns="128016" bIns="64008" rtlCol="0" anchor="ctr"/>
            <a:lstStyle/>
            <a:p>
              <a:pPr defTabSz="1280104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+mj-lt"/>
                <a:ea typeface="나눔고딕" pitchFamily="50" charset="-127"/>
              </a:endParaRPr>
            </a:p>
          </p:txBody>
        </p:sp>
        <p:sp>
          <p:nvSpPr>
            <p:cNvPr id="4" name="Text Box 5"/>
            <p:cNvSpPr txBox="1">
              <a:spLocks noChangeArrowheads="1"/>
            </p:cNvSpPr>
            <p:nvPr/>
          </p:nvSpPr>
          <p:spPr bwMode="auto">
            <a:xfrm>
              <a:off x="733710" y="476403"/>
              <a:ext cx="1922071" cy="4740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defTabSz="957198" latinLnBrk="1">
                <a:defRPr/>
              </a:pP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ea typeface="맑은 고딕"/>
                  <a:cs typeface="Meiryo UI" pitchFamily="34" charset="-128"/>
                </a:rPr>
                <a:t>#2. </a:t>
              </a:r>
              <a:r>
                <a:rPr kumimoji="1" lang="ko-KR" altLang="en-US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ea typeface="맑은 고딕"/>
                  <a:cs typeface="Meiryo UI" pitchFamily="34" charset="-128"/>
                </a:rPr>
                <a:t>모형 결과</a:t>
              </a:r>
            </a:p>
          </p:txBody>
        </p:sp>
      </p:grpSp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622126" y="831352"/>
            <a:ext cx="926009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57240">
              <a:defRPr/>
            </a:pP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  <a:cs typeface="Meiryo UI" pitchFamily="34" charset="-128"/>
              </a:rPr>
              <a:t>판매량에 영향을 미치는 </a:t>
            </a: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  <a:cs typeface="Meiryo UI" pitchFamily="34" charset="-128"/>
              </a:rPr>
              <a:t>Key Factor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  <a:cs typeface="Meiryo UI" pitchFamily="34" charset="-128"/>
              </a:rPr>
              <a:t>를 대상으로 예측 모형에 투입할 변수를 정의함</a:t>
            </a:r>
          </a:p>
        </p:txBody>
      </p:sp>
      <p:graphicFrame>
        <p:nvGraphicFramePr>
          <p:cNvPr id="6" name="표 5"/>
          <p:cNvGraphicFramePr>
            <a:graphicFrameLocks noGrp="1"/>
          </p:cNvGraphicFramePr>
          <p:nvPr/>
        </p:nvGraphicFramePr>
        <p:xfrm>
          <a:off x="584263" y="1335227"/>
          <a:ext cx="8833233" cy="4885571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837654"/>
                <a:gridCol w="1193188"/>
                <a:gridCol w="5866287"/>
                <a:gridCol w="936104"/>
              </a:tblGrid>
              <a:tr h="32500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1400" b="1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구분</a:t>
                      </a:r>
                      <a:endParaRPr lang="ko-KR" altLang="en-US" sz="1400" b="1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  <a:alpha val="80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1pPr>
                      <a:lvl2pPr marL="478822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2pPr>
                      <a:lvl3pPr marL="957644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3pPr>
                      <a:lvl4pPr marL="1436465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4pPr>
                      <a:lvl5pPr marL="1915286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5pPr>
                      <a:lvl6pPr marL="2394107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6pPr>
                      <a:lvl7pPr marL="2872929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7pPr>
                      <a:lvl8pPr marL="3351750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8pPr>
                      <a:lvl9pPr marL="3830572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1400" b="1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유형                           </a:t>
                      </a:r>
                      <a:endParaRPr lang="ko-KR" altLang="en-US" sz="1400" b="1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  <a:alpha val="80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1pPr>
                      <a:lvl2pPr marL="478822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2pPr>
                      <a:lvl3pPr marL="957644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3pPr>
                      <a:lvl4pPr marL="1436465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4pPr>
                      <a:lvl5pPr marL="1915286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5pPr>
                      <a:lvl6pPr marL="2394107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6pPr>
                      <a:lvl7pPr marL="2872929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7pPr>
                      <a:lvl8pPr marL="3351750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8pPr>
                      <a:lvl9pPr marL="3830572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1400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변수</a:t>
                      </a:r>
                      <a:endParaRPr lang="ko-KR" altLang="en-US" sz="1400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  <a:alpha val="80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1400" b="1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기</a:t>
                      </a:r>
                      <a:endParaRPr lang="ko-KR" altLang="en-US" sz="1400" b="1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  <a:alpha val="80000"/>
                      </a:sysClr>
                    </a:solidFill>
                  </a:tcPr>
                </a:tc>
              </a:tr>
              <a:tr h="270533">
                <a:tc rowSpan="6"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lnSpc>
                          <a:spcPct val="110000"/>
                        </a:lnSpc>
                      </a:pPr>
                      <a:r>
                        <a:rPr lang="ko-KR" altLang="en-US" sz="1400" b="1" spc="-1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선행</a:t>
                      </a:r>
                      <a:endParaRPr lang="en-US" altLang="ko-KR" sz="1400" b="1" spc="-100" baseline="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0">
                        <a:lnSpc>
                          <a:spcPct val="110000"/>
                        </a:lnSpc>
                      </a:pPr>
                      <a:r>
                        <a:rPr lang="ko-KR" altLang="en-US" sz="1400" b="1" spc="-1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변수</a:t>
                      </a:r>
                      <a:endParaRPr lang="ko-KR" altLang="en-US" sz="1400" b="1" spc="-10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1pPr>
                      <a:lvl2pPr marL="47882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2pPr>
                      <a:lvl3pPr marL="957644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3pPr>
                      <a:lvl4pPr marL="1436465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4pPr>
                      <a:lvl5pPr marL="1915286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5pPr>
                      <a:lvl6pPr marL="2394107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6pPr>
                      <a:lvl7pPr marL="2872929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7pPr>
                      <a:lvl8pPr marL="335175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8pPr>
                      <a:lvl9pPr marL="383057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algn="ctr" latinLnBrk="0">
                        <a:lnSpc>
                          <a:spcPct val="110000"/>
                        </a:lnSpc>
                      </a:pPr>
                      <a:r>
                        <a:rPr lang="ko-KR" altLang="en-US" sz="1400" b="1" spc="-1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경기지표</a:t>
                      </a:r>
                      <a:endParaRPr lang="ko-KR" altLang="en-US" sz="1400" b="1" spc="-10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1pPr>
                      <a:lvl2pPr marL="47882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2pPr>
                      <a:lvl3pPr marL="957644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3pPr>
                      <a:lvl4pPr marL="1436465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4pPr>
                      <a:lvl5pPr marL="1915286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5pPr>
                      <a:lvl6pPr marL="2394107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6pPr>
                      <a:lvl7pPr marL="2872929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7pPr>
                      <a:lvl8pPr marL="335175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8pPr>
                      <a:lvl9pPr marL="383057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marL="0" marR="0" lvl="0" indent="-82550" algn="l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3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실업률</a:t>
                      </a:r>
                      <a:r>
                        <a:rPr lang="en-US" altLang="ko-KR" sz="13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3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소비물가지수</a:t>
                      </a:r>
                      <a:r>
                        <a:rPr lang="en-US" altLang="ko-KR" sz="13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300" b="0" kern="0" spc="0" noProof="0" dirty="0" err="1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주종별</a:t>
                      </a:r>
                      <a:r>
                        <a:rPr lang="ko-KR" altLang="en-US" sz="13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물량</a:t>
                      </a:r>
                      <a:r>
                        <a:rPr lang="en-US" altLang="ko-KR" sz="13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3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수입맥주 물량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marR="0" indent="-8255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300" b="0" spc="-5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</a:t>
                      </a: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01579"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400" b="0" spc="-100" baseline="0" dirty="0">
                        <a:latin typeface="+mn-ea"/>
                        <a:ea typeface="+mn-ea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1pPr>
                      <a:lvl2pPr marL="47882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2pPr>
                      <a:lvl3pPr marL="957644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3pPr>
                      <a:lvl4pPr marL="1436465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4pPr>
                      <a:lvl5pPr marL="1915286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5pPr>
                      <a:lvl6pPr marL="2394107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6pPr>
                      <a:lvl7pPr marL="2872929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7pPr>
                      <a:lvl8pPr marL="335175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8pPr>
                      <a:lvl9pPr marL="383057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algn="ctr" latinLnBrk="0">
                        <a:lnSpc>
                          <a:spcPct val="110000"/>
                        </a:lnSpc>
                      </a:pPr>
                      <a:r>
                        <a:rPr lang="ko-KR" altLang="en-US" sz="1400" b="1" spc="-1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브랜드지표</a:t>
                      </a:r>
                      <a:endParaRPr lang="en-US" altLang="ko-KR" sz="1400" b="1" spc="-100" baseline="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1pPr>
                      <a:lvl2pPr marL="47882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2pPr>
                      <a:lvl3pPr marL="957644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3pPr>
                      <a:lvl4pPr marL="1436465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4pPr>
                      <a:lvl5pPr marL="1915286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5pPr>
                      <a:lvl6pPr marL="2394107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6pPr>
                      <a:lvl7pPr marL="2872929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7pPr>
                      <a:lvl8pPr marL="335175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8pPr>
                      <a:lvl9pPr marL="383057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marL="82550" indent="-82550" latinLnBrk="0">
                        <a:buFont typeface="Arial" pitchFamily="34" charset="0"/>
                        <a:buChar char="•"/>
                      </a:pPr>
                      <a:r>
                        <a:rPr lang="ko-KR" altLang="en-US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브랜드 선호도</a:t>
                      </a:r>
                      <a:r>
                        <a:rPr lang="en-US" altLang="ko-KR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</a:t>
                      </a:r>
                      <a:r>
                        <a:rPr lang="en-US" altLang="ko-KR" sz="1300" b="0" u="none" spc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인지도</a:t>
                      </a:r>
                      <a:r>
                        <a:rPr lang="en-US" altLang="ko-KR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TOM</a:t>
                      </a:r>
                      <a:r>
                        <a:rPr lang="en-US" altLang="ko-KR" sz="1300" b="0" u="none" kern="1200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300" b="0" u="none" kern="1200" spc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음용</a:t>
                      </a:r>
                      <a:r>
                        <a:rPr lang="en-US" altLang="ko-KR" sz="1300" b="0" u="none" kern="1200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300" b="0" u="none" kern="1200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경험횟수</a:t>
                      </a:r>
                      <a:r>
                        <a:rPr lang="en-US" altLang="ko-KR" sz="1300" b="0" u="none" kern="1200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(1</a:t>
                      </a:r>
                      <a:r>
                        <a:rPr lang="ko-KR" altLang="en-US" sz="1300" b="0" u="none" kern="1200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주일</a:t>
                      </a:r>
                      <a:r>
                        <a:rPr lang="en-US" altLang="ko-KR" sz="1300" b="0" u="none" kern="1200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1</a:t>
                      </a:r>
                      <a:r>
                        <a:rPr lang="ko-KR" altLang="en-US" sz="1300" b="0" u="none" kern="1200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개월</a:t>
                      </a:r>
                      <a:r>
                        <a:rPr lang="en-US" altLang="ko-KR" sz="1300" b="0" u="none" kern="1200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3</a:t>
                      </a:r>
                      <a:r>
                        <a:rPr lang="ko-KR" altLang="en-US" sz="1300" b="0" u="none" kern="1200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개월</a:t>
                      </a:r>
                      <a:r>
                        <a:rPr lang="en-US" altLang="ko-KR" sz="1300" b="0" u="none" kern="1200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)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buFontTx/>
                        <a:buNone/>
                      </a:pPr>
                      <a:r>
                        <a:rPr lang="ko-KR" altLang="en-US" sz="1300" b="0" spc="-5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</a:t>
                      </a:r>
                      <a:r>
                        <a:rPr lang="en-US" altLang="ko-KR" sz="1300" b="0" spc="-5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300" b="0" spc="-5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</a:t>
                      </a:r>
                      <a:endParaRPr lang="en-US" altLang="ko-KR" sz="1300" b="0" spc="-5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0157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57644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1" spc="-1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광고지표</a:t>
                      </a:r>
                    </a:p>
                  </a:txBody>
                  <a:tcPr marL="0" marR="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1pPr>
                      <a:lvl2pPr marL="47882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2pPr>
                      <a:lvl3pPr marL="957644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3pPr>
                      <a:lvl4pPr marL="1436465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4pPr>
                      <a:lvl5pPr marL="1915286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5pPr>
                      <a:lvl6pPr marL="2394107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6pPr>
                      <a:lvl7pPr marL="2872929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7pPr>
                      <a:lvl8pPr marL="335175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8pPr>
                      <a:lvl9pPr marL="383057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marL="82550" marR="0" indent="-82550" algn="l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광고 선호도</a:t>
                      </a:r>
                      <a:r>
                        <a:rPr lang="en-US" altLang="ko-KR" sz="1300" b="0" u="none" spc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인지도</a:t>
                      </a:r>
                      <a:r>
                        <a:rPr lang="en-US" altLang="ko-KR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구매의향</a:t>
                      </a:r>
                      <a:endParaRPr lang="en-US" altLang="ko-KR" sz="1300" b="0" u="none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buFontTx/>
                        <a:buNone/>
                      </a:pPr>
                      <a:r>
                        <a:rPr lang="ko-KR" altLang="en-US" sz="1300" b="0" spc="-5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</a:t>
                      </a:r>
                      <a:endParaRPr lang="en-US" altLang="ko-KR" sz="1300" b="0" spc="-5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0157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lnSpc>
                          <a:spcPct val="110000"/>
                        </a:lnSpc>
                      </a:pPr>
                      <a:r>
                        <a:rPr lang="ko-KR" altLang="en-US" sz="1400" b="1" spc="-1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미디어</a:t>
                      </a:r>
                      <a:endParaRPr lang="ko-KR" altLang="en-US" sz="1400" b="1" spc="-10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marR="0" indent="-82550" algn="l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CPRP,</a:t>
                      </a:r>
                      <a:r>
                        <a:rPr lang="en-US" altLang="ko-KR" sz="1300" b="0" u="none" spc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GRP, SOS, SOV, </a:t>
                      </a:r>
                      <a:r>
                        <a:rPr lang="ko-KR" altLang="en-US" sz="1300" b="0" u="none" spc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광고비</a:t>
                      </a:r>
                      <a:endParaRPr lang="en-US" altLang="ko-KR" sz="1300" b="0" u="none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300" b="0" i="0" spc="-5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</a:t>
                      </a:r>
                      <a:endParaRPr lang="en-US" altLang="ko-KR" sz="1300" b="0" i="0" spc="-5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01579"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400" b="0" spc="-100" baseline="0" dirty="0">
                        <a:latin typeface="+mn-ea"/>
                        <a:ea typeface="+mn-ea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lnSpc>
                          <a:spcPct val="110000"/>
                        </a:lnSpc>
                      </a:pPr>
                      <a:r>
                        <a:rPr lang="ko-KR" altLang="en-US" sz="1400" b="1" spc="-1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영업</a:t>
                      </a:r>
                      <a:endParaRPr lang="ko-KR" altLang="en-US" sz="1400" b="1" spc="-10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indent="-82550" latinLnBrk="0">
                        <a:buFont typeface="Arial" pitchFamily="34" charset="0"/>
                        <a:buChar char="•"/>
                      </a:pPr>
                      <a:r>
                        <a:rPr lang="en-US" altLang="ko-KR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Sales Package </a:t>
                      </a:r>
                      <a:r>
                        <a:rPr lang="ko-KR" altLang="en-US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비용</a:t>
                      </a:r>
                      <a:r>
                        <a:rPr lang="en-US" altLang="ko-KR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권역</a:t>
                      </a:r>
                      <a:r>
                        <a:rPr lang="ko-KR" altLang="en-US" sz="1300" b="0" u="none" spc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브랜드</a:t>
                      </a:r>
                      <a:r>
                        <a:rPr lang="ko-KR" altLang="en-US" sz="1300" b="0" u="none" spc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lang="ko-KR" altLang="en-US" sz="1300" b="0" u="none" spc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패키지별</a:t>
                      </a:r>
                      <a:r>
                        <a:rPr lang="ko-KR" altLang="en-US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 </a:t>
                      </a:r>
                      <a:r>
                        <a:rPr lang="en-US" altLang="ko-KR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arget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buFontTx/>
                        <a:buNone/>
                      </a:pPr>
                      <a:r>
                        <a:rPr lang="ko-KR" altLang="en-US" sz="1300" b="0" spc="-5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</a:t>
                      </a:r>
                      <a:r>
                        <a:rPr lang="en-US" altLang="ko-KR" sz="1300" b="0" spc="-5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300" b="0" spc="-5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일</a:t>
                      </a:r>
                      <a:endParaRPr lang="en-US" altLang="ko-KR" sz="1300" b="0" spc="-5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01579">
                <a:tc vMerge="1">
                  <a:txBody>
                    <a:bodyPr/>
                    <a:lstStyle/>
                    <a:p>
                      <a:pPr algn="ctr" latinLnBrk="0">
                        <a:lnSpc>
                          <a:spcPct val="110000"/>
                        </a:lnSpc>
                      </a:pPr>
                      <a:endParaRPr lang="ko-KR" altLang="en-US" sz="1400" b="1" spc="-100" baseline="0" dirty="0">
                        <a:latin typeface="+mn-ea"/>
                        <a:ea typeface="+mn-ea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lnSpc>
                          <a:spcPct val="110000"/>
                        </a:lnSpc>
                      </a:pPr>
                      <a:r>
                        <a:rPr lang="ko-KR" altLang="en-US" sz="1400" b="1" spc="-1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마케팅</a:t>
                      </a:r>
                      <a:endParaRPr lang="ko-KR" altLang="en-US" sz="1400" b="1" spc="-10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marR="0" lvl="0" indent="-82550" algn="l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ko-KR" altLang="en-US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프로모션</a:t>
                      </a:r>
                      <a:r>
                        <a:rPr kumimoji="0" lang="en-US" altLang="ko-KR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행사 계획</a:t>
                      </a:r>
                      <a:r>
                        <a:rPr kumimoji="0" lang="en-US" altLang="ko-KR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400" b="0" i="0" u="none" strike="noStrike" kern="1200" spc="-50" baseline="0" dirty="0" smtClean="0">
                          <a:solidFill>
                            <a:srgbClr val="000000"/>
                          </a:solidFill>
                          <a:latin typeface="Calibri" pitchFamily="34" charset="0"/>
                          <a:ea typeface="맑은 고딕" pitchFamily="50" charset="-127"/>
                          <a:cs typeface="+mn-cs"/>
                        </a:rPr>
                        <a:t>마케팅 </a:t>
                      </a:r>
                      <a:r>
                        <a:rPr lang="en-US" altLang="ko-KR" sz="1400" b="0" i="0" u="none" strike="noStrike" kern="1200" spc="-50" baseline="0" dirty="0" smtClean="0">
                          <a:solidFill>
                            <a:srgbClr val="000000"/>
                          </a:solidFill>
                          <a:latin typeface="Calibri" pitchFamily="34" charset="0"/>
                          <a:ea typeface="맑은 고딕" pitchFamily="50" charset="-127"/>
                          <a:cs typeface="+mn-cs"/>
                        </a:rPr>
                        <a:t>Package, </a:t>
                      </a:r>
                      <a:r>
                        <a:rPr lang="ko-KR" altLang="en-US" sz="1400" b="0" i="0" u="none" strike="noStrike" kern="1200" spc="-50" baseline="0" dirty="0" smtClean="0">
                          <a:solidFill>
                            <a:srgbClr val="000000"/>
                          </a:solidFill>
                          <a:latin typeface="Calibri" pitchFamily="34" charset="0"/>
                          <a:ea typeface="맑은 고딕" pitchFamily="50" charset="-127"/>
                          <a:cs typeface="+mn-cs"/>
                        </a:rPr>
                        <a:t>프리미엄 마케팅 </a:t>
                      </a:r>
                      <a:r>
                        <a:rPr lang="en-US" altLang="ko-KR" sz="1400" b="0" i="0" u="none" strike="noStrike" kern="1200" spc="-50" baseline="0" dirty="0" smtClean="0">
                          <a:solidFill>
                            <a:srgbClr val="000000"/>
                          </a:solidFill>
                          <a:latin typeface="Calibri" pitchFamily="34" charset="0"/>
                          <a:ea typeface="맑은 고딕" pitchFamily="50" charset="-127"/>
                          <a:cs typeface="+mn-cs"/>
                        </a:rPr>
                        <a:t>Package 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300" b="0" spc="-5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</a:t>
                      </a:r>
                      <a:endParaRPr lang="en-US" altLang="ko-KR" sz="1300" b="0" spc="-5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70533">
                <a:tc rowSpan="6"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lnSpc>
                          <a:spcPct val="110000"/>
                        </a:lnSpc>
                      </a:pPr>
                      <a:r>
                        <a:rPr lang="ko-KR" altLang="en-US" sz="1400" b="1" spc="-1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동행</a:t>
                      </a:r>
                      <a:endParaRPr lang="en-US" altLang="ko-KR" sz="1400" b="1" spc="-100" baseline="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algn="ctr" latinLnBrk="0">
                        <a:lnSpc>
                          <a:spcPct val="110000"/>
                        </a:lnSpc>
                      </a:pPr>
                      <a:r>
                        <a:rPr lang="ko-KR" altLang="en-US" sz="1400" b="1" spc="-1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변수</a:t>
                      </a:r>
                      <a:endParaRPr lang="en-US" altLang="ko-KR" sz="1400" b="1" spc="-100" baseline="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57644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1" spc="-1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날씨</a:t>
                      </a:r>
                      <a:endParaRPr lang="ko-KR" altLang="en-US" sz="1400" b="1" spc="-10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marR="0" indent="-82550" algn="l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300" b="0" u="none" spc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평균기온</a:t>
                      </a:r>
                      <a:r>
                        <a:rPr lang="en-US" altLang="ko-KR" sz="1300" b="0" u="none" spc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300" b="0" u="none" spc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최대기온</a:t>
                      </a:r>
                      <a:r>
                        <a:rPr lang="en-US" altLang="ko-KR" sz="1300" b="0" u="none" spc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300" b="0" u="none" spc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강수량</a:t>
                      </a:r>
                      <a:r>
                        <a:rPr lang="en-US" altLang="ko-KR" sz="1300" b="0" u="none" spc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300" b="0" u="none" spc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적설량</a:t>
                      </a:r>
                      <a:endParaRPr lang="en-US" altLang="ko-KR" sz="1300" b="0" u="none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indent="-82550" algn="ctr" latinLnBrk="0">
                        <a:buFontTx/>
                        <a:buNone/>
                      </a:pPr>
                      <a:r>
                        <a:rPr lang="ko-KR" altLang="en-US" sz="1300" b="0" spc="-5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일</a:t>
                      </a:r>
                      <a:endParaRPr lang="ko-KR" altLang="en-US" sz="1300" b="0" spc="-50" dirty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70533">
                <a:tc vMerge="1">
                  <a:txBody>
                    <a:bodyPr/>
                    <a:lstStyle/>
                    <a:p>
                      <a:pPr algn="ctr" latinLnBrk="0">
                        <a:lnSpc>
                          <a:spcPct val="110000"/>
                        </a:lnSpc>
                      </a:pPr>
                      <a:endParaRPr lang="ko-KR" altLang="en-US" sz="1400" b="0" spc="-100" baseline="0" dirty="0">
                        <a:latin typeface="+mn-ea"/>
                        <a:ea typeface="+mn-ea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 rowSpan="2">
                  <a:txBody>
                    <a:bodyPr/>
                    <a:lstStyle>
                      <a:defPPr>
                        <a:defRPr lang="ko-KR"/>
                      </a:defPPr>
                      <a:lvl1pPr marL="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1pPr>
                      <a:lvl2pPr marL="47882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2pPr>
                      <a:lvl3pPr marL="957644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3pPr>
                      <a:lvl4pPr marL="1436465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4pPr>
                      <a:lvl5pPr marL="1915286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5pPr>
                      <a:lvl6pPr marL="2394107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6pPr>
                      <a:lvl7pPr marL="2872929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7pPr>
                      <a:lvl8pPr marL="335175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8pPr>
                      <a:lvl9pPr marL="383057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algn="ctr" latinLnBrk="0">
                        <a:lnSpc>
                          <a:spcPct val="110000"/>
                        </a:lnSpc>
                      </a:pPr>
                      <a:r>
                        <a:rPr lang="ko-KR" altLang="en-US" sz="1400" b="1" spc="-1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일자</a:t>
                      </a:r>
                      <a:endParaRPr lang="ko-KR" altLang="en-US" sz="1400" b="1" spc="-10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1pPr>
                      <a:lvl2pPr marL="47882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2pPr>
                      <a:lvl3pPr marL="957644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3pPr>
                      <a:lvl4pPr marL="1436465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4pPr>
                      <a:lvl5pPr marL="1915286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5pPr>
                      <a:lvl6pPr marL="2394107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6pPr>
                      <a:lvl7pPr marL="2872929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7pPr>
                      <a:lvl8pPr marL="335175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8pPr>
                      <a:lvl9pPr marL="383057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marL="82550" marR="0" lvl="0" indent="-825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en-US" altLang="ko-KR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맑은 고딕" pitchFamily="50" charset="-127"/>
                          <a:cs typeface="+mn-cs"/>
                        </a:rPr>
                        <a:t>Trend(</a:t>
                      </a:r>
                      <a:r>
                        <a:rPr kumimoji="0" lang="ko-KR" altLang="en-US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맑은 고딕" pitchFamily="50" charset="-127"/>
                          <a:cs typeface="+mn-cs"/>
                        </a:rPr>
                        <a:t>년</a:t>
                      </a:r>
                      <a:r>
                        <a:rPr kumimoji="0" lang="en-US" altLang="ko-KR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맑은 고딕" pitchFamily="50" charset="-127"/>
                          <a:cs typeface="+mn-cs"/>
                        </a:rPr>
                        <a:t>주</a:t>
                      </a:r>
                      <a:r>
                        <a:rPr kumimoji="0" lang="en-US" altLang="ko-KR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맑은 고딕" pitchFamily="50" charset="-127"/>
                          <a:cs typeface="+mn-cs"/>
                        </a:rPr>
                        <a:t>일</a:t>
                      </a:r>
                      <a:r>
                        <a:rPr kumimoji="0" lang="en-US" altLang="ko-KR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ea"/>
                          <a:ea typeface="맑은 고딕" pitchFamily="50" charset="-127"/>
                          <a:cs typeface="+mn-cs"/>
                        </a:rPr>
                        <a:t>), </a:t>
                      </a:r>
                      <a:r>
                        <a:rPr kumimoji="0" lang="en-US" altLang="ko-KR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Cycle(</a:t>
                      </a:r>
                      <a:r>
                        <a:rPr kumimoji="0" lang="ko-KR" altLang="en-US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년</a:t>
                      </a:r>
                      <a:r>
                        <a:rPr kumimoji="0" lang="en-US" altLang="ko-KR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월</a:t>
                      </a:r>
                      <a:r>
                        <a:rPr kumimoji="0" lang="en-US" altLang="ko-KR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요일</a:t>
                      </a:r>
                      <a:r>
                        <a:rPr kumimoji="0" lang="en-US" altLang="ko-KR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일</a:t>
                      </a:r>
                      <a:r>
                        <a:rPr kumimoji="0" lang="en-US" altLang="ko-KR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Working Day, …)</a:t>
                      </a:r>
                      <a:endParaRPr kumimoji="0" lang="ko-KR" altLang="en-US" sz="13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marR="0" lvl="0" indent="-8255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300" b="0" i="0" u="none" strike="noStrike" kern="1200" cap="none" spc="-5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일</a:t>
                      </a: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7053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marR="0" lvl="0" indent="-82550" algn="l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en-US" altLang="ko-KR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ortfolio(</a:t>
                      </a:r>
                      <a:r>
                        <a:rPr kumimoji="0" lang="ko-KR" altLang="en-US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월드컵</a:t>
                      </a:r>
                      <a:r>
                        <a:rPr kumimoji="0" lang="en-US" altLang="ko-KR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가격가인상</a:t>
                      </a:r>
                      <a:r>
                        <a:rPr kumimoji="0" lang="en-US" altLang="ko-KR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), Event(</a:t>
                      </a:r>
                      <a:r>
                        <a:rPr kumimoji="0" lang="ko-KR" altLang="en-US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명절</a:t>
                      </a:r>
                      <a:r>
                        <a:rPr kumimoji="0" lang="en-US" altLang="ko-KR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공휴일</a:t>
                      </a:r>
                      <a:r>
                        <a:rPr kumimoji="0" lang="en-US" altLang="ko-KR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대리점휴가</a:t>
                      </a:r>
                      <a:r>
                        <a:rPr kumimoji="0" lang="en-US" altLang="ko-KR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월초</a:t>
                      </a:r>
                      <a:r>
                        <a:rPr kumimoji="0" lang="en-US" altLang="ko-KR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월말</a:t>
                      </a:r>
                      <a:r>
                        <a:rPr kumimoji="0" lang="en-US" altLang="ko-KR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3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년초</a:t>
                      </a:r>
                      <a:r>
                        <a:rPr kumimoji="0" lang="en-US" altLang="ko-KR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3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년말</a:t>
                      </a:r>
                      <a:r>
                        <a:rPr kumimoji="0" lang="en-US" altLang="ko-KR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휴일</a:t>
                      </a:r>
                      <a:r>
                        <a:rPr kumimoji="0" lang="en-US" altLang="ko-KR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휴가</a:t>
                      </a:r>
                      <a:r>
                        <a:rPr kumimoji="0" lang="en-US" altLang="ko-KR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명절 </a:t>
                      </a:r>
                      <a:r>
                        <a:rPr kumimoji="0" lang="en-US" altLang="ko-KR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Effect)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marR="0" lvl="0" indent="-8255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300" b="0" i="0" u="none" strike="noStrike" kern="1200" cap="none" spc="-5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일</a:t>
                      </a: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62187">
                <a:tc vMerge="1">
                  <a:txBody>
                    <a:bodyPr/>
                    <a:lstStyle/>
                    <a:p>
                      <a:pPr algn="ctr" latinLnBrk="0">
                        <a:lnSpc>
                          <a:spcPct val="110000"/>
                        </a:lnSpc>
                      </a:pPr>
                      <a:endParaRPr lang="en-US" altLang="ko-KR" sz="1400" b="0" spc="-100" baseline="0" dirty="0" smtClean="0">
                        <a:latin typeface="+mn-ea"/>
                        <a:ea typeface="+mn-ea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1pPr>
                      <a:lvl2pPr marL="47882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2pPr>
                      <a:lvl3pPr marL="957644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3pPr>
                      <a:lvl4pPr marL="1436465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4pPr>
                      <a:lvl5pPr marL="1915286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5pPr>
                      <a:lvl6pPr marL="2394107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6pPr>
                      <a:lvl7pPr marL="2872929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7pPr>
                      <a:lvl8pPr marL="335175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8pPr>
                      <a:lvl9pPr marL="383057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algn="ctr" latinLnBrk="0">
                        <a:lnSpc>
                          <a:spcPct val="110000"/>
                        </a:lnSpc>
                      </a:pPr>
                      <a:r>
                        <a:rPr lang="en-US" altLang="ko-KR" sz="1400" b="1" spc="-1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POC</a:t>
                      </a:r>
                    </a:p>
                  </a:txBody>
                  <a:tcPr marL="0" marR="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marR="0" indent="-82550" algn="l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300" b="0" i="0" u="none" spc="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업소수</a:t>
                      </a:r>
                      <a:r>
                        <a:rPr lang="en-US" altLang="ko-KR" sz="1300" b="0" i="0" u="none" spc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300" b="0" i="0" u="none" spc="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사입율</a:t>
                      </a:r>
                      <a:r>
                        <a:rPr lang="en-US" altLang="ko-KR" sz="1300" b="0" i="0" u="none" spc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300" b="0" i="0" u="none" spc="0" baseline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진열수</a:t>
                      </a:r>
                      <a:r>
                        <a:rPr lang="en-US" altLang="ko-KR" sz="1300" b="0" i="0" u="none" spc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lang="en-US" altLang="ko-KR" sz="1300" b="0" i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CSV, </a:t>
                      </a:r>
                      <a:r>
                        <a:rPr lang="en-US" altLang="ko-KR" sz="1300" b="0" i="0" u="none" spc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RAD, KR)</a:t>
                      </a:r>
                    </a:p>
                    <a:p>
                      <a:pPr marL="82550" marR="0" indent="-82550" algn="l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300" b="0" i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신규</a:t>
                      </a:r>
                      <a:r>
                        <a:rPr lang="en-US" altLang="ko-KR" sz="1300" b="0" i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300" b="0" i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전향 </a:t>
                      </a:r>
                      <a:r>
                        <a:rPr lang="ko-KR" altLang="en-US" sz="1300" b="0" i="0" u="none" spc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업소수</a:t>
                      </a:r>
                      <a:r>
                        <a:rPr lang="en-US" altLang="ko-KR" sz="1300" b="0" i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DRAFT, </a:t>
                      </a:r>
                      <a:r>
                        <a:rPr lang="en-US" altLang="ko-KR" sz="1300" b="0" i="0" u="none" spc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B</a:t>
                      </a:r>
                      <a:r>
                        <a:rPr lang="en-US" altLang="ko-KR" sz="1300" b="0" i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NO)</a:t>
                      </a:r>
                      <a:endParaRPr lang="ko-KR" altLang="en-US" sz="1300" b="0" i="0" u="none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buFontTx/>
                        <a:buNone/>
                      </a:pPr>
                      <a:r>
                        <a:rPr lang="ko-KR" altLang="en-US" sz="1300" b="0" i="0" spc="-5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</a:t>
                      </a:r>
                      <a:endParaRPr lang="en-US" altLang="ko-KR" sz="1300" b="0" i="0" spc="-5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7053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marR="0" indent="0" algn="ctr" defTabSz="957644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1" spc="-100" baseline="0" dirty="0" err="1" smtClean="0">
                          <a:latin typeface="맑은 고딕" pitchFamily="50" charset="-127"/>
                          <a:ea typeface="맑은 고딕" pitchFamily="50" charset="-127"/>
                        </a:rPr>
                        <a:t>도매사</a:t>
                      </a:r>
                      <a:endParaRPr lang="en-US" altLang="ko-KR" sz="1400" b="1" spc="-100" baseline="0" dirty="0" smtClean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1pPr>
                      <a:lvl2pPr marL="47882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2pPr>
                      <a:lvl3pPr marL="957644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3pPr>
                      <a:lvl4pPr marL="1436465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4pPr>
                      <a:lvl5pPr marL="1915286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5pPr>
                      <a:lvl6pPr marL="2394107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6pPr>
                      <a:lvl7pPr marL="2872929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7pPr>
                      <a:lvl8pPr marL="335175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8pPr>
                      <a:lvl9pPr marL="383057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marL="82550" indent="-82550" latinLnBrk="0">
                        <a:buFont typeface="Arial" pitchFamily="34" charset="0"/>
                        <a:buChar char="•"/>
                      </a:pPr>
                      <a:r>
                        <a:rPr lang="ko-KR" altLang="en-US" sz="1300" b="0" u="none" spc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도매사</a:t>
                      </a:r>
                      <a:r>
                        <a:rPr lang="ko-KR" altLang="en-US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재고량</a:t>
                      </a:r>
                      <a:endParaRPr lang="en-US" altLang="ko-KR" sz="1300" b="0" u="none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buFontTx/>
                        <a:buNone/>
                      </a:pPr>
                      <a:r>
                        <a:rPr lang="ko-KR" altLang="en-US" sz="1300" b="0" spc="-5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</a:t>
                      </a:r>
                      <a:endParaRPr lang="en-US" altLang="ko-KR" sz="1300" b="0" spc="-5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7053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lnSpc>
                          <a:spcPct val="110000"/>
                        </a:lnSpc>
                      </a:pPr>
                      <a:r>
                        <a:rPr lang="ko-KR" altLang="en-US" sz="1400" b="1" spc="-1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마케팅</a:t>
                      </a:r>
                      <a:endParaRPr lang="ko-KR" altLang="en-US" sz="1400" b="1" spc="-10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marR="0" indent="-825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Modern Channel Index</a:t>
                      </a:r>
                      <a:r>
                        <a:rPr lang="en-US" altLang="ko-KR" sz="1300" b="0" u="none" spc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lang="ko-KR" altLang="en-US" sz="1300" b="0" u="none" spc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점유율</a:t>
                      </a:r>
                      <a:r>
                        <a:rPr lang="en-US" altLang="ko-KR" sz="1300" b="0" u="none" spc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300" b="0" u="none" spc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판매량</a:t>
                      </a:r>
                      <a:r>
                        <a:rPr lang="en-US" altLang="ko-KR" sz="1300" b="0" u="none" spc="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en-US" altLang="ko-KR" sz="1300" b="0" u="none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82550" marR="0" indent="-825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ko-KR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Nielsen Retail Index(</a:t>
                      </a:r>
                      <a:r>
                        <a:rPr lang="ko-KR" altLang="en-US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점유율</a:t>
                      </a:r>
                      <a:r>
                        <a:rPr lang="en-US" altLang="ko-KR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300" b="0" u="none" spc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취급율</a:t>
                      </a:r>
                      <a:r>
                        <a:rPr lang="en-US" altLang="ko-KR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판매량</a:t>
                      </a:r>
                      <a:r>
                        <a:rPr lang="en-US" altLang="ko-KR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, </a:t>
                      </a:r>
                      <a:r>
                        <a:rPr lang="ko-KR" altLang="en-US" sz="1300" b="0" u="none" spc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던험비</a:t>
                      </a:r>
                      <a:r>
                        <a:rPr lang="ko-KR" altLang="en-US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매출액</a:t>
                      </a:r>
                      <a:endParaRPr lang="en-US" altLang="ko-KR" sz="1300" b="0" u="none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marR="0" indent="-8255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300" b="0" spc="-5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</a:t>
                      </a:r>
                      <a:r>
                        <a:rPr lang="en-US" altLang="ko-KR" sz="1300" b="0" spc="-5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300" b="0" spc="-5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</a:t>
                      </a:r>
                      <a:endParaRPr lang="en-US" altLang="ko-KR" sz="1300" b="0" spc="-5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70533">
                <a:tc rowSpan="2"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lnSpc>
                          <a:spcPct val="110000"/>
                        </a:lnSpc>
                      </a:pPr>
                      <a:r>
                        <a:rPr lang="en-US" altLang="ko-KR" sz="1400" b="1" spc="-1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AR</a:t>
                      </a:r>
                    </a:p>
                    <a:p>
                      <a:pPr algn="ctr" latinLnBrk="0">
                        <a:lnSpc>
                          <a:spcPct val="110000"/>
                        </a:lnSpc>
                      </a:pPr>
                      <a:r>
                        <a:rPr lang="ko-KR" altLang="en-US" sz="1400" b="1" spc="-1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변수</a:t>
                      </a:r>
                      <a:endParaRPr lang="ko-KR" altLang="en-US" sz="1400" b="1" spc="-10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 rowSpan="2"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lnSpc>
                          <a:spcPct val="110000"/>
                        </a:lnSpc>
                      </a:pPr>
                      <a:r>
                        <a:rPr lang="ko-KR" altLang="en-US" sz="1400" b="1" spc="-100" baseline="0" dirty="0" smtClean="0">
                          <a:latin typeface="맑은 고딕" pitchFamily="50" charset="-127"/>
                          <a:ea typeface="맑은 고딕" pitchFamily="50" charset="-127"/>
                        </a:rPr>
                        <a:t>판매량</a:t>
                      </a:r>
                      <a:endParaRPr lang="ko-KR" altLang="en-US" sz="1400" b="1" spc="-100" baseline="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marR="0" indent="-82550" algn="l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전월</a:t>
                      </a:r>
                      <a:r>
                        <a:rPr lang="en-US" altLang="ko-KR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전년동월 판매량</a:t>
                      </a:r>
                      <a:r>
                        <a:rPr lang="en-US" altLang="ko-KR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평균판매량</a:t>
                      </a:r>
                      <a:r>
                        <a:rPr lang="en-US" altLang="ko-KR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YTD,</a:t>
                      </a:r>
                      <a:r>
                        <a:rPr lang="ko-KR" altLang="en-US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최근 </a:t>
                      </a:r>
                      <a:r>
                        <a:rPr lang="en-US" altLang="ko-KR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r>
                        <a:rPr lang="ko-KR" altLang="en-US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개월</a:t>
                      </a:r>
                      <a:r>
                        <a:rPr lang="en-US" altLang="ko-KR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</a:t>
                      </a:r>
                      <a:r>
                        <a:rPr lang="ko-KR" altLang="en-US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최근 </a:t>
                      </a:r>
                      <a:r>
                        <a:rPr lang="en-US" altLang="ko-KR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6</a:t>
                      </a:r>
                      <a:r>
                        <a:rPr lang="ko-KR" altLang="en-US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개월</a:t>
                      </a:r>
                      <a:r>
                        <a:rPr lang="en-US" altLang="ko-KR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, …</a:t>
                      </a:r>
                      <a:endParaRPr lang="ko-KR" altLang="en-US" sz="1300" b="0" u="none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buFontTx/>
                        <a:buNone/>
                      </a:pPr>
                      <a:r>
                        <a:rPr lang="ko-KR" altLang="en-US" sz="1300" b="0" spc="-5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</a:t>
                      </a:r>
                      <a:endParaRPr lang="en-US" altLang="ko-KR" sz="1300" b="0" spc="-5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7319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0"/>
                      <a:endParaRPr lang="ko-KR" altLang="en-US" sz="1400" b="1" spc="-100" baseline="0" dirty="0">
                        <a:latin typeface="+mn-ea"/>
                        <a:ea typeface="+mn-ea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marR="0" indent="-82550" algn="l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ko-KR" altLang="en-US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전일</a:t>
                      </a:r>
                      <a:r>
                        <a:rPr lang="en-US" altLang="ko-KR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/</a:t>
                      </a:r>
                      <a:r>
                        <a:rPr lang="ko-KR" altLang="en-US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전년동일 판매량</a:t>
                      </a:r>
                      <a:r>
                        <a:rPr lang="en-US" altLang="ko-KR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 </a:t>
                      </a:r>
                      <a:r>
                        <a:rPr lang="ko-KR" altLang="en-US" sz="1300" b="0" u="none" spc="0" dirty="0" err="1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일평균판매량</a:t>
                      </a:r>
                      <a:r>
                        <a:rPr lang="en-US" altLang="ko-KR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YTD,</a:t>
                      </a:r>
                      <a:r>
                        <a:rPr lang="ko-KR" altLang="en-US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최근 </a:t>
                      </a:r>
                      <a:r>
                        <a:rPr lang="en-US" altLang="ko-KR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r>
                        <a:rPr lang="ko-KR" altLang="en-US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개월</a:t>
                      </a:r>
                      <a:r>
                        <a:rPr lang="en-US" altLang="ko-KR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,</a:t>
                      </a:r>
                      <a:r>
                        <a:rPr lang="ko-KR" altLang="en-US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최근 </a:t>
                      </a:r>
                      <a:r>
                        <a:rPr lang="en-US" altLang="ko-KR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6</a:t>
                      </a:r>
                      <a:r>
                        <a:rPr lang="ko-KR" altLang="en-US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개월</a:t>
                      </a:r>
                      <a:r>
                        <a:rPr lang="en-US" altLang="ko-KR" sz="13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, …</a:t>
                      </a:r>
                      <a:endParaRPr lang="ko-KR" altLang="en-US" sz="1300" b="0" u="none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buFontTx/>
                        <a:buNone/>
                      </a:pPr>
                      <a:r>
                        <a:rPr lang="ko-KR" altLang="en-US" sz="1300" b="0" spc="-50" baseline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일</a:t>
                      </a:r>
                      <a:endParaRPr lang="en-US" altLang="ko-KR" sz="1300" b="0" spc="-50" baseline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  <p:sp>
        <p:nvSpPr>
          <p:cNvPr id="7" name="직사각형 6"/>
          <p:cNvSpPr/>
          <p:nvPr/>
        </p:nvSpPr>
        <p:spPr>
          <a:xfrm>
            <a:off x="3428671" y="6165304"/>
            <a:ext cx="3096000" cy="216024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2400" u="none" kern="0" dirty="0" smtClean="0">
                <a:solidFill>
                  <a:sysClr val="windowText" lastClr="000000"/>
                </a:solidFill>
                <a:latin typeface="맑은 고딕" pitchFamily="50" charset="-127"/>
              </a:rPr>
              <a:t>•••</a:t>
            </a:r>
            <a:endParaRPr lang="ko-KR" altLang="en-US" sz="2400" u="none" kern="0" dirty="0" smtClean="0">
              <a:solidFill>
                <a:sysClr val="windowText" lastClr="000000"/>
              </a:solidFill>
              <a:latin typeface="맑은 고딕" pitchFamily="50" charset="-127"/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AutoShape 122"/>
          <p:cNvSpPr>
            <a:spLocks noChangeArrowheads="1"/>
          </p:cNvSpPr>
          <p:nvPr/>
        </p:nvSpPr>
        <p:spPr bwMode="auto">
          <a:xfrm rot="10800000">
            <a:off x="369262" y="1570967"/>
            <a:ext cx="9216000" cy="4752000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6350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190800" anchorCtr="1"/>
          <a:lstStyle/>
          <a:p>
            <a:pPr marL="180975" indent="-180975" defTabSz="762000">
              <a:spcBef>
                <a:spcPct val="50000"/>
              </a:spcBef>
              <a:buFont typeface="Wingdings" pitchFamily="2" charset="2"/>
              <a:buChar char="§"/>
              <a:defRPr/>
            </a:pPr>
            <a:endParaRPr lang="ko-KR" altLang="en-US" sz="1800" b="0" u="none" dirty="0" smtClean="0">
              <a:solidFill>
                <a:prstClr val="black"/>
              </a:solidFill>
              <a:latin typeface="+mj-lt"/>
              <a:ea typeface="맑은 고딕"/>
            </a:endParaRPr>
          </a:p>
        </p:txBody>
      </p:sp>
      <p:grpSp>
        <p:nvGrpSpPr>
          <p:cNvPr id="2" name="그룹 66"/>
          <p:cNvGrpSpPr/>
          <p:nvPr/>
        </p:nvGrpSpPr>
        <p:grpSpPr>
          <a:xfrm>
            <a:off x="0" y="230307"/>
            <a:ext cx="4667406" cy="410962"/>
            <a:chOff x="0" y="376936"/>
            <a:chExt cx="6109635" cy="632968"/>
          </a:xfrm>
        </p:grpSpPr>
        <p:sp>
          <p:nvSpPr>
            <p:cNvPr id="20" name="직사각형 19"/>
            <p:cNvSpPr/>
            <p:nvPr/>
          </p:nvSpPr>
          <p:spPr>
            <a:xfrm>
              <a:off x="0" y="376936"/>
              <a:ext cx="481888" cy="63296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9050">
              <a:noFill/>
              <a:headEnd type="oval"/>
              <a:tailEnd type="oval"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128016" tIns="64008" rIns="128016" bIns="64008" rtlCol="0" anchor="ctr"/>
            <a:lstStyle/>
            <a:p>
              <a:pPr defTabSz="1280160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+mj-lt"/>
                <a:ea typeface="나눔고딕" pitchFamily="50" charset="-127"/>
              </a:endParaRPr>
            </a:p>
          </p:txBody>
        </p:sp>
        <p:sp>
          <p:nvSpPr>
            <p:cNvPr id="21" name="Text Box 5"/>
            <p:cNvSpPr txBox="1">
              <a:spLocks noChangeArrowheads="1"/>
            </p:cNvSpPr>
            <p:nvPr/>
          </p:nvSpPr>
          <p:spPr bwMode="auto">
            <a:xfrm>
              <a:off x="733710" y="476403"/>
              <a:ext cx="5375925" cy="4740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defTabSz="957240" latinLnBrk="1">
                <a:defRPr/>
              </a:pP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#3. </a:t>
              </a:r>
              <a:r>
                <a:rPr kumimoji="1" lang="ko-KR" altLang="en-US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모형구축방안 </a:t>
              </a: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– </a:t>
              </a:r>
              <a:r>
                <a:rPr kumimoji="1" lang="ko-KR" altLang="en-US" sz="2000" u="none" dirty="0" err="1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잔차변동성모형</a:t>
              </a:r>
              <a:endParaRPr kumimoji="1" lang="ko-KR" altLang="en-US" sz="2000" u="none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맑은 고딕"/>
                <a:cs typeface="Meiryo UI" pitchFamily="34" charset="-128"/>
              </a:endParaRPr>
            </a:p>
          </p:txBody>
        </p:sp>
      </p:grpSp>
      <p:sp>
        <p:nvSpPr>
          <p:cNvPr id="26" name="실행 단추: 홈 25">
            <a:hlinkClick r:id="rId3" action="ppaction://hlinksldjump" highlightClick="1"/>
          </p:cNvPr>
          <p:cNvSpPr/>
          <p:nvPr/>
        </p:nvSpPr>
        <p:spPr bwMode="auto">
          <a:xfrm>
            <a:off x="9450705" y="428414"/>
            <a:ext cx="288000" cy="288000"/>
          </a:xfrm>
          <a:prstGeom prst="actionButtonHome">
            <a:avLst/>
          </a:prstGeom>
          <a:solidFill>
            <a:srgbClr val="FFFFFF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36000" rIns="90000" bIns="36000" numCol="1" rtlCol="0" anchor="ctr" anchorCtr="0" compatLnSpc="1">
            <a:prstTxWarp prst="textNoShape">
              <a:avLst/>
            </a:prstTxWarp>
          </a:bodyPr>
          <a:lstStyle/>
          <a:p>
            <a:pPr algn="ctr" latinLnBrk="1">
              <a:buFont typeface="Arial" pitchFamily="34" charset="0"/>
              <a:buChar char="•"/>
              <a:defRPr/>
            </a:pPr>
            <a:endParaRPr kumimoji="1" lang="ko-KR" altLang="en-US" sz="1300" u="none" kern="0" dirty="0" smtClean="0">
              <a:solidFill>
                <a:srgbClr val="000000"/>
              </a:solidFill>
              <a:latin typeface="+mj-lt"/>
            </a:endParaRPr>
          </a:p>
        </p:txBody>
      </p:sp>
      <p:graphicFrame>
        <p:nvGraphicFramePr>
          <p:cNvPr id="19" name="개체 18"/>
          <p:cNvGraphicFramePr>
            <a:graphicFrameLocks noChangeAspect="1"/>
          </p:cNvGraphicFramePr>
          <p:nvPr/>
        </p:nvGraphicFramePr>
        <p:xfrm>
          <a:off x="632396" y="2140645"/>
          <a:ext cx="6535737" cy="2105025"/>
        </p:xfrm>
        <a:graphic>
          <a:graphicData uri="http://schemas.openxmlformats.org/presentationml/2006/ole">
            <p:oleObj spid="_x0000_s869553" name="수식" r:id="rId4" imgW="2946400" imgH="1358900" progId="Equation.3">
              <p:embed/>
            </p:oleObj>
          </a:graphicData>
        </a:graphic>
      </p:graphicFrame>
      <p:graphicFrame>
        <p:nvGraphicFramePr>
          <p:cNvPr id="27" name="Object 3"/>
          <p:cNvGraphicFramePr>
            <a:graphicFrameLocks noChangeAspect="1"/>
          </p:cNvGraphicFramePr>
          <p:nvPr/>
        </p:nvGraphicFramePr>
        <p:xfrm>
          <a:off x="3863243" y="4273525"/>
          <a:ext cx="1204876" cy="658285"/>
        </p:xfrm>
        <a:graphic>
          <a:graphicData uri="http://schemas.openxmlformats.org/presentationml/2006/ole">
            <p:oleObj spid="_x0000_s869554" name="수식" r:id="rId5" imgW="609336" imgH="431613" progId="Equation.3">
              <p:embed/>
            </p:oleObj>
          </a:graphicData>
        </a:graphic>
      </p:graphicFrame>
      <p:graphicFrame>
        <p:nvGraphicFramePr>
          <p:cNvPr id="28" name="Object 4"/>
          <p:cNvGraphicFramePr>
            <a:graphicFrameLocks noChangeAspect="1"/>
          </p:cNvGraphicFramePr>
          <p:nvPr/>
        </p:nvGraphicFramePr>
        <p:xfrm>
          <a:off x="2831208" y="4921597"/>
          <a:ext cx="3409950" cy="955675"/>
        </p:xfrm>
        <a:graphic>
          <a:graphicData uri="http://schemas.openxmlformats.org/presentationml/2006/ole">
            <p:oleObj spid="_x0000_s869555" name="수식" r:id="rId6" imgW="1752600" imgH="609600" progId="Equation.3">
              <p:embed/>
            </p:oleObj>
          </a:graphicData>
        </a:graphic>
      </p:graphicFrame>
      <p:graphicFrame>
        <p:nvGraphicFramePr>
          <p:cNvPr id="33" name="Object 9"/>
          <p:cNvGraphicFramePr>
            <a:graphicFrameLocks noChangeAspect="1"/>
          </p:cNvGraphicFramePr>
          <p:nvPr/>
        </p:nvGraphicFramePr>
        <p:xfrm>
          <a:off x="4442520" y="2469595"/>
          <a:ext cx="222250" cy="338138"/>
        </p:xfrm>
        <a:graphic>
          <a:graphicData uri="http://schemas.openxmlformats.org/presentationml/2006/ole">
            <p:oleObj spid="_x0000_s869556" name="수식" r:id="rId7" imgW="114151" imgH="215619" progId="Equation.3">
              <p:embed/>
            </p:oleObj>
          </a:graphicData>
        </a:graphic>
      </p:graphicFrame>
      <p:graphicFrame>
        <p:nvGraphicFramePr>
          <p:cNvPr id="34" name="Object 10"/>
          <p:cNvGraphicFramePr>
            <a:graphicFrameLocks noChangeAspect="1"/>
          </p:cNvGraphicFramePr>
          <p:nvPr/>
        </p:nvGraphicFramePr>
        <p:xfrm>
          <a:off x="6398449" y="3356992"/>
          <a:ext cx="2127250" cy="317500"/>
        </p:xfrm>
        <a:graphic>
          <a:graphicData uri="http://schemas.openxmlformats.org/presentationml/2006/ole">
            <p:oleObj spid="_x0000_s869557" name="수식" r:id="rId8" imgW="1091726" imgH="203112" progId="Equation.3">
              <p:embed/>
            </p:oleObj>
          </a:graphicData>
        </a:graphic>
      </p:graphicFrame>
      <p:sp>
        <p:nvSpPr>
          <p:cNvPr id="35" name="TextBox 34"/>
          <p:cNvSpPr txBox="1"/>
          <p:nvPr/>
        </p:nvSpPr>
        <p:spPr>
          <a:xfrm>
            <a:off x="704528" y="2492896"/>
            <a:ext cx="24097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 smtClean="0">
                <a:solidFill>
                  <a:prstClr val="black"/>
                </a:solidFill>
                <a:latin typeface="+mj-lt"/>
              </a:rPr>
              <a:t>(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기존판매량에 대한 </a:t>
            </a:r>
            <a:r>
              <a:rPr lang="ko-KR" altLang="en-US" sz="1200" dirty="0" err="1" smtClean="0">
                <a:solidFill>
                  <a:prstClr val="black"/>
                </a:solidFill>
                <a:latin typeface="+mj-lt"/>
              </a:rPr>
              <a:t>회귀식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</a:rPr>
              <a:t>)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89207" y="4245670"/>
            <a:ext cx="28803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 smtClean="0">
                <a:solidFill>
                  <a:prstClr val="black"/>
                </a:solidFill>
                <a:latin typeface="+mj-lt"/>
              </a:rPr>
              <a:t>(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판매량 변동 후의  </a:t>
            </a:r>
            <a:r>
              <a:rPr lang="ko-KR" altLang="en-US" sz="1200" dirty="0" err="1" smtClean="0">
                <a:solidFill>
                  <a:prstClr val="black"/>
                </a:solidFill>
                <a:latin typeface="+mj-lt"/>
              </a:rPr>
              <a:t>회귀식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</a:rPr>
              <a:t>)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689207" y="3356992"/>
            <a:ext cx="21420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 smtClean="0">
                <a:solidFill>
                  <a:prstClr val="black"/>
                </a:solidFill>
                <a:latin typeface="+mj-lt"/>
              </a:rPr>
              <a:t>(</a:t>
            </a:r>
            <a:r>
              <a:rPr lang="ko-KR" altLang="en-US" sz="1200" dirty="0" smtClean="0">
                <a:solidFill>
                  <a:prstClr val="black"/>
                </a:solidFill>
                <a:latin typeface="+mj-lt"/>
              </a:rPr>
              <a:t>변동에 의해 감소될 판매량</a:t>
            </a:r>
            <a:r>
              <a:rPr lang="en-US" altLang="ko-KR" sz="1200" dirty="0" smtClean="0">
                <a:solidFill>
                  <a:prstClr val="black"/>
                </a:solidFill>
                <a:latin typeface="+mj-lt"/>
              </a:rPr>
              <a:t>)</a:t>
            </a:r>
          </a:p>
        </p:txBody>
      </p:sp>
      <p:graphicFrame>
        <p:nvGraphicFramePr>
          <p:cNvPr id="39" name="Object 14"/>
          <p:cNvGraphicFramePr>
            <a:graphicFrameLocks noChangeAspect="1"/>
          </p:cNvGraphicFramePr>
          <p:nvPr/>
        </p:nvGraphicFramePr>
        <p:xfrm>
          <a:off x="8598916" y="3178874"/>
          <a:ext cx="890588" cy="614363"/>
        </p:xfrm>
        <a:graphic>
          <a:graphicData uri="http://schemas.openxmlformats.org/presentationml/2006/ole">
            <p:oleObj spid="_x0000_s869558" name="수식" r:id="rId9" imgW="457002" imgH="393529" progId="Equation.3">
              <p:embed/>
            </p:oleObj>
          </a:graphicData>
        </a:graphic>
      </p:graphicFrame>
      <p:graphicFrame>
        <p:nvGraphicFramePr>
          <p:cNvPr id="316429" name="Object 13"/>
          <p:cNvGraphicFramePr>
            <a:graphicFrameLocks noChangeAspect="1"/>
          </p:cNvGraphicFramePr>
          <p:nvPr/>
        </p:nvGraphicFramePr>
        <p:xfrm>
          <a:off x="5444108" y="4274195"/>
          <a:ext cx="2152650" cy="317500"/>
        </p:xfrm>
        <a:graphic>
          <a:graphicData uri="http://schemas.openxmlformats.org/presentationml/2006/ole">
            <p:oleObj spid="_x0000_s869559" name="수식" r:id="rId10" imgW="1104900" imgH="203200" progId="Equation.3">
              <p:embed/>
            </p:oleObj>
          </a:graphicData>
        </a:graphic>
      </p:graphicFrame>
      <p:sp>
        <p:nvSpPr>
          <p:cNvPr id="41" name="Text Box 5"/>
          <p:cNvSpPr txBox="1">
            <a:spLocks noChangeArrowheads="1"/>
          </p:cNvSpPr>
          <p:nvPr/>
        </p:nvSpPr>
        <p:spPr bwMode="auto">
          <a:xfrm>
            <a:off x="704528" y="999454"/>
            <a:ext cx="8856984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957240">
              <a:defRPr/>
            </a:pPr>
            <a:r>
              <a:rPr kumimoji="1" lang="ko-KR" altLang="en-US" sz="1500" u="none" dirty="0" smtClean="0">
                <a:solidFill>
                  <a:prstClr val="black"/>
                </a:solidFill>
                <a:latin typeface="+mj-lt"/>
                <a:ea typeface="맑은 고딕"/>
                <a:cs typeface="Meiryo UI" pitchFamily="34" charset="-128"/>
              </a:rPr>
              <a:t>회귀 분석에서 단기보정모형을 유도하는 식</a:t>
            </a:r>
          </a:p>
        </p:txBody>
      </p:sp>
      <p:grpSp>
        <p:nvGrpSpPr>
          <p:cNvPr id="3" name="Group 15"/>
          <p:cNvGrpSpPr>
            <a:grpSpLocks/>
          </p:cNvGrpSpPr>
          <p:nvPr/>
        </p:nvGrpSpPr>
        <p:grpSpPr bwMode="auto">
          <a:xfrm>
            <a:off x="3368824" y="1604292"/>
            <a:ext cx="3471705" cy="329188"/>
            <a:chOff x="172" y="887"/>
            <a:chExt cx="1323" cy="211"/>
          </a:xfrm>
        </p:grpSpPr>
        <p:sp>
          <p:nvSpPr>
            <p:cNvPr id="44" name="Text Box 16"/>
            <p:cNvSpPr txBox="1">
              <a:spLocks noChangeArrowheads="1"/>
            </p:cNvSpPr>
            <p:nvPr/>
          </p:nvSpPr>
          <p:spPr bwMode="auto">
            <a:xfrm>
              <a:off x="207" y="887"/>
              <a:ext cx="1288" cy="20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 defTabSz="762000" fontAlgn="auto" latinLnBrk="1">
                <a:spcBef>
                  <a:spcPct val="50000"/>
                </a:spcBef>
                <a:spcAft>
                  <a:spcPts val="0"/>
                </a:spcAft>
              </a:pPr>
              <a:r>
                <a:rPr lang="ko-KR" altLang="en-US" sz="1500" u="none" dirty="0" err="1" smtClean="0">
                  <a:solidFill>
                    <a:prstClr val="black"/>
                  </a:solidFill>
                  <a:latin typeface="+mj-lt"/>
                  <a:ea typeface="맑은 고딕"/>
                </a:rPr>
                <a:t>잔차변동성모형</a:t>
              </a:r>
              <a:r>
                <a:rPr lang="ko-KR" altLang="en-US" sz="1500" u="none" dirty="0" smtClean="0">
                  <a:solidFill>
                    <a:prstClr val="black"/>
                  </a:solidFill>
                  <a:latin typeface="+mj-lt"/>
                  <a:ea typeface="맑은 고딕"/>
                </a:rPr>
                <a:t> 유도 증명</a:t>
              </a:r>
              <a:endParaRPr lang="ko-KR" altLang="en-US" sz="1600" u="none" baseline="30000" dirty="0">
                <a:solidFill>
                  <a:prstClr val="black"/>
                </a:solidFill>
                <a:latin typeface="+mj-lt"/>
                <a:ea typeface="맑은 고딕"/>
              </a:endParaRPr>
            </a:p>
          </p:txBody>
        </p:sp>
        <p:sp>
          <p:nvSpPr>
            <p:cNvPr id="45" name="Line 17"/>
            <p:cNvSpPr>
              <a:spLocks noChangeShapeType="1"/>
            </p:cNvSpPr>
            <p:nvPr/>
          </p:nvSpPr>
          <p:spPr bwMode="auto">
            <a:xfrm flipV="1">
              <a:off x="172" y="1098"/>
              <a:ext cx="128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500" u="none" dirty="0">
                <a:solidFill>
                  <a:prstClr val="black"/>
                </a:solidFill>
                <a:latin typeface="+mj-lt"/>
                <a:ea typeface="맑은 고딕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모서리가 접힌 도형 15"/>
          <p:cNvSpPr/>
          <p:nvPr/>
        </p:nvSpPr>
        <p:spPr>
          <a:xfrm>
            <a:off x="7688312" y="4299198"/>
            <a:ext cx="1989920" cy="1011880"/>
          </a:xfrm>
          <a:prstGeom prst="foldedCorner">
            <a:avLst>
              <a:gd name="adj" fmla="val 14071"/>
            </a:avLst>
          </a:prstGeom>
          <a:solidFill>
            <a:srgbClr val="FDF9F9"/>
          </a:solidFill>
          <a:ln w="12700" cap="flat" cmpd="sng" algn="ctr">
            <a:solidFill>
              <a:schemeClr val="bg1">
                <a:lumMod val="50000"/>
              </a:schemeClr>
            </a:solidFill>
            <a:prstDash val="sysDot"/>
          </a:ln>
          <a:effectLst/>
        </p:spPr>
        <p:txBody>
          <a:bodyPr vert="horz" lIns="18000" tIns="18000" rIns="18000" bIns="1800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ko-KR" b="0" u="none" kern="0" dirty="0">
              <a:solidFill>
                <a:prstClr val="black">
                  <a:lumMod val="75000"/>
                  <a:lumOff val="25000"/>
                </a:prstClr>
              </a:solidFill>
              <a:latin typeface="+mj-lt"/>
              <a:ea typeface="HY헤드라인M" pitchFamily="18" charset="-127"/>
              <a:cs typeface="Arial" pitchFamily="34" charset="0"/>
            </a:endParaRPr>
          </a:p>
        </p:txBody>
      </p:sp>
      <p:graphicFrame>
        <p:nvGraphicFramePr>
          <p:cNvPr id="18" name="표 17"/>
          <p:cNvGraphicFramePr>
            <a:graphicFrameLocks noGrp="1"/>
          </p:cNvGraphicFramePr>
          <p:nvPr/>
        </p:nvGraphicFramePr>
        <p:xfrm>
          <a:off x="500645" y="1357298"/>
          <a:ext cx="9000000" cy="2520001"/>
        </p:xfrm>
        <a:graphic>
          <a:graphicData uri="http://schemas.openxmlformats.org/drawingml/2006/table">
            <a:tbl>
              <a:tblPr/>
              <a:tblGrid>
                <a:gridCol w="620759"/>
                <a:gridCol w="1179241"/>
                <a:gridCol w="900000"/>
                <a:gridCol w="900000"/>
                <a:gridCol w="900000"/>
                <a:gridCol w="900000"/>
                <a:gridCol w="900000"/>
                <a:gridCol w="900000"/>
                <a:gridCol w="900000"/>
                <a:gridCol w="900000"/>
              </a:tblGrid>
              <a:tr h="229091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 spc="-100" baseline="0" dirty="0">
                          <a:solidFill>
                            <a:srgbClr val="000000"/>
                          </a:solidFill>
                          <a:latin typeface="Arial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2014-12-21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2014-12-14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2-07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1-30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1-23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1-16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1-09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1-02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0-26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실적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예측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오차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정확도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6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100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9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9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6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100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/>
                        </a:rPr>
                        <a:t>94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5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0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Arial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0-19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0-12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0-05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09-28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09-21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09-14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09-07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2014-08-31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2014-08-24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실적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예측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오차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정확도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2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1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5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100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1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6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100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8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/>
                        </a:rPr>
                        <a:t>97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</a:tr>
            </a:tbl>
          </a:graphicData>
        </a:graphic>
      </p:graphicFrame>
      <p:sp>
        <p:nvSpPr>
          <p:cNvPr id="12" name="직사각형 11"/>
          <p:cNvSpPr/>
          <p:nvPr/>
        </p:nvSpPr>
        <p:spPr>
          <a:xfrm>
            <a:off x="8596338" y="1277068"/>
            <a:ext cx="928694" cy="1295400"/>
          </a:xfrm>
          <a:prstGeom prst="rect">
            <a:avLst/>
          </a:prstGeom>
          <a:solidFill>
            <a:srgbClr val="FFFF00">
              <a:alpha val="20000"/>
            </a:srgbClr>
          </a:solidFill>
          <a:ln w="3175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defRPr/>
            </a:pPr>
            <a:endParaRPr kumimoji="1" lang="ko-KR" altLang="en-US" sz="1800" b="0" u="none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3" name="직사각형 18"/>
          <p:cNvSpPr>
            <a:spLocks noChangeArrowheads="1"/>
          </p:cNvSpPr>
          <p:nvPr/>
        </p:nvSpPr>
        <p:spPr bwMode="auto">
          <a:xfrm>
            <a:off x="7767638" y="4429534"/>
            <a:ext cx="1878012" cy="75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marL="174625" indent="-174625" algn="ctr" defTabSz="912813">
              <a:lnSpc>
                <a:spcPct val="130000"/>
              </a:lnSpc>
            </a:pPr>
            <a:r>
              <a:rPr kumimoji="1" lang="ko-KR" altLang="en-US" sz="1800" u="none" dirty="0" smtClean="0">
                <a:solidFill>
                  <a:srgbClr val="000000"/>
                </a:solidFill>
                <a:latin typeface="+mj-lt"/>
                <a:ea typeface="맑은 고딕"/>
              </a:rPr>
              <a:t>평균 </a:t>
            </a:r>
            <a:r>
              <a:rPr kumimoji="1" lang="en-US" altLang="ko-KR" sz="1800" u="none" dirty="0" smtClean="0">
                <a:solidFill>
                  <a:srgbClr val="A50021"/>
                </a:solidFill>
                <a:latin typeface="+mj-lt"/>
                <a:ea typeface="맑은 고딕"/>
              </a:rPr>
              <a:t>96%</a:t>
            </a:r>
            <a:r>
              <a:rPr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 </a:t>
            </a:r>
            <a:endParaRPr lang="en-US" altLang="ko-KR" sz="1500" u="none" dirty="0" smtClean="0">
              <a:solidFill>
                <a:srgbClr val="000000"/>
              </a:solidFill>
              <a:latin typeface="+mj-lt"/>
              <a:ea typeface="맑은 고딕"/>
            </a:endParaRPr>
          </a:p>
          <a:p>
            <a:pPr marL="174625" indent="-174625" algn="ctr" defTabSz="912813">
              <a:lnSpc>
                <a:spcPct val="130000"/>
              </a:lnSpc>
            </a:pPr>
            <a:r>
              <a:rPr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예측 정확도 </a:t>
            </a:r>
            <a:endParaRPr lang="en-US" altLang="ko-KR" sz="1500" u="none" dirty="0" smtClean="0">
              <a:solidFill>
                <a:srgbClr val="000000"/>
              </a:solidFill>
              <a:latin typeface="+mj-lt"/>
              <a:ea typeface="맑은 고딕"/>
            </a:endParaRPr>
          </a:p>
        </p:txBody>
      </p:sp>
      <p:sp>
        <p:nvSpPr>
          <p:cNvPr id="17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8985448" y="6508384"/>
            <a:ext cx="720080" cy="360000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en-US" altLang="ko-KR" spc="100" dirty="0" smtClean="0">
                <a:solidFill>
                  <a:prstClr val="black"/>
                </a:solidFill>
                <a:latin typeface="+mj-lt"/>
                <a:ea typeface="맑은 고딕"/>
              </a:rPr>
              <a:t>9/10</a:t>
            </a:r>
            <a:endParaRPr lang="ko-KR" altLang="en-US" spc="100" dirty="0">
              <a:solidFill>
                <a:prstClr val="black"/>
              </a:solidFill>
              <a:latin typeface="+mj-lt"/>
              <a:ea typeface="맑은 고딕"/>
            </a:endParaRPr>
          </a:p>
        </p:txBody>
      </p:sp>
      <p:grpSp>
        <p:nvGrpSpPr>
          <p:cNvPr id="2" name="그룹 66"/>
          <p:cNvGrpSpPr/>
          <p:nvPr/>
        </p:nvGrpSpPr>
        <p:grpSpPr>
          <a:xfrm>
            <a:off x="0" y="230307"/>
            <a:ext cx="4244213" cy="410962"/>
            <a:chOff x="0" y="376936"/>
            <a:chExt cx="5555674" cy="632968"/>
          </a:xfrm>
        </p:grpSpPr>
        <p:sp>
          <p:nvSpPr>
            <p:cNvPr id="20" name="직사각형 19"/>
            <p:cNvSpPr/>
            <p:nvPr/>
          </p:nvSpPr>
          <p:spPr>
            <a:xfrm>
              <a:off x="0" y="376936"/>
              <a:ext cx="481888" cy="63296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9050">
              <a:noFill/>
              <a:headEnd type="oval"/>
              <a:tailEnd type="oval"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128016" tIns="64008" rIns="128016" bIns="64008" rtlCol="0" anchor="ctr"/>
            <a:lstStyle/>
            <a:p>
              <a:pPr defTabSz="1280160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+mj-lt"/>
                <a:ea typeface="나눔고딕" pitchFamily="50" charset="-127"/>
              </a:endParaRPr>
            </a:p>
          </p:txBody>
        </p:sp>
        <p:sp>
          <p:nvSpPr>
            <p:cNvPr id="21" name="Text Box 5"/>
            <p:cNvSpPr txBox="1">
              <a:spLocks noChangeArrowheads="1"/>
            </p:cNvSpPr>
            <p:nvPr/>
          </p:nvSpPr>
          <p:spPr bwMode="auto">
            <a:xfrm>
              <a:off x="733710" y="476403"/>
              <a:ext cx="4821964" cy="4740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defTabSz="957240" latinLnBrk="1">
                <a:defRPr/>
              </a:pP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#4. </a:t>
              </a:r>
              <a:r>
                <a:rPr kumimoji="1" lang="ko-KR" altLang="en-US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모형결과 </a:t>
              </a: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– </a:t>
              </a:r>
              <a:r>
                <a:rPr kumimoji="1" lang="ko-KR" altLang="en-US" sz="2000" u="none" dirty="0" err="1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주별</a:t>
              </a: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 </a:t>
              </a:r>
              <a:r>
                <a:rPr kumimoji="1" lang="ko-KR" altLang="en-US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예측정확도</a:t>
              </a:r>
            </a:p>
          </p:txBody>
        </p:sp>
      </p:grpSp>
      <p:sp>
        <p:nvSpPr>
          <p:cNvPr id="22" name="실행 단추: 홈 21">
            <a:hlinkClick r:id="rId2" action="ppaction://hlinksldjump" highlightClick="1"/>
          </p:cNvPr>
          <p:cNvSpPr/>
          <p:nvPr/>
        </p:nvSpPr>
        <p:spPr bwMode="auto">
          <a:xfrm>
            <a:off x="9450705" y="428414"/>
            <a:ext cx="288000" cy="288000"/>
          </a:xfrm>
          <a:prstGeom prst="actionButtonHome">
            <a:avLst/>
          </a:prstGeom>
          <a:solidFill>
            <a:srgbClr val="FFFFFF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36000" rIns="90000" bIns="36000" numCol="1" rtlCol="0" anchor="ctr" anchorCtr="0" compatLnSpc="1">
            <a:prstTxWarp prst="textNoShape">
              <a:avLst/>
            </a:prstTxWarp>
          </a:bodyPr>
          <a:lstStyle/>
          <a:p>
            <a:pPr algn="ctr" latinLnBrk="1">
              <a:buFont typeface="Arial" pitchFamily="34" charset="0"/>
              <a:buChar char="•"/>
              <a:defRPr/>
            </a:pPr>
            <a:endParaRPr kumimoji="1" lang="ko-KR" altLang="en-US" sz="1300" u="none" kern="0" dirty="0" smtClean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9" name="Text Box 5"/>
          <p:cNvSpPr txBox="1">
            <a:spLocks noChangeArrowheads="1"/>
          </p:cNvSpPr>
          <p:nvPr/>
        </p:nvSpPr>
        <p:spPr bwMode="auto">
          <a:xfrm>
            <a:off x="622126" y="850588"/>
            <a:ext cx="9260096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atinLnBrk="1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lang="en-US" altLang="ko-KR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Cass Can</a:t>
            </a:r>
            <a:r>
              <a:rPr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의 실적과 예측 판매량의 차이는 주별 판매량 기준으로</a:t>
            </a:r>
            <a:r>
              <a:rPr lang="en-US" altLang="ko-KR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 </a:t>
            </a:r>
            <a:r>
              <a:rPr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평균 </a:t>
            </a:r>
            <a:r>
              <a:rPr lang="en-US" altLang="ko-KR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96% </a:t>
            </a:r>
            <a:r>
              <a:rPr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이상 정확도를 보임</a:t>
            </a:r>
            <a:endParaRPr kumimoji="1" lang="en-US" altLang="ko-KR" sz="1500" u="none" dirty="0">
              <a:solidFill>
                <a:srgbClr val="000000"/>
              </a:solidFill>
              <a:latin typeface="+mj-lt"/>
            </a:endParaRPr>
          </a:p>
        </p:txBody>
      </p:sp>
      <p:graphicFrame>
        <p:nvGraphicFramePr>
          <p:cNvPr id="24" name="차트 23"/>
          <p:cNvGraphicFramePr/>
          <p:nvPr/>
        </p:nvGraphicFramePr>
        <p:xfrm>
          <a:off x="523844" y="4143380"/>
          <a:ext cx="7715304" cy="2286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5" name="직사각형 24"/>
          <p:cNvSpPr/>
          <p:nvPr/>
        </p:nvSpPr>
        <p:spPr>
          <a:xfrm>
            <a:off x="4998062" y="2651974"/>
            <a:ext cx="928694" cy="1295400"/>
          </a:xfrm>
          <a:prstGeom prst="rect">
            <a:avLst/>
          </a:prstGeom>
          <a:solidFill>
            <a:srgbClr val="FFFF00">
              <a:alpha val="20000"/>
            </a:srgbClr>
          </a:solidFill>
          <a:ln w="3175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defRPr/>
            </a:pPr>
            <a:endParaRPr kumimoji="1" lang="ko-KR" altLang="en-US" sz="1800" b="0" u="none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1238224" y="2651974"/>
            <a:ext cx="1991472" cy="1295400"/>
          </a:xfrm>
          <a:prstGeom prst="rect">
            <a:avLst/>
          </a:prstGeom>
          <a:solidFill>
            <a:srgbClr val="FFFF00">
              <a:alpha val="20000"/>
            </a:srgbClr>
          </a:solidFill>
          <a:ln w="3175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defRPr/>
            </a:pPr>
            <a:endParaRPr kumimoji="1" lang="ko-KR" altLang="en-US" sz="1800" b="0" u="none" dirty="0">
              <a:solidFill>
                <a:srgbClr val="FFFFFF"/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모서리가 접힌 도형 15"/>
          <p:cNvSpPr/>
          <p:nvPr/>
        </p:nvSpPr>
        <p:spPr>
          <a:xfrm>
            <a:off x="7688312" y="4299198"/>
            <a:ext cx="1989920" cy="1011880"/>
          </a:xfrm>
          <a:prstGeom prst="foldedCorner">
            <a:avLst>
              <a:gd name="adj" fmla="val 14071"/>
            </a:avLst>
          </a:prstGeom>
          <a:solidFill>
            <a:srgbClr val="FDF9F9"/>
          </a:solidFill>
          <a:ln w="12700" cap="flat" cmpd="sng" algn="ctr">
            <a:solidFill>
              <a:schemeClr val="bg1">
                <a:lumMod val="50000"/>
              </a:schemeClr>
            </a:solidFill>
            <a:prstDash val="sysDot"/>
          </a:ln>
          <a:effectLst/>
        </p:spPr>
        <p:txBody>
          <a:bodyPr vert="horz" lIns="18000" tIns="18000" rIns="18000" bIns="1800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ko-KR" b="0" u="none" kern="0" dirty="0">
              <a:solidFill>
                <a:prstClr val="black">
                  <a:lumMod val="75000"/>
                  <a:lumOff val="25000"/>
                </a:prstClr>
              </a:solidFill>
              <a:latin typeface="+mj-lt"/>
              <a:ea typeface="HY헤드라인M" pitchFamily="18" charset="-127"/>
              <a:cs typeface="Arial" pitchFamily="34" charset="0"/>
            </a:endParaRPr>
          </a:p>
        </p:txBody>
      </p:sp>
      <p:graphicFrame>
        <p:nvGraphicFramePr>
          <p:cNvPr id="18" name="표 17"/>
          <p:cNvGraphicFramePr>
            <a:graphicFrameLocks noGrp="1"/>
          </p:cNvGraphicFramePr>
          <p:nvPr/>
        </p:nvGraphicFramePr>
        <p:xfrm>
          <a:off x="500645" y="1357298"/>
          <a:ext cx="9000000" cy="2520001"/>
        </p:xfrm>
        <a:graphic>
          <a:graphicData uri="http://schemas.openxmlformats.org/drawingml/2006/table">
            <a:tbl>
              <a:tblPr/>
              <a:tblGrid>
                <a:gridCol w="620759"/>
                <a:gridCol w="1179241"/>
                <a:gridCol w="900000"/>
                <a:gridCol w="900000"/>
                <a:gridCol w="900000"/>
                <a:gridCol w="900000"/>
                <a:gridCol w="900000"/>
                <a:gridCol w="900000"/>
                <a:gridCol w="900000"/>
                <a:gridCol w="900000"/>
              </a:tblGrid>
              <a:tr h="229091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 spc="-100" baseline="0" dirty="0">
                          <a:solidFill>
                            <a:srgbClr val="000000"/>
                          </a:solidFill>
                          <a:latin typeface="Arial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2014-12-21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2-14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2-07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1-30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1-23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1-16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1-09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1-02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0-26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실적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예측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오차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정확도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9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4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7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7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8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100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/>
                        </a:rPr>
                        <a:t>97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5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6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Arial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0-19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0-12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0-05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09-28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09-21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09-14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09-07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08-31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2014-08-24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실적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예측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오차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정확도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4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3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100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6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3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6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100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6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/>
                        </a:rPr>
                        <a:t>100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</a:tr>
            </a:tbl>
          </a:graphicData>
        </a:graphic>
      </p:graphicFrame>
      <p:sp>
        <p:nvSpPr>
          <p:cNvPr id="13" name="직사각형 18"/>
          <p:cNvSpPr>
            <a:spLocks noChangeArrowheads="1"/>
          </p:cNvSpPr>
          <p:nvPr/>
        </p:nvSpPr>
        <p:spPr bwMode="auto">
          <a:xfrm>
            <a:off x="7767638" y="4429534"/>
            <a:ext cx="1878012" cy="75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marL="174625" indent="-174625" algn="ctr" defTabSz="912813">
              <a:lnSpc>
                <a:spcPct val="130000"/>
              </a:lnSpc>
            </a:pPr>
            <a:r>
              <a:rPr kumimoji="1" lang="ko-KR" altLang="en-US" sz="1800" u="none" dirty="0" smtClean="0">
                <a:solidFill>
                  <a:srgbClr val="000000"/>
                </a:solidFill>
                <a:latin typeface="+mj-lt"/>
                <a:ea typeface="맑은 고딕"/>
              </a:rPr>
              <a:t>평균 </a:t>
            </a:r>
            <a:r>
              <a:rPr kumimoji="1" lang="en-US" altLang="ko-KR" sz="1800" u="none" dirty="0" smtClean="0">
                <a:solidFill>
                  <a:srgbClr val="A50021"/>
                </a:solidFill>
                <a:latin typeface="+mj-lt"/>
                <a:ea typeface="맑은 고딕"/>
              </a:rPr>
              <a:t>97%</a:t>
            </a:r>
            <a:r>
              <a:rPr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 </a:t>
            </a:r>
            <a:endParaRPr lang="en-US" altLang="ko-KR" sz="1500" u="none" dirty="0" smtClean="0">
              <a:solidFill>
                <a:srgbClr val="000000"/>
              </a:solidFill>
              <a:latin typeface="+mj-lt"/>
              <a:ea typeface="맑은 고딕"/>
            </a:endParaRPr>
          </a:p>
          <a:p>
            <a:pPr marL="174625" indent="-174625" algn="ctr" defTabSz="912813">
              <a:lnSpc>
                <a:spcPct val="130000"/>
              </a:lnSpc>
            </a:pPr>
            <a:r>
              <a:rPr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예측 정확도 </a:t>
            </a:r>
            <a:endParaRPr lang="en-US" altLang="ko-KR" sz="1500" u="none" dirty="0" smtClean="0">
              <a:solidFill>
                <a:srgbClr val="000000"/>
              </a:solidFill>
              <a:latin typeface="+mj-lt"/>
              <a:ea typeface="맑은 고딕"/>
            </a:endParaRPr>
          </a:p>
        </p:txBody>
      </p:sp>
      <p:sp>
        <p:nvSpPr>
          <p:cNvPr id="17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8985448" y="6508384"/>
            <a:ext cx="720080" cy="360000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en-US" altLang="ko-KR" spc="100" dirty="0" smtClean="0">
                <a:solidFill>
                  <a:prstClr val="black"/>
                </a:solidFill>
                <a:latin typeface="+mj-lt"/>
                <a:ea typeface="맑은 고딕"/>
              </a:rPr>
              <a:t>9/10</a:t>
            </a:r>
            <a:endParaRPr lang="ko-KR" altLang="en-US" spc="100" dirty="0">
              <a:solidFill>
                <a:prstClr val="black"/>
              </a:solidFill>
              <a:latin typeface="+mj-lt"/>
              <a:ea typeface="맑은 고딕"/>
            </a:endParaRPr>
          </a:p>
        </p:txBody>
      </p:sp>
      <p:grpSp>
        <p:nvGrpSpPr>
          <p:cNvPr id="2" name="그룹 66"/>
          <p:cNvGrpSpPr/>
          <p:nvPr/>
        </p:nvGrpSpPr>
        <p:grpSpPr>
          <a:xfrm>
            <a:off x="0" y="230307"/>
            <a:ext cx="4244213" cy="410962"/>
            <a:chOff x="0" y="376936"/>
            <a:chExt cx="5555674" cy="632968"/>
          </a:xfrm>
        </p:grpSpPr>
        <p:sp>
          <p:nvSpPr>
            <p:cNvPr id="20" name="직사각형 19"/>
            <p:cNvSpPr/>
            <p:nvPr/>
          </p:nvSpPr>
          <p:spPr>
            <a:xfrm>
              <a:off x="0" y="376936"/>
              <a:ext cx="481888" cy="63296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9050">
              <a:noFill/>
              <a:headEnd type="oval"/>
              <a:tailEnd type="oval"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128016" tIns="64008" rIns="128016" bIns="64008" rtlCol="0" anchor="ctr"/>
            <a:lstStyle/>
            <a:p>
              <a:pPr defTabSz="1280160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+mj-lt"/>
                <a:ea typeface="나눔고딕" pitchFamily="50" charset="-127"/>
              </a:endParaRPr>
            </a:p>
          </p:txBody>
        </p:sp>
        <p:sp>
          <p:nvSpPr>
            <p:cNvPr id="21" name="Text Box 5"/>
            <p:cNvSpPr txBox="1">
              <a:spLocks noChangeArrowheads="1"/>
            </p:cNvSpPr>
            <p:nvPr/>
          </p:nvSpPr>
          <p:spPr bwMode="auto">
            <a:xfrm>
              <a:off x="733710" y="476403"/>
              <a:ext cx="4821964" cy="4740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defTabSz="957240" latinLnBrk="1">
                <a:defRPr/>
              </a:pP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#4. </a:t>
              </a:r>
              <a:r>
                <a:rPr kumimoji="1" lang="ko-KR" altLang="en-US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모형결과 </a:t>
              </a: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– </a:t>
              </a:r>
              <a:r>
                <a:rPr kumimoji="1" lang="ko-KR" altLang="en-US" sz="2000" u="none" dirty="0" err="1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주별</a:t>
              </a: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 </a:t>
              </a:r>
              <a:r>
                <a:rPr kumimoji="1" lang="ko-KR" altLang="en-US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예측정확도</a:t>
              </a:r>
            </a:p>
          </p:txBody>
        </p:sp>
      </p:grpSp>
      <p:sp>
        <p:nvSpPr>
          <p:cNvPr id="19" name="Text Box 5"/>
          <p:cNvSpPr txBox="1">
            <a:spLocks noChangeArrowheads="1"/>
          </p:cNvSpPr>
          <p:nvPr/>
        </p:nvSpPr>
        <p:spPr bwMode="auto">
          <a:xfrm>
            <a:off x="622126" y="850588"/>
            <a:ext cx="9260096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atinLnBrk="1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lang="en-US" altLang="ko-KR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Cass PET</a:t>
            </a:r>
            <a:r>
              <a:rPr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의 실적과 예측 판매량의 차이는 주별 판매량 기준으로</a:t>
            </a:r>
            <a:r>
              <a:rPr lang="en-US" altLang="ko-KR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 </a:t>
            </a:r>
            <a:r>
              <a:rPr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평균 </a:t>
            </a:r>
            <a:r>
              <a:rPr lang="en-US" altLang="ko-KR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97% </a:t>
            </a:r>
            <a:r>
              <a:rPr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이상 정확도를 보임</a:t>
            </a:r>
            <a:endParaRPr kumimoji="1" lang="en-US" altLang="ko-KR" sz="1500" u="none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2309794" y="2660766"/>
            <a:ext cx="928694" cy="1295400"/>
          </a:xfrm>
          <a:prstGeom prst="rect">
            <a:avLst/>
          </a:prstGeom>
          <a:solidFill>
            <a:srgbClr val="FFFF00">
              <a:alpha val="20000"/>
            </a:srgbClr>
          </a:solidFill>
          <a:ln w="3175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defRPr/>
            </a:pPr>
            <a:endParaRPr kumimoji="1" lang="ko-KR" altLang="en-US" sz="1800" b="0" u="none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4998062" y="2660766"/>
            <a:ext cx="928694" cy="1295400"/>
          </a:xfrm>
          <a:prstGeom prst="rect">
            <a:avLst/>
          </a:prstGeom>
          <a:solidFill>
            <a:srgbClr val="FFFF00">
              <a:alpha val="20000"/>
            </a:srgbClr>
          </a:solidFill>
          <a:ln w="3175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defRPr/>
            </a:pPr>
            <a:endParaRPr kumimoji="1" lang="ko-KR" altLang="en-US" sz="1800" b="0" u="none" dirty="0">
              <a:solidFill>
                <a:srgbClr val="FFFFFF"/>
              </a:solidFill>
              <a:latin typeface="+mj-lt"/>
            </a:endParaRPr>
          </a:p>
        </p:txBody>
      </p:sp>
      <p:graphicFrame>
        <p:nvGraphicFramePr>
          <p:cNvPr id="25" name="차트 24"/>
          <p:cNvGraphicFramePr/>
          <p:nvPr/>
        </p:nvGraphicFramePr>
        <p:xfrm>
          <a:off x="523844" y="4132351"/>
          <a:ext cx="7715304" cy="22970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실행 단추: 홈 14">
            <a:hlinkClick r:id="rId3" action="ppaction://hlinksldjump" highlightClick="1"/>
          </p:cNvPr>
          <p:cNvSpPr/>
          <p:nvPr/>
        </p:nvSpPr>
        <p:spPr bwMode="auto">
          <a:xfrm>
            <a:off x="9450705" y="428414"/>
            <a:ext cx="288000" cy="288000"/>
          </a:xfrm>
          <a:prstGeom prst="actionButtonHome">
            <a:avLst/>
          </a:prstGeom>
          <a:solidFill>
            <a:srgbClr val="FFFFFF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36000" rIns="90000" bIns="36000" numCol="1" rtlCol="0" anchor="ctr" anchorCtr="0" compatLnSpc="1">
            <a:prstTxWarp prst="textNoShape">
              <a:avLst/>
            </a:prstTxWarp>
          </a:bodyPr>
          <a:lstStyle/>
          <a:p>
            <a:pPr algn="ctr" latinLnBrk="1">
              <a:buFont typeface="Arial" pitchFamily="34" charset="0"/>
              <a:buChar char="•"/>
              <a:defRPr/>
            </a:pPr>
            <a:endParaRPr kumimoji="1" lang="ko-KR" altLang="en-US" sz="1300" u="none" kern="0" dirty="0" smtClean="0">
              <a:solidFill>
                <a:srgbClr val="000000"/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626" name="제목 8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>
                <a:latin typeface="맑은 고딕" pitchFamily="50" charset="-127"/>
              </a:rPr>
              <a:t>추진 일정</a:t>
            </a:r>
            <a:endParaRPr lang="ko-KR" altLang="en-US" smtClean="0"/>
          </a:p>
        </p:txBody>
      </p:sp>
      <p:sp>
        <p:nvSpPr>
          <p:cNvPr id="282627" name="Line 42"/>
          <p:cNvSpPr>
            <a:spLocks noChangeShapeType="1"/>
          </p:cNvSpPr>
          <p:nvPr/>
        </p:nvSpPr>
        <p:spPr bwMode="auto">
          <a:xfrm flipV="1">
            <a:off x="4095750" y="2786063"/>
            <a:ext cx="0" cy="3357562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282628" name="Line 27"/>
          <p:cNvSpPr>
            <a:spLocks noChangeShapeType="1"/>
          </p:cNvSpPr>
          <p:nvPr/>
        </p:nvSpPr>
        <p:spPr bwMode="auto">
          <a:xfrm>
            <a:off x="595313" y="6215063"/>
            <a:ext cx="884872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282629" name="Line 42"/>
          <p:cNvSpPr>
            <a:spLocks noChangeShapeType="1"/>
          </p:cNvSpPr>
          <p:nvPr/>
        </p:nvSpPr>
        <p:spPr bwMode="auto">
          <a:xfrm flipV="1">
            <a:off x="7700963" y="2786063"/>
            <a:ext cx="0" cy="3357562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282630" name="Rectangle 12"/>
          <p:cNvSpPr>
            <a:spLocks noChangeArrowheads="1"/>
          </p:cNvSpPr>
          <p:nvPr/>
        </p:nvSpPr>
        <p:spPr bwMode="gray">
          <a:xfrm>
            <a:off x="2503488" y="2786063"/>
            <a:ext cx="1357312" cy="500062"/>
          </a:xfrm>
          <a:prstGeom prst="rect">
            <a:avLst/>
          </a:prstGeom>
          <a:solidFill>
            <a:srgbClr val="F8F8F8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20000"/>
              </a:spcBef>
              <a:tabLst>
                <a:tab pos="1028700" algn="l"/>
              </a:tabLst>
            </a:pPr>
            <a:r>
              <a:rPr lang="en-US" altLang="ko-KR" sz="1200" u="none"/>
              <a:t>Data </a:t>
            </a:r>
            <a:r>
              <a:rPr lang="ko-KR" altLang="en-US" sz="1200" u="none"/>
              <a:t>준비</a:t>
            </a:r>
            <a:endParaRPr lang="en-US" altLang="ko-KR" sz="1200" u="none"/>
          </a:p>
        </p:txBody>
      </p:sp>
      <p:sp>
        <p:nvSpPr>
          <p:cNvPr id="282631" name="Rectangle 12"/>
          <p:cNvSpPr>
            <a:spLocks noChangeArrowheads="1"/>
          </p:cNvSpPr>
          <p:nvPr/>
        </p:nvSpPr>
        <p:spPr bwMode="gray">
          <a:xfrm>
            <a:off x="701675" y="2786063"/>
            <a:ext cx="1357313" cy="500062"/>
          </a:xfrm>
          <a:prstGeom prst="rect">
            <a:avLst/>
          </a:prstGeom>
          <a:solidFill>
            <a:srgbClr val="F8F8F8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20000"/>
              </a:spcBef>
              <a:tabLst>
                <a:tab pos="1028700" algn="l"/>
              </a:tabLst>
            </a:pPr>
            <a:r>
              <a:rPr lang="ko-KR" altLang="en-US" sz="1200" u="none"/>
              <a:t>현황 파악</a:t>
            </a:r>
            <a:endParaRPr lang="en-US" altLang="ko-KR" sz="1200" u="none"/>
          </a:p>
        </p:txBody>
      </p:sp>
      <p:sp>
        <p:nvSpPr>
          <p:cNvPr id="282632" name="Rectangle 12"/>
          <p:cNvSpPr>
            <a:spLocks noChangeArrowheads="1"/>
          </p:cNvSpPr>
          <p:nvPr/>
        </p:nvSpPr>
        <p:spPr bwMode="gray">
          <a:xfrm>
            <a:off x="701675" y="3429000"/>
            <a:ext cx="1357313" cy="500063"/>
          </a:xfrm>
          <a:prstGeom prst="rect">
            <a:avLst/>
          </a:prstGeom>
          <a:solidFill>
            <a:srgbClr val="F8F8F8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20000"/>
              </a:spcBef>
              <a:tabLst>
                <a:tab pos="1028700" algn="l"/>
              </a:tabLst>
            </a:pPr>
            <a:r>
              <a:rPr lang="ko-KR" altLang="en-US" sz="1200" u="none"/>
              <a:t>인터뷰</a:t>
            </a:r>
            <a:endParaRPr lang="en-US" altLang="ko-KR" sz="1200" u="none"/>
          </a:p>
        </p:txBody>
      </p:sp>
      <p:sp>
        <p:nvSpPr>
          <p:cNvPr id="282633" name="Rectangle 12"/>
          <p:cNvSpPr>
            <a:spLocks noChangeArrowheads="1"/>
          </p:cNvSpPr>
          <p:nvPr/>
        </p:nvSpPr>
        <p:spPr bwMode="gray">
          <a:xfrm>
            <a:off x="701675" y="4429125"/>
            <a:ext cx="1357313" cy="500063"/>
          </a:xfrm>
          <a:prstGeom prst="rect">
            <a:avLst/>
          </a:prstGeom>
          <a:solidFill>
            <a:srgbClr val="F8F8F8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20000"/>
              </a:spcBef>
              <a:tabLst>
                <a:tab pos="1028700" algn="l"/>
              </a:tabLst>
            </a:pPr>
            <a:r>
              <a:rPr lang="ko-KR" altLang="en-US" sz="1200" u="none"/>
              <a:t>요구사항 정의</a:t>
            </a:r>
            <a:endParaRPr lang="en-US" altLang="ko-KR" sz="1200" u="none"/>
          </a:p>
        </p:txBody>
      </p:sp>
      <p:sp>
        <p:nvSpPr>
          <p:cNvPr id="282634" name="Rectangle 12"/>
          <p:cNvSpPr>
            <a:spLocks noChangeArrowheads="1"/>
          </p:cNvSpPr>
          <p:nvPr/>
        </p:nvSpPr>
        <p:spPr bwMode="gray">
          <a:xfrm>
            <a:off x="6107113" y="2786063"/>
            <a:ext cx="1357312" cy="500062"/>
          </a:xfrm>
          <a:prstGeom prst="rect">
            <a:avLst/>
          </a:prstGeom>
          <a:solidFill>
            <a:srgbClr val="F8F8F8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20000"/>
              </a:spcBef>
              <a:tabLst>
                <a:tab pos="1028700" algn="l"/>
              </a:tabLst>
            </a:pPr>
            <a:r>
              <a:rPr lang="ko-KR" altLang="en-US" sz="1200" u="none"/>
              <a:t>수요 예측</a:t>
            </a:r>
            <a:endParaRPr lang="en-US" altLang="ko-KR" sz="1200" u="none"/>
          </a:p>
          <a:p>
            <a:pPr algn="ctr" eaLnBrk="0" hangingPunct="0">
              <a:spcBef>
                <a:spcPct val="20000"/>
              </a:spcBef>
              <a:tabLst>
                <a:tab pos="1028700" algn="l"/>
              </a:tabLst>
            </a:pPr>
            <a:r>
              <a:rPr lang="en-US" altLang="ko-KR" sz="1200" u="none"/>
              <a:t>Data </a:t>
            </a:r>
            <a:r>
              <a:rPr lang="ko-KR" altLang="en-US" sz="1200" u="none"/>
              <a:t>구성</a:t>
            </a:r>
            <a:endParaRPr lang="en-US" altLang="ko-KR" sz="1200" u="none"/>
          </a:p>
        </p:txBody>
      </p:sp>
      <p:sp>
        <p:nvSpPr>
          <p:cNvPr id="282635" name="Rectangle 12"/>
          <p:cNvSpPr>
            <a:spLocks noChangeArrowheads="1"/>
          </p:cNvSpPr>
          <p:nvPr/>
        </p:nvSpPr>
        <p:spPr bwMode="gray">
          <a:xfrm>
            <a:off x="6108700" y="3429000"/>
            <a:ext cx="1357313" cy="500063"/>
          </a:xfrm>
          <a:prstGeom prst="rect">
            <a:avLst/>
          </a:prstGeom>
          <a:solidFill>
            <a:srgbClr val="F8F8F8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20000"/>
              </a:spcBef>
              <a:tabLst>
                <a:tab pos="1028700" algn="l"/>
              </a:tabLst>
            </a:pPr>
            <a:r>
              <a:rPr lang="ko-KR" altLang="en-US" sz="1200" u="none" dirty="0"/>
              <a:t>수요 예측</a:t>
            </a:r>
            <a:endParaRPr lang="en-US" altLang="ko-KR" sz="1200" u="none" dirty="0"/>
          </a:p>
          <a:p>
            <a:pPr algn="ctr" eaLnBrk="0" hangingPunct="0">
              <a:spcBef>
                <a:spcPct val="20000"/>
              </a:spcBef>
              <a:tabLst>
                <a:tab pos="1028700" algn="l"/>
              </a:tabLst>
            </a:pPr>
            <a:r>
              <a:rPr lang="en-US" altLang="ko-KR" sz="1200" u="none" dirty="0"/>
              <a:t>R </a:t>
            </a:r>
            <a:r>
              <a:rPr lang="ko-KR" altLang="en-US" sz="1200" u="none" dirty="0"/>
              <a:t>프로그램 구현</a:t>
            </a:r>
            <a:endParaRPr lang="en-US" altLang="ko-KR" sz="1200" u="none" dirty="0"/>
          </a:p>
        </p:txBody>
      </p:sp>
      <p:sp>
        <p:nvSpPr>
          <p:cNvPr id="282636" name="Rectangle 12"/>
          <p:cNvSpPr>
            <a:spLocks noChangeArrowheads="1"/>
          </p:cNvSpPr>
          <p:nvPr/>
        </p:nvSpPr>
        <p:spPr bwMode="gray">
          <a:xfrm>
            <a:off x="7907338" y="3450109"/>
            <a:ext cx="1357312" cy="500062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20000"/>
              </a:spcBef>
              <a:tabLst>
                <a:tab pos="1028700" algn="l"/>
              </a:tabLst>
            </a:pPr>
            <a:r>
              <a:rPr lang="ko-KR" altLang="en-US" sz="1200" u="none" dirty="0"/>
              <a:t>분석 </a:t>
            </a:r>
            <a:r>
              <a:rPr lang="ko-KR" altLang="en-US" sz="1200" u="none" dirty="0" smtClean="0"/>
              <a:t>모델링 </a:t>
            </a:r>
            <a:r>
              <a:rPr lang="ko-KR" altLang="en-US" sz="1200" u="none" dirty="0"/>
              <a:t>교육</a:t>
            </a:r>
            <a:endParaRPr lang="en-US" altLang="ko-KR" sz="1200" u="none" dirty="0"/>
          </a:p>
        </p:txBody>
      </p:sp>
      <p:sp>
        <p:nvSpPr>
          <p:cNvPr id="282637" name="Rectangle 12"/>
          <p:cNvSpPr>
            <a:spLocks noChangeArrowheads="1"/>
          </p:cNvSpPr>
          <p:nvPr/>
        </p:nvSpPr>
        <p:spPr bwMode="gray">
          <a:xfrm>
            <a:off x="7907338" y="4093046"/>
            <a:ext cx="1357312" cy="500063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20000"/>
              </a:spcBef>
              <a:tabLst>
                <a:tab pos="1028700" algn="l"/>
              </a:tabLst>
            </a:pPr>
            <a:r>
              <a:rPr lang="ko-KR" altLang="en-US" sz="1200" u="none" dirty="0" smtClean="0"/>
              <a:t>통계 </a:t>
            </a:r>
            <a:r>
              <a:rPr lang="en-US" altLang="ko-KR" sz="1200" u="none" dirty="0" smtClean="0"/>
              <a:t>Tool(R )</a:t>
            </a:r>
            <a:endParaRPr lang="en-US" altLang="ko-KR" sz="1200" u="none" dirty="0"/>
          </a:p>
          <a:p>
            <a:pPr algn="ctr" eaLnBrk="0" hangingPunct="0">
              <a:spcBef>
                <a:spcPct val="20000"/>
              </a:spcBef>
              <a:tabLst>
                <a:tab pos="1028700" algn="l"/>
              </a:tabLst>
            </a:pPr>
            <a:r>
              <a:rPr lang="ko-KR" altLang="en-US" sz="1200" u="none" dirty="0"/>
              <a:t>교육</a:t>
            </a:r>
            <a:endParaRPr lang="en-US" altLang="ko-KR" sz="1200" u="none" dirty="0"/>
          </a:p>
        </p:txBody>
      </p:sp>
      <p:sp>
        <p:nvSpPr>
          <p:cNvPr id="282638" name="Rectangle 12"/>
          <p:cNvSpPr>
            <a:spLocks noChangeArrowheads="1"/>
          </p:cNvSpPr>
          <p:nvPr/>
        </p:nvSpPr>
        <p:spPr bwMode="gray">
          <a:xfrm>
            <a:off x="7907338" y="4950296"/>
            <a:ext cx="1357312" cy="500063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20000"/>
              </a:spcBef>
              <a:tabLst>
                <a:tab pos="1028700" algn="l"/>
              </a:tabLst>
            </a:pPr>
            <a:r>
              <a:rPr lang="ko-KR" altLang="en-US" sz="1200" u="none"/>
              <a:t>사용자</a:t>
            </a:r>
            <a:r>
              <a:rPr lang="en-US" altLang="ko-KR" sz="1200" u="none"/>
              <a:t>/</a:t>
            </a:r>
            <a:r>
              <a:rPr lang="ko-KR" altLang="en-US" sz="1200" u="none"/>
              <a:t>운영자</a:t>
            </a:r>
            <a:endParaRPr lang="en-US" altLang="ko-KR" sz="1200" u="none"/>
          </a:p>
          <a:p>
            <a:pPr algn="ctr" eaLnBrk="0" hangingPunct="0">
              <a:spcBef>
                <a:spcPct val="20000"/>
              </a:spcBef>
              <a:tabLst>
                <a:tab pos="1028700" algn="l"/>
              </a:tabLst>
            </a:pPr>
            <a:r>
              <a:rPr lang="ko-KR" altLang="en-US" sz="1200" u="none"/>
              <a:t>교육</a:t>
            </a:r>
            <a:endParaRPr lang="en-US" altLang="ko-KR" sz="1200" u="none"/>
          </a:p>
        </p:txBody>
      </p:sp>
      <p:sp>
        <p:nvSpPr>
          <p:cNvPr id="282639" name="Rectangle 12"/>
          <p:cNvSpPr>
            <a:spLocks noChangeArrowheads="1"/>
          </p:cNvSpPr>
          <p:nvPr/>
        </p:nvSpPr>
        <p:spPr bwMode="gray">
          <a:xfrm>
            <a:off x="7907338" y="5593234"/>
            <a:ext cx="1357312" cy="500062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20000"/>
              </a:spcBef>
              <a:tabLst>
                <a:tab pos="1028700" algn="l"/>
              </a:tabLst>
            </a:pPr>
            <a:r>
              <a:rPr lang="ko-KR" altLang="en-US" sz="1200" u="none" dirty="0"/>
              <a:t>예측모형</a:t>
            </a:r>
            <a:endParaRPr lang="en-US" altLang="ko-KR" sz="1200" u="none" dirty="0"/>
          </a:p>
          <a:p>
            <a:pPr algn="ctr" eaLnBrk="0" hangingPunct="0">
              <a:spcBef>
                <a:spcPct val="20000"/>
              </a:spcBef>
              <a:tabLst>
                <a:tab pos="1028700" algn="l"/>
              </a:tabLst>
            </a:pPr>
            <a:r>
              <a:rPr lang="ko-KR" altLang="en-US" sz="1200" u="none" dirty="0"/>
              <a:t>수정</a:t>
            </a:r>
            <a:r>
              <a:rPr lang="en-US" altLang="ko-KR" sz="1200" u="none" dirty="0"/>
              <a:t>/</a:t>
            </a:r>
            <a:r>
              <a:rPr lang="ko-KR" altLang="en-US" sz="1200" u="none" dirty="0"/>
              <a:t>보완 교육</a:t>
            </a:r>
            <a:endParaRPr lang="en-US" altLang="ko-KR" sz="1200" u="none" dirty="0"/>
          </a:p>
        </p:txBody>
      </p:sp>
      <p:sp>
        <p:nvSpPr>
          <p:cNvPr id="282641" name="Rectangle 2" descr="밝은 상향 대각선"/>
          <p:cNvSpPr>
            <a:spLocks noChangeArrowheads="1"/>
          </p:cNvSpPr>
          <p:nvPr/>
        </p:nvSpPr>
        <p:spPr bwMode="auto">
          <a:xfrm>
            <a:off x="2503488" y="4429125"/>
            <a:ext cx="1357312" cy="500063"/>
          </a:xfrm>
          <a:prstGeom prst="rect">
            <a:avLst/>
          </a:prstGeom>
          <a:solidFill>
            <a:srgbClr val="F8F8F8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20000"/>
              </a:spcBef>
              <a:tabLst>
                <a:tab pos="1028700" algn="l"/>
              </a:tabLst>
            </a:pPr>
            <a:r>
              <a:rPr lang="ko-KR" altLang="en-US" sz="1200" u="none"/>
              <a:t>변수 선출</a:t>
            </a:r>
          </a:p>
        </p:txBody>
      </p:sp>
      <p:sp>
        <p:nvSpPr>
          <p:cNvPr id="282642" name="Rectangle 2" descr="밝은 상향 대각선"/>
          <p:cNvSpPr>
            <a:spLocks noChangeArrowheads="1"/>
          </p:cNvSpPr>
          <p:nvPr/>
        </p:nvSpPr>
        <p:spPr bwMode="auto">
          <a:xfrm>
            <a:off x="2503488" y="3429000"/>
            <a:ext cx="1357312" cy="500063"/>
          </a:xfrm>
          <a:prstGeom prst="rect">
            <a:avLst/>
          </a:prstGeom>
          <a:solidFill>
            <a:srgbClr val="F8F8F8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20000"/>
              </a:spcBef>
              <a:tabLst>
                <a:tab pos="1028700" algn="l"/>
              </a:tabLst>
            </a:pPr>
            <a:r>
              <a:rPr lang="en-US" altLang="ko-KR" sz="1200" u="none"/>
              <a:t>Data </a:t>
            </a:r>
            <a:r>
              <a:rPr lang="ko-KR" altLang="en-US" sz="1200" u="none"/>
              <a:t>탐색</a:t>
            </a:r>
          </a:p>
        </p:txBody>
      </p:sp>
      <p:sp>
        <p:nvSpPr>
          <p:cNvPr id="282643" name="Rectangle 2" descr="밝은 상향 대각선"/>
          <p:cNvSpPr>
            <a:spLocks noChangeArrowheads="1"/>
          </p:cNvSpPr>
          <p:nvPr/>
        </p:nvSpPr>
        <p:spPr bwMode="auto">
          <a:xfrm>
            <a:off x="4305300" y="2786063"/>
            <a:ext cx="1357313" cy="500062"/>
          </a:xfrm>
          <a:prstGeom prst="rect">
            <a:avLst/>
          </a:prstGeom>
          <a:solidFill>
            <a:srgbClr val="F8F8F8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20000"/>
              </a:spcBef>
              <a:tabLst>
                <a:tab pos="1028700" algn="l"/>
              </a:tabLst>
            </a:pPr>
            <a:r>
              <a:rPr lang="ko-KR" altLang="en-US" sz="1200" u="none"/>
              <a:t>예측 모형 생성</a:t>
            </a:r>
          </a:p>
        </p:txBody>
      </p:sp>
      <p:sp>
        <p:nvSpPr>
          <p:cNvPr id="282644" name="Rectangle 2" descr="밝은 상향 대각선"/>
          <p:cNvSpPr>
            <a:spLocks noChangeArrowheads="1"/>
          </p:cNvSpPr>
          <p:nvPr/>
        </p:nvSpPr>
        <p:spPr bwMode="auto">
          <a:xfrm>
            <a:off x="4305300" y="3429000"/>
            <a:ext cx="1357313" cy="500063"/>
          </a:xfrm>
          <a:prstGeom prst="rect">
            <a:avLst/>
          </a:prstGeom>
          <a:solidFill>
            <a:srgbClr val="F8F8F8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20000"/>
              </a:spcBef>
              <a:tabLst>
                <a:tab pos="1028700" algn="l"/>
              </a:tabLst>
            </a:pPr>
            <a:r>
              <a:rPr lang="ko-KR" altLang="en-US" sz="1200" u="none"/>
              <a:t>예측 모형 평가</a:t>
            </a:r>
          </a:p>
        </p:txBody>
      </p:sp>
      <p:sp>
        <p:nvSpPr>
          <p:cNvPr id="282645" name="Rectangle 2" descr="밝은 상향 대각선"/>
          <p:cNvSpPr>
            <a:spLocks noChangeArrowheads="1"/>
          </p:cNvSpPr>
          <p:nvPr/>
        </p:nvSpPr>
        <p:spPr bwMode="auto">
          <a:xfrm>
            <a:off x="4305300" y="4429125"/>
            <a:ext cx="1357313" cy="500063"/>
          </a:xfrm>
          <a:prstGeom prst="rect">
            <a:avLst/>
          </a:prstGeom>
          <a:solidFill>
            <a:srgbClr val="F8F8F8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20000"/>
              </a:spcBef>
              <a:tabLst>
                <a:tab pos="1028700" algn="l"/>
              </a:tabLst>
            </a:pPr>
            <a:r>
              <a:rPr lang="ko-KR" altLang="en-US" sz="1200" u="none"/>
              <a:t>예측 결과 보정</a:t>
            </a:r>
            <a:endParaRPr lang="en-US" altLang="ko-KR" sz="1200" u="none"/>
          </a:p>
          <a:p>
            <a:pPr algn="ctr" eaLnBrk="0" hangingPunct="0">
              <a:spcBef>
                <a:spcPct val="20000"/>
              </a:spcBef>
              <a:tabLst>
                <a:tab pos="1028700" algn="l"/>
              </a:tabLst>
            </a:pPr>
            <a:r>
              <a:rPr lang="ko-KR" altLang="en-US" sz="1200" u="none"/>
              <a:t>및 주요 요인 분석</a:t>
            </a:r>
          </a:p>
        </p:txBody>
      </p:sp>
      <p:sp>
        <p:nvSpPr>
          <p:cNvPr id="282646" name="Rectangle 2" descr="밝은 상향 대각선"/>
          <p:cNvSpPr>
            <a:spLocks noChangeArrowheads="1"/>
          </p:cNvSpPr>
          <p:nvPr/>
        </p:nvSpPr>
        <p:spPr bwMode="auto">
          <a:xfrm>
            <a:off x="4305300" y="5072063"/>
            <a:ext cx="1357313" cy="500062"/>
          </a:xfrm>
          <a:prstGeom prst="rect">
            <a:avLst/>
          </a:prstGeom>
          <a:solidFill>
            <a:srgbClr val="F8F8F8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20000"/>
              </a:spcBef>
              <a:tabLst>
                <a:tab pos="1028700" algn="l"/>
              </a:tabLst>
            </a:pPr>
            <a:r>
              <a:rPr lang="ko-KR" altLang="en-US" sz="1200" u="none"/>
              <a:t>예측 모형 최적화</a:t>
            </a:r>
          </a:p>
        </p:txBody>
      </p:sp>
      <p:sp>
        <p:nvSpPr>
          <p:cNvPr id="282647" name="Line 27"/>
          <p:cNvSpPr>
            <a:spLocks noChangeShapeType="1"/>
          </p:cNvSpPr>
          <p:nvPr/>
        </p:nvSpPr>
        <p:spPr bwMode="auto">
          <a:xfrm flipV="1">
            <a:off x="4095750" y="1428750"/>
            <a:ext cx="0" cy="500063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282648" name="Line 27"/>
          <p:cNvSpPr>
            <a:spLocks noChangeShapeType="1"/>
          </p:cNvSpPr>
          <p:nvPr/>
        </p:nvSpPr>
        <p:spPr bwMode="auto">
          <a:xfrm flipV="1">
            <a:off x="9440863" y="1428750"/>
            <a:ext cx="0" cy="500063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282649" name="Line 27"/>
          <p:cNvSpPr>
            <a:spLocks noChangeShapeType="1"/>
          </p:cNvSpPr>
          <p:nvPr/>
        </p:nvSpPr>
        <p:spPr bwMode="auto">
          <a:xfrm flipV="1">
            <a:off x="7700963" y="1428750"/>
            <a:ext cx="0" cy="500063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282650" name="Line 27"/>
          <p:cNvSpPr>
            <a:spLocks noChangeShapeType="1"/>
          </p:cNvSpPr>
          <p:nvPr/>
        </p:nvSpPr>
        <p:spPr bwMode="auto">
          <a:xfrm flipV="1">
            <a:off x="536575" y="1428750"/>
            <a:ext cx="0" cy="500063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282651" name="Line 106"/>
          <p:cNvSpPr>
            <a:spLocks noChangeShapeType="1"/>
          </p:cNvSpPr>
          <p:nvPr/>
        </p:nvSpPr>
        <p:spPr bwMode="auto">
          <a:xfrm flipH="1" flipV="1">
            <a:off x="536575" y="1679575"/>
            <a:ext cx="120173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282652" name="Rectangle 3"/>
          <p:cNvSpPr txBox="1">
            <a:spLocks noChangeArrowheads="1"/>
          </p:cNvSpPr>
          <p:nvPr/>
        </p:nvSpPr>
        <p:spPr bwMode="auto">
          <a:xfrm>
            <a:off x="1595438" y="1428750"/>
            <a:ext cx="1357312" cy="4333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algn="ctr" eaLnBrk="0" latinLnBrk="1" hangingPunct="0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kumimoji="1" lang="ko-KR" altLang="en-US" b="0" u="none">
                <a:latin typeface="맑은 고딕" pitchFamily="50" charset="-127"/>
              </a:rPr>
              <a:t>분석 </a:t>
            </a:r>
            <a:r>
              <a:rPr kumimoji="1" lang="en-US" altLang="ko-KR" b="0" u="none">
                <a:latin typeface="맑은 고딕" pitchFamily="50" charset="-127"/>
              </a:rPr>
              <a:t>/ </a:t>
            </a:r>
            <a:r>
              <a:rPr kumimoji="1" lang="ko-KR" altLang="en-US" b="0" u="none">
                <a:latin typeface="맑은 고딕" pitchFamily="50" charset="-127"/>
              </a:rPr>
              <a:t>설계</a:t>
            </a:r>
            <a:endParaRPr kumimoji="1" lang="en-US" altLang="ko-KR" b="0" u="none">
              <a:latin typeface="맑은 고딕" pitchFamily="50" charset="-127"/>
            </a:endParaRPr>
          </a:p>
          <a:p>
            <a:pPr marL="342900" indent="-342900" algn="ctr" eaLnBrk="0" latinLnBrk="1" hangingPunct="0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kumimoji="1" lang="en-US" altLang="ko-KR" b="0" u="none">
                <a:latin typeface="맑은 고딕" pitchFamily="50" charset="-127"/>
              </a:rPr>
              <a:t>(3</a:t>
            </a:r>
            <a:r>
              <a:rPr kumimoji="1" lang="ko-KR" altLang="en-US" b="0" u="none">
                <a:latin typeface="맑은 고딕" pitchFamily="50" charset="-127"/>
              </a:rPr>
              <a:t>월</a:t>
            </a:r>
            <a:r>
              <a:rPr kumimoji="1" lang="en-US" altLang="ko-KR" b="0" u="none">
                <a:latin typeface="맑은 고딕" pitchFamily="50" charset="-127"/>
              </a:rPr>
              <a:t>)</a:t>
            </a:r>
          </a:p>
        </p:txBody>
      </p:sp>
      <p:sp>
        <p:nvSpPr>
          <p:cNvPr id="282653" name="Rectangle 3"/>
          <p:cNvSpPr txBox="1">
            <a:spLocks noChangeArrowheads="1"/>
          </p:cNvSpPr>
          <p:nvPr/>
        </p:nvSpPr>
        <p:spPr bwMode="auto">
          <a:xfrm>
            <a:off x="5167313" y="1428750"/>
            <a:ext cx="1357312" cy="4333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algn="ctr" eaLnBrk="0" latinLnBrk="1" hangingPunct="0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kumimoji="1" lang="ko-KR" altLang="en-US" b="0" u="none" dirty="0" smtClean="0">
                <a:latin typeface="맑은 고딕" pitchFamily="50" charset="-127"/>
              </a:rPr>
              <a:t>구축 </a:t>
            </a:r>
            <a:r>
              <a:rPr kumimoji="1" lang="en-US" altLang="ko-KR" b="0" u="none" dirty="0">
                <a:latin typeface="맑은 고딕" pitchFamily="50" charset="-127"/>
              </a:rPr>
              <a:t>/ </a:t>
            </a:r>
            <a:r>
              <a:rPr kumimoji="1" lang="ko-KR" altLang="en-US" b="0" u="none" dirty="0">
                <a:latin typeface="맑은 고딕" pitchFamily="50" charset="-127"/>
              </a:rPr>
              <a:t>자동화</a:t>
            </a:r>
            <a:endParaRPr kumimoji="1" lang="en-US" altLang="ko-KR" b="0" u="none" dirty="0">
              <a:latin typeface="맑은 고딕" pitchFamily="50" charset="-127"/>
            </a:endParaRPr>
          </a:p>
          <a:p>
            <a:pPr marL="342900" indent="-342900" algn="ctr" eaLnBrk="0" latinLnBrk="1" hangingPunct="0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kumimoji="1" lang="en-US" altLang="ko-KR" b="0" u="none" dirty="0">
                <a:latin typeface="맑은 고딕" pitchFamily="50" charset="-127"/>
              </a:rPr>
              <a:t>(</a:t>
            </a:r>
            <a:r>
              <a:rPr kumimoji="1" lang="en-US" altLang="ko-KR" b="0" u="none" dirty="0" smtClean="0">
                <a:latin typeface="맑은 고딕" pitchFamily="50" charset="-127"/>
              </a:rPr>
              <a:t>4~8</a:t>
            </a:r>
            <a:r>
              <a:rPr kumimoji="1" lang="ko-KR" altLang="en-US" b="0" u="none" dirty="0" smtClean="0">
                <a:latin typeface="맑은 고딕" pitchFamily="50" charset="-127"/>
              </a:rPr>
              <a:t>월</a:t>
            </a:r>
            <a:r>
              <a:rPr kumimoji="1" lang="en-US" altLang="ko-KR" b="0" u="none" dirty="0">
                <a:latin typeface="맑은 고딕" pitchFamily="50" charset="-127"/>
              </a:rPr>
              <a:t>)</a:t>
            </a:r>
          </a:p>
        </p:txBody>
      </p:sp>
      <p:sp>
        <p:nvSpPr>
          <p:cNvPr id="282654" name="Rectangle 3"/>
          <p:cNvSpPr txBox="1">
            <a:spLocks noChangeArrowheads="1"/>
          </p:cNvSpPr>
          <p:nvPr/>
        </p:nvSpPr>
        <p:spPr bwMode="auto">
          <a:xfrm>
            <a:off x="7881938" y="1428750"/>
            <a:ext cx="1357312" cy="4333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algn="ctr" eaLnBrk="0" latinLnBrk="1" hangingPunct="0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kumimoji="1" lang="ko-KR" altLang="en-US" b="0" u="none" dirty="0" smtClean="0">
                <a:latin typeface="맑은 고딕" pitchFamily="50" charset="-127"/>
              </a:rPr>
              <a:t>예측 모형</a:t>
            </a:r>
            <a:r>
              <a:rPr kumimoji="1" lang="en-US" altLang="ko-KR" b="0" u="none" dirty="0" smtClean="0">
                <a:latin typeface="맑은 고딕" pitchFamily="50" charset="-127"/>
              </a:rPr>
              <a:t> </a:t>
            </a:r>
            <a:r>
              <a:rPr kumimoji="1" lang="ko-KR" altLang="en-US" b="0" u="none" dirty="0" smtClean="0">
                <a:latin typeface="맑은 고딕" pitchFamily="50" charset="-127"/>
              </a:rPr>
              <a:t>보정</a:t>
            </a:r>
            <a:endParaRPr kumimoji="1" lang="en-US" altLang="ko-KR" b="0" u="none" dirty="0">
              <a:latin typeface="맑은 고딕" pitchFamily="50" charset="-127"/>
            </a:endParaRPr>
          </a:p>
          <a:p>
            <a:pPr marL="342900" indent="-342900" algn="ctr" eaLnBrk="0" latinLnBrk="1" hangingPunct="0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kumimoji="1" lang="en-US" altLang="ko-KR" b="0" u="none" dirty="0" smtClean="0">
                <a:latin typeface="맑은 고딕" pitchFamily="50" charset="-127"/>
              </a:rPr>
              <a:t>(10~12</a:t>
            </a:r>
            <a:r>
              <a:rPr kumimoji="1" lang="ko-KR" altLang="en-US" b="0" u="none" dirty="0" smtClean="0">
                <a:latin typeface="맑은 고딕" pitchFamily="50" charset="-127"/>
              </a:rPr>
              <a:t>월</a:t>
            </a:r>
            <a:r>
              <a:rPr kumimoji="1" lang="en-US" altLang="ko-KR" b="0" u="none" dirty="0">
                <a:latin typeface="맑은 고딕" pitchFamily="50" charset="-127"/>
              </a:rPr>
              <a:t>)</a:t>
            </a:r>
          </a:p>
        </p:txBody>
      </p:sp>
      <p:sp>
        <p:nvSpPr>
          <p:cNvPr id="282655" name="Line 106"/>
          <p:cNvSpPr>
            <a:spLocks noChangeShapeType="1"/>
          </p:cNvSpPr>
          <p:nvPr/>
        </p:nvSpPr>
        <p:spPr bwMode="auto">
          <a:xfrm flipH="1">
            <a:off x="4100513" y="1679575"/>
            <a:ext cx="1066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282656" name="Line 106"/>
          <p:cNvSpPr>
            <a:spLocks noChangeShapeType="1"/>
          </p:cNvSpPr>
          <p:nvPr/>
        </p:nvSpPr>
        <p:spPr bwMode="auto">
          <a:xfrm flipH="1" flipV="1">
            <a:off x="7702550" y="1679575"/>
            <a:ext cx="38258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282657" name="Line 106"/>
          <p:cNvSpPr>
            <a:spLocks noChangeShapeType="1"/>
          </p:cNvSpPr>
          <p:nvPr/>
        </p:nvSpPr>
        <p:spPr bwMode="auto">
          <a:xfrm flipV="1">
            <a:off x="2890838" y="1679575"/>
            <a:ext cx="12049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282658" name="Line 106"/>
          <p:cNvSpPr>
            <a:spLocks noChangeShapeType="1"/>
          </p:cNvSpPr>
          <p:nvPr/>
        </p:nvSpPr>
        <p:spPr bwMode="auto">
          <a:xfrm>
            <a:off x="6519863" y="1679575"/>
            <a:ext cx="11811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282659" name="Line 106"/>
          <p:cNvSpPr>
            <a:spLocks noChangeShapeType="1"/>
          </p:cNvSpPr>
          <p:nvPr/>
        </p:nvSpPr>
        <p:spPr bwMode="auto">
          <a:xfrm flipV="1">
            <a:off x="9048750" y="1679575"/>
            <a:ext cx="3937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282660" name="Line 106"/>
          <p:cNvSpPr>
            <a:spLocks noChangeShapeType="1"/>
          </p:cNvSpPr>
          <p:nvPr/>
        </p:nvSpPr>
        <p:spPr bwMode="auto">
          <a:xfrm flipV="1">
            <a:off x="2309813" y="3662363"/>
            <a:ext cx="1984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ko-KR" altLang="en-US"/>
          </a:p>
        </p:txBody>
      </p:sp>
      <p:cxnSp>
        <p:nvCxnSpPr>
          <p:cNvPr id="282661" name="직선 연결선 63"/>
          <p:cNvCxnSpPr>
            <a:cxnSpLocks noChangeShapeType="1"/>
          </p:cNvCxnSpPr>
          <p:nvPr/>
        </p:nvCxnSpPr>
        <p:spPr bwMode="auto">
          <a:xfrm flipH="1">
            <a:off x="2312988" y="4679950"/>
            <a:ext cx="17938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82662" name="직선 연결선 67"/>
          <p:cNvCxnSpPr>
            <a:cxnSpLocks noChangeShapeType="1"/>
            <a:endCxn id="282660" idx="0"/>
          </p:cNvCxnSpPr>
          <p:nvPr/>
        </p:nvCxnSpPr>
        <p:spPr bwMode="auto">
          <a:xfrm flipH="1" flipV="1">
            <a:off x="2309813" y="3662363"/>
            <a:ext cx="3175" cy="10175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282663" name="Line 106"/>
          <p:cNvSpPr>
            <a:spLocks noChangeShapeType="1"/>
          </p:cNvSpPr>
          <p:nvPr/>
        </p:nvSpPr>
        <p:spPr bwMode="auto">
          <a:xfrm>
            <a:off x="3182938" y="3929063"/>
            <a:ext cx="0" cy="5000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282664" name="Line 106"/>
          <p:cNvSpPr>
            <a:spLocks noChangeShapeType="1"/>
          </p:cNvSpPr>
          <p:nvPr/>
        </p:nvSpPr>
        <p:spPr bwMode="auto">
          <a:xfrm>
            <a:off x="4991100" y="3286125"/>
            <a:ext cx="0" cy="1428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282665" name="Line 106"/>
          <p:cNvSpPr>
            <a:spLocks noChangeShapeType="1"/>
          </p:cNvSpPr>
          <p:nvPr/>
        </p:nvSpPr>
        <p:spPr bwMode="auto">
          <a:xfrm>
            <a:off x="4994275" y="3929063"/>
            <a:ext cx="0" cy="5000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282666" name="Line 106"/>
          <p:cNvSpPr>
            <a:spLocks noChangeShapeType="1"/>
          </p:cNvSpPr>
          <p:nvPr/>
        </p:nvSpPr>
        <p:spPr bwMode="auto">
          <a:xfrm flipH="1" flipV="1">
            <a:off x="5662613" y="3000375"/>
            <a:ext cx="1873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ko-KR" altLang="en-US"/>
          </a:p>
        </p:txBody>
      </p:sp>
      <p:cxnSp>
        <p:nvCxnSpPr>
          <p:cNvPr id="282667" name="직선 연결선 72"/>
          <p:cNvCxnSpPr>
            <a:cxnSpLocks noChangeShapeType="1"/>
          </p:cNvCxnSpPr>
          <p:nvPr/>
        </p:nvCxnSpPr>
        <p:spPr bwMode="auto">
          <a:xfrm flipH="1">
            <a:off x="5670550" y="4643438"/>
            <a:ext cx="17938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82668" name="직선 연결선 73"/>
          <p:cNvCxnSpPr>
            <a:cxnSpLocks noChangeShapeType="1"/>
            <a:endCxn id="282666" idx="0"/>
          </p:cNvCxnSpPr>
          <p:nvPr/>
        </p:nvCxnSpPr>
        <p:spPr bwMode="auto">
          <a:xfrm flipH="1" flipV="1">
            <a:off x="5849938" y="3000375"/>
            <a:ext cx="0" cy="16430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282669" name="Rectangle 3"/>
          <p:cNvSpPr txBox="1">
            <a:spLocks noChangeArrowheads="1"/>
          </p:cNvSpPr>
          <p:nvPr/>
        </p:nvSpPr>
        <p:spPr bwMode="auto">
          <a:xfrm>
            <a:off x="2279650" y="4102100"/>
            <a:ext cx="919163" cy="2190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algn="ctr" eaLnBrk="0" latinLnBrk="1" hangingPunct="0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kumimoji="1" lang="ko-KR" altLang="en-US" sz="1200" b="0" u="none">
                <a:latin typeface="맑은 고딕" pitchFamily="50" charset="-127"/>
              </a:rPr>
              <a:t>반복수행</a:t>
            </a:r>
            <a:endParaRPr kumimoji="1" lang="en-US" altLang="ko-KR" sz="1200" b="0" u="none">
              <a:latin typeface="맑은 고딕" pitchFamily="50" charset="-127"/>
            </a:endParaRPr>
          </a:p>
        </p:txBody>
      </p:sp>
      <p:sp>
        <p:nvSpPr>
          <p:cNvPr id="282670" name="Rectangle 3"/>
          <p:cNvSpPr txBox="1">
            <a:spLocks noChangeArrowheads="1"/>
          </p:cNvSpPr>
          <p:nvPr/>
        </p:nvSpPr>
        <p:spPr bwMode="auto">
          <a:xfrm>
            <a:off x="4972050" y="4081463"/>
            <a:ext cx="919163" cy="2190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algn="ctr" eaLnBrk="0" latinLnBrk="1" hangingPunct="0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kumimoji="1" lang="ko-KR" altLang="en-US" sz="1200" b="0" u="none">
                <a:latin typeface="맑은 고딕" pitchFamily="50" charset="-127"/>
              </a:rPr>
              <a:t>반복수행</a:t>
            </a:r>
            <a:endParaRPr kumimoji="1" lang="en-US" altLang="ko-KR" sz="1200" b="0" u="none">
              <a:latin typeface="맑은 고딕" pitchFamily="50" charset="-127"/>
            </a:endParaRPr>
          </a:p>
        </p:txBody>
      </p:sp>
      <p:sp>
        <p:nvSpPr>
          <p:cNvPr id="282671" name="Rectangle 3"/>
          <p:cNvSpPr txBox="1">
            <a:spLocks noChangeArrowheads="1"/>
          </p:cNvSpPr>
          <p:nvPr/>
        </p:nvSpPr>
        <p:spPr bwMode="auto">
          <a:xfrm>
            <a:off x="4310063" y="5715000"/>
            <a:ext cx="3122612" cy="4333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0" latinLnBrk="1" hangingPunct="0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kumimoji="1" lang="ko-KR" altLang="en-US" sz="1200" b="0" u="none" dirty="0">
                <a:latin typeface="맑은 고딕" pitchFamily="50" charset="-127"/>
              </a:rPr>
              <a:t>▲ </a:t>
            </a:r>
            <a:r>
              <a:rPr kumimoji="1" lang="en-US" altLang="ko-KR" sz="1200" b="0" u="none" dirty="0">
                <a:latin typeface="맑은 고딕" pitchFamily="50" charset="-127"/>
              </a:rPr>
              <a:t>17</a:t>
            </a:r>
            <a:r>
              <a:rPr kumimoji="1" lang="ko-KR" altLang="en-US" sz="1200" b="0" u="none" dirty="0">
                <a:latin typeface="맑은 고딕" pitchFamily="50" charset="-127"/>
              </a:rPr>
              <a:t>개 </a:t>
            </a:r>
            <a:r>
              <a:rPr kumimoji="1" lang="en-US" altLang="ko-KR" sz="1200" b="0" u="none" dirty="0">
                <a:latin typeface="맑은 고딕" pitchFamily="50" charset="-127"/>
              </a:rPr>
              <a:t>KPI </a:t>
            </a:r>
            <a:r>
              <a:rPr kumimoji="1" lang="ko-KR" altLang="en-US" sz="1200" b="0" u="none" dirty="0">
                <a:latin typeface="맑은 고딕" pitchFamily="50" charset="-127"/>
              </a:rPr>
              <a:t>측정 </a:t>
            </a:r>
            <a:r>
              <a:rPr kumimoji="1" lang="ko-KR" altLang="en-US" sz="1200" b="0" u="none" dirty="0" smtClean="0">
                <a:latin typeface="맑은 고딕" pitchFamily="50" charset="-127"/>
              </a:rPr>
              <a:t>모형 </a:t>
            </a:r>
            <a:r>
              <a:rPr kumimoji="1" lang="ko-KR" altLang="en-US" sz="1200" b="0" u="none" dirty="0">
                <a:latin typeface="맑은 고딕" pitchFamily="50" charset="-127"/>
              </a:rPr>
              <a:t>예측 정합성 검증</a:t>
            </a:r>
            <a:endParaRPr kumimoji="1" lang="en-US" altLang="ko-KR" sz="1200" b="0" u="none" dirty="0">
              <a:latin typeface="맑은 고딕" pitchFamily="50" charset="-127"/>
            </a:endParaRPr>
          </a:p>
          <a:p>
            <a:pPr marL="342900" indent="-342900" eaLnBrk="0" latinLnBrk="1" hangingPunct="0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kumimoji="1" lang="en-US" altLang="ko-KR" sz="1200" b="0" u="none" dirty="0">
                <a:latin typeface="맑은 고딕" pitchFamily="50" charset="-127"/>
              </a:rPr>
              <a:t>    ( 5</a:t>
            </a:r>
            <a:r>
              <a:rPr kumimoji="1" lang="ko-KR" altLang="en-US" sz="1200" b="0" u="none" dirty="0">
                <a:latin typeface="맑은 고딕" pitchFamily="50" charset="-127"/>
              </a:rPr>
              <a:t>월부터 진행 </a:t>
            </a:r>
            <a:r>
              <a:rPr kumimoji="1" lang="en-US" altLang="ko-KR" sz="1200" b="0" u="none" dirty="0">
                <a:latin typeface="맑은 고딕" pitchFamily="50" charset="-127"/>
              </a:rPr>
              <a:t>)</a:t>
            </a:r>
          </a:p>
        </p:txBody>
      </p:sp>
      <p:sp>
        <p:nvSpPr>
          <p:cNvPr id="56" name="갈매기형 수장 55"/>
          <p:cNvSpPr/>
          <p:nvPr/>
        </p:nvSpPr>
        <p:spPr>
          <a:xfrm>
            <a:off x="511175" y="1990725"/>
            <a:ext cx="1798638" cy="581025"/>
          </a:xfrm>
          <a:prstGeom prst="chevron">
            <a:avLst>
              <a:gd name="adj" fmla="val 22911"/>
            </a:avLst>
          </a:prstGeom>
          <a:solidFill>
            <a:srgbClr val="FFEB97"/>
          </a:solidFill>
          <a:ln w="9525">
            <a:solidFill>
              <a:sysClr val="windowText" lastClr="000000">
                <a:lumMod val="65000"/>
                <a:lumOff val="35000"/>
              </a:sysClr>
            </a:solidFill>
            <a:round/>
            <a:headEnd/>
            <a:tailEnd/>
          </a:ln>
          <a:effectLst>
            <a:outerShdw dist="35921" dir="2700000" algn="ctr" rotWithShape="0">
              <a:srgbClr val="000000"/>
            </a:outerShdw>
          </a:effectLst>
        </p:spPr>
        <p:txBody>
          <a:bodyPr lIns="91436" tIns="45718" rIns="91436" bIns="45718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914360">
              <a:defRPr/>
            </a:pPr>
            <a:r>
              <a:rPr lang="ko-KR" altLang="en-US" sz="1300" u="none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  <a:ea typeface="맑은 고딕" pitchFamily="50" charset="-127"/>
              </a:rPr>
              <a:t>분석</a:t>
            </a:r>
            <a:endParaRPr lang="ko-KR" altLang="en-US" sz="1300" u="none" kern="0" dirty="0">
              <a:solidFill>
                <a:schemeClr val="tx1">
                  <a:lumMod val="95000"/>
                  <a:lumOff val="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9" name="갈매기형 수장 58"/>
          <p:cNvSpPr/>
          <p:nvPr/>
        </p:nvSpPr>
        <p:spPr>
          <a:xfrm>
            <a:off x="2306638" y="1989138"/>
            <a:ext cx="1798637" cy="581025"/>
          </a:xfrm>
          <a:prstGeom prst="chevron">
            <a:avLst>
              <a:gd name="adj" fmla="val 22911"/>
            </a:avLst>
          </a:prstGeom>
          <a:solidFill>
            <a:srgbClr val="FFEB97"/>
          </a:solidFill>
          <a:ln w="9525">
            <a:solidFill>
              <a:sysClr val="windowText" lastClr="000000">
                <a:lumMod val="65000"/>
                <a:lumOff val="35000"/>
              </a:sysClr>
            </a:solidFill>
            <a:round/>
            <a:headEnd/>
            <a:tailEnd/>
          </a:ln>
          <a:effectLst>
            <a:outerShdw dist="35921" dir="2700000" algn="ctr" rotWithShape="0">
              <a:srgbClr val="000000"/>
            </a:outerShdw>
          </a:effectLst>
        </p:spPr>
        <p:txBody>
          <a:bodyPr lIns="91436" tIns="45718" rIns="91436" bIns="45718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914360">
              <a:defRPr/>
            </a:pPr>
            <a:r>
              <a:rPr lang="ko-KR" altLang="en-US" sz="1300" u="none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예측모형 설계</a:t>
            </a:r>
            <a:endParaRPr lang="en-US" altLang="ko-KR" sz="1300" u="none" kern="0" dirty="0" smtClean="0">
              <a:solidFill>
                <a:schemeClr val="tx1">
                  <a:lumMod val="95000"/>
                  <a:lumOff val="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0" name="갈매기형 수장 59"/>
          <p:cNvSpPr/>
          <p:nvPr/>
        </p:nvSpPr>
        <p:spPr>
          <a:xfrm>
            <a:off x="4127500" y="1989138"/>
            <a:ext cx="1798638" cy="581025"/>
          </a:xfrm>
          <a:prstGeom prst="chevron">
            <a:avLst>
              <a:gd name="adj" fmla="val 22911"/>
            </a:avLst>
          </a:prstGeom>
          <a:solidFill>
            <a:srgbClr val="FFCC00"/>
          </a:solidFill>
          <a:ln w="9525">
            <a:solidFill>
              <a:sysClr val="windowText" lastClr="000000">
                <a:lumMod val="65000"/>
                <a:lumOff val="35000"/>
              </a:sysClr>
            </a:solidFill>
            <a:round/>
            <a:headEnd/>
            <a:tailEnd/>
          </a:ln>
          <a:effectLst>
            <a:outerShdw dist="35921" dir="2700000" algn="ctr" rotWithShape="0">
              <a:srgbClr val="000000"/>
            </a:outerShdw>
          </a:effectLst>
        </p:spPr>
        <p:txBody>
          <a:bodyPr lIns="91436" tIns="45718" rIns="91436" bIns="45718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914360">
              <a:defRPr/>
            </a:pPr>
            <a:r>
              <a:rPr lang="ko-KR" altLang="en-US" sz="1300" u="none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예측모형 구축</a:t>
            </a:r>
            <a:endParaRPr lang="en-US" altLang="ko-KR" sz="1300" u="none" kern="0" dirty="0" smtClean="0">
              <a:solidFill>
                <a:schemeClr val="tx1">
                  <a:lumMod val="95000"/>
                  <a:lumOff val="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1" name="갈매기형 수장 60"/>
          <p:cNvSpPr/>
          <p:nvPr/>
        </p:nvSpPr>
        <p:spPr>
          <a:xfrm>
            <a:off x="5924550" y="1989138"/>
            <a:ext cx="1798638" cy="581025"/>
          </a:xfrm>
          <a:prstGeom prst="chevron">
            <a:avLst>
              <a:gd name="adj" fmla="val 22911"/>
            </a:avLst>
          </a:prstGeom>
          <a:solidFill>
            <a:srgbClr val="FFCC00"/>
          </a:solidFill>
          <a:ln w="9525">
            <a:solidFill>
              <a:sysClr val="windowText" lastClr="000000">
                <a:lumMod val="65000"/>
                <a:lumOff val="35000"/>
              </a:sysClr>
            </a:solidFill>
            <a:round/>
            <a:headEnd/>
            <a:tailEnd/>
          </a:ln>
          <a:effectLst>
            <a:outerShdw dist="35921" dir="2700000" algn="ctr" rotWithShape="0">
              <a:srgbClr val="000000"/>
            </a:outerShdw>
          </a:effectLst>
        </p:spPr>
        <p:txBody>
          <a:bodyPr lIns="91436" tIns="45718" rIns="91436" bIns="45718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914360">
              <a:defRPr/>
            </a:pPr>
            <a:r>
              <a:rPr lang="ko-KR" altLang="en-US" sz="1300" u="none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  <a:ea typeface="맑은 고딕" pitchFamily="50" charset="-127"/>
              </a:rPr>
              <a:t>예측모형 자동화</a:t>
            </a:r>
            <a:endParaRPr lang="en-US" altLang="ko-KR" sz="1300" u="none" kern="0" dirty="0" smtClean="0">
              <a:solidFill>
                <a:schemeClr val="tx1">
                  <a:lumMod val="95000"/>
                  <a:lumOff val="5000"/>
                </a:schemeClr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2" name="갈매기형 수장 61"/>
          <p:cNvSpPr/>
          <p:nvPr/>
        </p:nvSpPr>
        <p:spPr>
          <a:xfrm>
            <a:off x="7726363" y="1989138"/>
            <a:ext cx="1798637" cy="581025"/>
          </a:xfrm>
          <a:prstGeom prst="chevron">
            <a:avLst>
              <a:gd name="adj" fmla="val 22911"/>
            </a:avLst>
          </a:prstGeom>
          <a:solidFill>
            <a:srgbClr val="C00000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</a:ln>
          <a:effectLst/>
        </p:spPr>
        <p:txBody>
          <a:bodyPr vert="horz" lIns="0" tIns="18000" rIns="0" bIns="18000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91436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400" u="none" kern="0" dirty="0" smtClean="0">
                <a:solidFill>
                  <a:prstClr val="white"/>
                </a:solidFill>
                <a:latin typeface="맑은 고딕" pitchFamily="50" charset="-127"/>
                <a:ea typeface="맑은 고딕" pitchFamily="50" charset="-127"/>
              </a:rPr>
              <a:t>모형보정</a:t>
            </a:r>
            <a:endParaRPr lang="en-US" altLang="ko-KR" sz="1400" u="none" kern="0" dirty="0" smtClean="0">
              <a:solidFill>
                <a:prstClr val="white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2677" name="Rectangle 3"/>
          <p:cNvSpPr txBox="1">
            <a:spLocks noChangeArrowheads="1"/>
          </p:cNvSpPr>
          <p:nvPr/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latinLnBrk="1" hangingPunct="0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kumimoji="1" lang="ko-KR" altLang="en-US" sz="1600" u="none" dirty="0" smtClean="0"/>
              <a:t>총 </a:t>
            </a:r>
            <a:r>
              <a:rPr kumimoji="1" lang="en-US" altLang="ko-KR" sz="1600" u="none" dirty="0" smtClean="0"/>
              <a:t>9</a:t>
            </a:r>
            <a:r>
              <a:rPr kumimoji="1" lang="ko-KR" altLang="en-US" sz="1600" u="none" dirty="0" smtClean="0"/>
              <a:t>개월 </a:t>
            </a:r>
            <a:r>
              <a:rPr kumimoji="1" lang="ko-KR" altLang="en-US" sz="1600" u="none" dirty="0"/>
              <a:t>동안 </a:t>
            </a:r>
            <a:r>
              <a:rPr kumimoji="1" lang="ko-KR" altLang="en-US" sz="1600" u="none" dirty="0" smtClean="0"/>
              <a:t>예측 모형 구현</a:t>
            </a:r>
            <a:r>
              <a:rPr kumimoji="1" lang="en-US" altLang="ko-KR" sz="1600" u="none" dirty="0" smtClean="0"/>
              <a:t>, </a:t>
            </a:r>
            <a:r>
              <a:rPr kumimoji="1" lang="ko-KR" altLang="en-US" sz="1600" u="none" dirty="0" smtClean="0"/>
              <a:t>예측 모형 보정</a:t>
            </a:r>
            <a:r>
              <a:rPr kumimoji="1" lang="en-US" altLang="ko-KR" sz="1600" u="none" dirty="0" smtClean="0"/>
              <a:t>, </a:t>
            </a:r>
            <a:r>
              <a:rPr kumimoji="1" lang="ko-KR" altLang="en-US" sz="1600" u="none" dirty="0" smtClean="0"/>
              <a:t>사용자</a:t>
            </a:r>
            <a:r>
              <a:rPr kumimoji="1" lang="en-US" altLang="ko-KR" sz="1600" u="none" dirty="0" smtClean="0"/>
              <a:t>/</a:t>
            </a:r>
            <a:r>
              <a:rPr kumimoji="1" lang="ko-KR" altLang="en-US" sz="1600" u="none" dirty="0" smtClean="0"/>
              <a:t>운영자 교육을 수행함</a:t>
            </a:r>
            <a:endParaRPr kumimoji="1" lang="en-US" altLang="ko-KR" sz="1600" u="none" dirty="0"/>
          </a:p>
        </p:txBody>
      </p:sp>
      <p:sp>
        <p:nvSpPr>
          <p:cNvPr id="55" name="Rectangle 12"/>
          <p:cNvSpPr>
            <a:spLocks noChangeArrowheads="1"/>
          </p:cNvSpPr>
          <p:nvPr/>
        </p:nvSpPr>
        <p:spPr bwMode="gray">
          <a:xfrm>
            <a:off x="6108700" y="4429125"/>
            <a:ext cx="1357313" cy="500063"/>
          </a:xfrm>
          <a:prstGeom prst="rect">
            <a:avLst/>
          </a:prstGeom>
          <a:solidFill>
            <a:srgbClr val="F8F8F8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20000"/>
              </a:spcBef>
              <a:tabLst>
                <a:tab pos="1028700" algn="l"/>
              </a:tabLst>
            </a:pPr>
            <a:r>
              <a:rPr lang="ko-KR" altLang="en-US" sz="1200" u="none" dirty="0" smtClean="0"/>
              <a:t>예측 결과 </a:t>
            </a:r>
            <a:r>
              <a:rPr lang="en-US" altLang="ko-KR" sz="1200" u="none" dirty="0" smtClean="0"/>
              <a:t>TEST</a:t>
            </a:r>
            <a:endParaRPr lang="en-US" altLang="ko-KR" sz="1200" u="none" dirty="0"/>
          </a:p>
        </p:txBody>
      </p:sp>
      <p:sp>
        <p:nvSpPr>
          <p:cNvPr id="57" name="Rectangle 12"/>
          <p:cNvSpPr>
            <a:spLocks noChangeArrowheads="1"/>
          </p:cNvSpPr>
          <p:nvPr/>
        </p:nvSpPr>
        <p:spPr bwMode="gray">
          <a:xfrm>
            <a:off x="7907338" y="2786063"/>
            <a:ext cx="1357312" cy="500062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20000"/>
              </a:spcBef>
              <a:tabLst>
                <a:tab pos="1028700" algn="l"/>
              </a:tabLst>
            </a:pPr>
            <a:r>
              <a:rPr lang="ko-KR" altLang="en-US" sz="1200" u="none" dirty="0" smtClean="0"/>
              <a:t>예측 모형 보정</a:t>
            </a:r>
            <a:endParaRPr lang="en-US" altLang="ko-KR" sz="1200" u="none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모서리가 접힌 도형 15"/>
          <p:cNvSpPr/>
          <p:nvPr/>
        </p:nvSpPr>
        <p:spPr>
          <a:xfrm>
            <a:off x="7688312" y="4299198"/>
            <a:ext cx="1989920" cy="1011880"/>
          </a:xfrm>
          <a:prstGeom prst="foldedCorner">
            <a:avLst>
              <a:gd name="adj" fmla="val 14071"/>
            </a:avLst>
          </a:prstGeom>
          <a:solidFill>
            <a:srgbClr val="FDF9F9"/>
          </a:solidFill>
          <a:ln w="12700" cap="flat" cmpd="sng" algn="ctr">
            <a:solidFill>
              <a:schemeClr val="bg1">
                <a:lumMod val="50000"/>
              </a:schemeClr>
            </a:solidFill>
            <a:prstDash val="sysDot"/>
          </a:ln>
          <a:effectLst/>
        </p:spPr>
        <p:txBody>
          <a:bodyPr vert="horz" lIns="18000" tIns="18000" rIns="18000" bIns="1800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ko-KR" b="0" u="none" kern="0" dirty="0">
              <a:solidFill>
                <a:prstClr val="black">
                  <a:lumMod val="75000"/>
                  <a:lumOff val="25000"/>
                </a:prstClr>
              </a:solidFill>
              <a:latin typeface="+mj-lt"/>
              <a:ea typeface="HY헤드라인M" pitchFamily="18" charset="-127"/>
              <a:cs typeface="Arial" pitchFamily="34" charset="0"/>
            </a:endParaRPr>
          </a:p>
        </p:txBody>
      </p:sp>
      <p:graphicFrame>
        <p:nvGraphicFramePr>
          <p:cNvPr id="18" name="표 17"/>
          <p:cNvGraphicFramePr>
            <a:graphicFrameLocks noGrp="1"/>
          </p:cNvGraphicFramePr>
          <p:nvPr/>
        </p:nvGraphicFramePr>
        <p:xfrm>
          <a:off x="500645" y="1357298"/>
          <a:ext cx="9000000" cy="2520001"/>
        </p:xfrm>
        <a:graphic>
          <a:graphicData uri="http://schemas.openxmlformats.org/drawingml/2006/table">
            <a:tbl>
              <a:tblPr/>
              <a:tblGrid>
                <a:gridCol w="620759"/>
                <a:gridCol w="1179241"/>
                <a:gridCol w="900000"/>
                <a:gridCol w="900000"/>
                <a:gridCol w="900000"/>
                <a:gridCol w="900000"/>
                <a:gridCol w="900000"/>
                <a:gridCol w="900000"/>
                <a:gridCol w="900000"/>
                <a:gridCol w="900000"/>
              </a:tblGrid>
              <a:tr h="229091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 spc="-100" baseline="0" dirty="0">
                          <a:solidFill>
                            <a:srgbClr val="000000"/>
                          </a:solidFill>
                          <a:latin typeface="Arial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2014-12-21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2014-12-14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2-07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1-30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1-23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1-16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1-09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1-02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0-26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실적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예측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오차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정확도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4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6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7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6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5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8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/>
                        </a:rPr>
                        <a:t>100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8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/>
                        </a:rPr>
                        <a:t>99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Arial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0-19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0-12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0-05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09-28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09-21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09-14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09-07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08-31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2014-08-24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실적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예측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오차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정확도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2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7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6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9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9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83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7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8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/>
                        </a:rPr>
                        <a:t>83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</a:tr>
            </a:tbl>
          </a:graphicData>
        </a:graphic>
      </p:graphicFrame>
      <p:sp>
        <p:nvSpPr>
          <p:cNvPr id="13" name="직사각형 18"/>
          <p:cNvSpPr>
            <a:spLocks noChangeArrowheads="1"/>
          </p:cNvSpPr>
          <p:nvPr/>
        </p:nvSpPr>
        <p:spPr bwMode="auto">
          <a:xfrm>
            <a:off x="7767638" y="4429534"/>
            <a:ext cx="1878012" cy="75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marL="174625" indent="-174625" algn="ctr" defTabSz="912813">
              <a:lnSpc>
                <a:spcPct val="130000"/>
              </a:lnSpc>
            </a:pPr>
            <a:r>
              <a:rPr kumimoji="1" lang="ko-KR" altLang="en-US" sz="1800" u="none" dirty="0" smtClean="0">
                <a:solidFill>
                  <a:srgbClr val="000000"/>
                </a:solidFill>
                <a:latin typeface="+mj-lt"/>
                <a:ea typeface="맑은 고딕"/>
              </a:rPr>
              <a:t>평균 </a:t>
            </a:r>
            <a:r>
              <a:rPr kumimoji="1" lang="en-US" altLang="ko-KR" sz="1800" u="none" dirty="0" smtClean="0">
                <a:solidFill>
                  <a:srgbClr val="A50021"/>
                </a:solidFill>
                <a:latin typeface="+mj-lt"/>
                <a:ea typeface="맑은 고딕"/>
              </a:rPr>
              <a:t>95%</a:t>
            </a:r>
            <a:r>
              <a:rPr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 </a:t>
            </a:r>
            <a:endParaRPr lang="en-US" altLang="ko-KR" sz="1500" u="none" dirty="0" smtClean="0">
              <a:solidFill>
                <a:srgbClr val="000000"/>
              </a:solidFill>
              <a:latin typeface="+mj-lt"/>
              <a:ea typeface="맑은 고딕"/>
            </a:endParaRPr>
          </a:p>
          <a:p>
            <a:pPr marL="174625" indent="-174625" algn="ctr" defTabSz="912813">
              <a:lnSpc>
                <a:spcPct val="130000"/>
              </a:lnSpc>
            </a:pPr>
            <a:r>
              <a:rPr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예측 정확도 </a:t>
            </a:r>
            <a:endParaRPr lang="en-US" altLang="ko-KR" sz="1500" u="none" dirty="0" smtClean="0">
              <a:solidFill>
                <a:srgbClr val="000000"/>
              </a:solidFill>
              <a:latin typeface="+mj-lt"/>
              <a:ea typeface="맑은 고딕"/>
            </a:endParaRPr>
          </a:p>
        </p:txBody>
      </p:sp>
      <p:sp>
        <p:nvSpPr>
          <p:cNvPr id="15" name="타원 14"/>
          <p:cNvSpPr/>
          <p:nvPr/>
        </p:nvSpPr>
        <p:spPr>
          <a:xfrm>
            <a:off x="2048794" y="4768738"/>
            <a:ext cx="546752" cy="524756"/>
          </a:xfrm>
          <a:prstGeom prst="ellipse">
            <a:avLst/>
          </a:prstGeom>
          <a:solidFill>
            <a:srgbClr val="FFFF00">
              <a:alpha val="20000"/>
            </a:srgbClr>
          </a:solidFill>
          <a:ln w="12700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defRPr/>
            </a:pPr>
            <a:endParaRPr kumimoji="1" lang="ko-KR" altLang="en-US" sz="1800" b="0" u="none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7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8985448" y="6508384"/>
            <a:ext cx="720080" cy="360000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en-US" altLang="ko-KR" spc="100" dirty="0" smtClean="0">
                <a:solidFill>
                  <a:prstClr val="black"/>
                </a:solidFill>
                <a:latin typeface="+mj-lt"/>
                <a:ea typeface="맑은 고딕"/>
              </a:rPr>
              <a:t>9/10</a:t>
            </a:r>
            <a:endParaRPr lang="ko-KR" altLang="en-US" spc="100" dirty="0">
              <a:solidFill>
                <a:prstClr val="black"/>
              </a:solidFill>
              <a:latin typeface="+mj-lt"/>
              <a:ea typeface="맑은 고딕"/>
            </a:endParaRPr>
          </a:p>
        </p:txBody>
      </p:sp>
      <p:grpSp>
        <p:nvGrpSpPr>
          <p:cNvPr id="2" name="그룹 66"/>
          <p:cNvGrpSpPr/>
          <p:nvPr/>
        </p:nvGrpSpPr>
        <p:grpSpPr>
          <a:xfrm>
            <a:off x="0" y="230307"/>
            <a:ext cx="4244213" cy="410962"/>
            <a:chOff x="0" y="376936"/>
            <a:chExt cx="5555674" cy="632968"/>
          </a:xfrm>
        </p:grpSpPr>
        <p:sp>
          <p:nvSpPr>
            <p:cNvPr id="20" name="직사각형 19"/>
            <p:cNvSpPr/>
            <p:nvPr/>
          </p:nvSpPr>
          <p:spPr>
            <a:xfrm>
              <a:off x="0" y="376936"/>
              <a:ext cx="481888" cy="63296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9050">
              <a:noFill/>
              <a:headEnd type="oval"/>
              <a:tailEnd type="oval"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128016" tIns="64008" rIns="128016" bIns="64008" rtlCol="0" anchor="ctr"/>
            <a:lstStyle/>
            <a:p>
              <a:pPr defTabSz="1280160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+mj-lt"/>
                <a:ea typeface="나눔고딕" pitchFamily="50" charset="-127"/>
              </a:endParaRPr>
            </a:p>
          </p:txBody>
        </p:sp>
        <p:sp>
          <p:nvSpPr>
            <p:cNvPr id="21" name="Text Box 5"/>
            <p:cNvSpPr txBox="1">
              <a:spLocks noChangeArrowheads="1"/>
            </p:cNvSpPr>
            <p:nvPr/>
          </p:nvSpPr>
          <p:spPr bwMode="auto">
            <a:xfrm>
              <a:off x="733710" y="476403"/>
              <a:ext cx="4821964" cy="4740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defTabSz="957240" latinLnBrk="1">
                <a:defRPr/>
              </a:pP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#4. </a:t>
              </a:r>
              <a:r>
                <a:rPr kumimoji="1" lang="ko-KR" altLang="en-US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모형결과 </a:t>
              </a: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– </a:t>
              </a:r>
              <a:r>
                <a:rPr kumimoji="1" lang="ko-KR" altLang="en-US" sz="2000" u="none" dirty="0" err="1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주별</a:t>
              </a: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 </a:t>
              </a:r>
              <a:r>
                <a:rPr kumimoji="1" lang="ko-KR" altLang="en-US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예측정확도</a:t>
              </a:r>
            </a:p>
          </p:txBody>
        </p:sp>
      </p:grpSp>
      <p:sp>
        <p:nvSpPr>
          <p:cNvPr id="19" name="Text Box 5"/>
          <p:cNvSpPr txBox="1">
            <a:spLocks noChangeArrowheads="1"/>
          </p:cNvSpPr>
          <p:nvPr/>
        </p:nvSpPr>
        <p:spPr bwMode="auto">
          <a:xfrm>
            <a:off x="622126" y="850588"/>
            <a:ext cx="9260096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atinLnBrk="1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lang="en-US" altLang="ko-KR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Cass Keg</a:t>
            </a:r>
            <a:r>
              <a:rPr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의 실적과 예측 판매량의 차이는 주별 판매량 기준으로</a:t>
            </a:r>
            <a:r>
              <a:rPr lang="en-US" altLang="ko-KR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 </a:t>
            </a:r>
            <a:r>
              <a:rPr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평균 </a:t>
            </a:r>
            <a:r>
              <a:rPr lang="en-US" altLang="ko-KR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95% </a:t>
            </a:r>
            <a:r>
              <a:rPr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이상 정확도를 보임</a:t>
            </a:r>
            <a:endParaRPr kumimoji="1" lang="en-US" altLang="ko-KR" sz="1500" u="none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5881694" y="2652235"/>
            <a:ext cx="928694" cy="1295400"/>
          </a:xfrm>
          <a:prstGeom prst="rect">
            <a:avLst/>
          </a:prstGeom>
          <a:solidFill>
            <a:srgbClr val="FFFF00">
              <a:alpha val="20000"/>
            </a:srgbClr>
          </a:solidFill>
          <a:ln w="3175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defRPr/>
            </a:pPr>
            <a:endParaRPr kumimoji="1" lang="ko-KR" altLang="en-US" sz="1800" b="0" u="none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8596338" y="2651974"/>
            <a:ext cx="928694" cy="1295400"/>
          </a:xfrm>
          <a:prstGeom prst="rect">
            <a:avLst/>
          </a:prstGeom>
          <a:solidFill>
            <a:srgbClr val="FFFF00">
              <a:alpha val="20000"/>
            </a:srgbClr>
          </a:solidFill>
          <a:ln w="3175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defRPr/>
            </a:pPr>
            <a:endParaRPr kumimoji="1" lang="ko-KR" altLang="en-US" sz="1800" b="0" u="none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1238224" y="2660766"/>
            <a:ext cx="1099048" cy="1295400"/>
          </a:xfrm>
          <a:prstGeom prst="rect">
            <a:avLst/>
          </a:prstGeom>
          <a:solidFill>
            <a:srgbClr val="FFFF00">
              <a:alpha val="20000"/>
            </a:srgbClr>
          </a:solidFill>
          <a:ln w="3175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defRPr/>
            </a:pPr>
            <a:endParaRPr kumimoji="1" lang="ko-KR" altLang="en-US" sz="1800" b="0" u="none" dirty="0">
              <a:solidFill>
                <a:srgbClr val="FFFFFF"/>
              </a:solidFill>
              <a:latin typeface="+mj-lt"/>
            </a:endParaRPr>
          </a:p>
        </p:txBody>
      </p:sp>
      <p:graphicFrame>
        <p:nvGraphicFramePr>
          <p:cNvPr id="26" name="차트 25"/>
          <p:cNvGraphicFramePr/>
          <p:nvPr/>
        </p:nvGraphicFramePr>
        <p:xfrm>
          <a:off x="523844" y="4143380"/>
          <a:ext cx="7715304" cy="2286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7" name="실행 단추: 홈 26">
            <a:hlinkClick r:id="rId3" action="ppaction://hlinksldjump" highlightClick="1"/>
          </p:cNvPr>
          <p:cNvSpPr/>
          <p:nvPr/>
        </p:nvSpPr>
        <p:spPr bwMode="auto">
          <a:xfrm>
            <a:off x="9450705" y="428414"/>
            <a:ext cx="288000" cy="288000"/>
          </a:xfrm>
          <a:prstGeom prst="actionButtonHome">
            <a:avLst/>
          </a:prstGeom>
          <a:solidFill>
            <a:srgbClr val="FFFFFF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36000" rIns="90000" bIns="36000" numCol="1" rtlCol="0" anchor="ctr" anchorCtr="0" compatLnSpc="1">
            <a:prstTxWarp prst="textNoShape">
              <a:avLst/>
            </a:prstTxWarp>
          </a:bodyPr>
          <a:lstStyle/>
          <a:p>
            <a:pPr algn="ctr" latinLnBrk="1">
              <a:buFont typeface="Arial" pitchFamily="34" charset="0"/>
              <a:buChar char="•"/>
              <a:defRPr/>
            </a:pPr>
            <a:endParaRPr kumimoji="1" lang="ko-KR" altLang="en-US" sz="1300" u="none" kern="0" dirty="0" smtClean="0">
              <a:solidFill>
                <a:srgbClr val="000000"/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모서리가 접힌 도형 15"/>
          <p:cNvSpPr/>
          <p:nvPr/>
        </p:nvSpPr>
        <p:spPr>
          <a:xfrm>
            <a:off x="7688312" y="4299198"/>
            <a:ext cx="1989920" cy="1011880"/>
          </a:xfrm>
          <a:prstGeom prst="foldedCorner">
            <a:avLst>
              <a:gd name="adj" fmla="val 14071"/>
            </a:avLst>
          </a:prstGeom>
          <a:solidFill>
            <a:srgbClr val="FDF9F9"/>
          </a:solidFill>
          <a:ln w="12700" cap="flat" cmpd="sng" algn="ctr">
            <a:solidFill>
              <a:schemeClr val="bg1">
                <a:lumMod val="50000"/>
              </a:schemeClr>
            </a:solidFill>
            <a:prstDash val="sysDot"/>
          </a:ln>
          <a:effectLst/>
        </p:spPr>
        <p:txBody>
          <a:bodyPr vert="horz" lIns="18000" tIns="18000" rIns="18000" bIns="1800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ko-KR" b="0" u="none" kern="0" dirty="0">
              <a:solidFill>
                <a:prstClr val="black">
                  <a:lumMod val="75000"/>
                  <a:lumOff val="25000"/>
                </a:prstClr>
              </a:solidFill>
              <a:latin typeface="+mj-lt"/>
              <a:ea typeface="HY헤드라인M" pitchFamily="18" charset="-127"/>
              <a:cs typeface="Arial" pitchFamily="34" charset="0"/>
            </a:endParaRPr>
          </a:p>
        </p:txBody>
      </p:sp>
      <p:graphicFrame>
        <p:nvGraphicFramePr>
          <p:cNvPr id="18" name="표 17"/>
          <p:cNvGraphicFramePr>
            <a:graphicFrameLocks noGrp="1"/>
          </p:cNvGraphicFramePr>
          <p:nvPr/>
        </p:nvGraphicFramePr>
        <p:xfrm>
          <a:off x="500645" y="1357298"/>
          <a:ext cx="9000000" cy="2520001"/>
        </p:xfrm>
        <a:graphic>
          <a:graphicData uri="http://schemas.openxmlformats.org/drawingml/2006/table">
            <a:tbl>
              <a:tblPr/>
              <a:tblGrid>
                <a:gridCol w="620759"/>
                <a:gridCol w="1179241"/>
                <a:gridCol w="900000"/>
                <a:gridCol w="900000"/>
                <a:gridCol w="900000"/>
                <a:gridCol w="900000"/>
                <a:gridCol w="900000"/>
                <a:gridCol w="900000"/>
                <a:gridCol w="900000"/>
                <a:gridCol w="900000"/>
              </a:tblGrid>
              <a:tr h="229091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 spc="-100" baseline="0" dirty="0">
                          <a:solidFill>
                            <a:srgbClr val="000000"/>
                          </a:solidFill>
                          <a:latin typeface="Arial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2014-12-21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2-14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2-07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1-30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1-23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1-16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1-09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1-02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0-26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실적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예측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오차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/>
                        </a:rPr>
                        <a:t>정확도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8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9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8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8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100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3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4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/>
                        </a:rPr>
                        <a:t>96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/>
                        </a:rPr>
                        <a:t>98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 spc="-100" baseline="0" dirty="0">
                          <a:solidFill>
                            <a:srgbClr val="000000"/>
                          </a:solidFill>
                          <a:latin typeface="Arial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0-19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0-12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0-05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09-28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09-21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09-14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09-07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08-31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2014-08-24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실적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예측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오차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/>
                        </a:rPr>
                        <a:t>정확도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8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6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8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7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4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4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6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100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/>
                        </a:rPr>
                        <a:t>88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</a:tr>
            </a:tbl>
          </a:graphicData>
        </a:graphic>
      </p:graphicFrame>
      <p:sp>
        <p:nvSpPr>
          <p:cNvPr id="13" name="직사각형 18"/>
          <p:cNvSpPr>
            <a:spLocks noChangeArrowheads="1"/>
          </p:cNvSpPr>
          <p:nvPr/>
        </p:nvSpPr>
        <p:spPr bwMode="auto">
          <a:xfrm>
            <a:off x="7767638" y="4429534"/>
            <a:ext cx="1878012" cy="75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marL="174625" indent="-174625" algn="ctr" defTabSz="912813">
              <a:lnSpc>
                <a:spcPct val="130000"/>
              </a:lnSpc>
            </a:pPr>
            <a:r>
              <a:rPr kumimoji="1" lang="ko-KR" altLang="en-US" sz="1800" u="none" dirty="0" smtClean="0">
                <a:solidFill>
                  <a:srgbClr val="000000"/>
                </a:solidFill>
                <a:latin typeface="+mj-lt"/>
                <a:ea typeface="맑은 고딕"/>
              </a:rPr>
              <a:t>평균 </a:t>
            </a:r>
            <a:r>
              <a:rPr kumimoji="1" lang="en-US" altLang="ko-KR" sz="1800" u="none" dirty="0" smtClean="0">
                <a:solidFill>
                  <a:srgbClr val="A50021"/>
                </a:solidFill>
                <a:latin typeface="+mj-lt"/>
                <a:ea typeface="맑은 고딕"/>
              </a:rPr>
              <a:t>96%</a:t>
            </a:r>
            <a:r>
              <a:rPr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 </a:t>
            </a:r>
            <a:endParaRPr lang="en-US" altLang="ko-KR" sz="1500" u="none" dirty="0" smtClean="0">
              <a:solidFill>
                <a:srgbClr val="000000"/>
              </a:solidFill>
              <a:latin typeface="+mj-lt"/>
              <a:ea typeface="맑은 고딕"/>
            </a:endParaRPr>
          </a:p>
          <a:p>
            <a:pPr marL="174625" indent="-174625" algn="ctr" defTabSz="912813">
              <a:lnSpc>
                <a:spcPct val="130000"/>
              </a:lnSpc>
            </a:pPr>
            <a:r>
              <a:rPr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예측 정확도 </a:t>
            </a:r>
            <a:endParaRPr lang="en-US" altLang="ko-KR" sz="1500" u="none" dirty="0" smtClean="0">
              <a:solidFill>
                <a:srgbClr val="000000"/>
              </a:solidFill>
              <a:latin typeface="+mj-lt"/>
              <a:ea typeface="맑은 고딕"/>
            </a:endParaRPr>
          </a:p>
        </p:txBody>
      </p:sp>
      <p:sp>
        <p:nvSpPr>
          <p:cNvPr id="17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8985448" y="6508384"/>
            <a:ext cx="720080" cy="360000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en-US" altLang="ko-KR" spc="100" dirty="0" smtClean="0">
                <a:solidFill>
                  <a:prstClr val="black"/>
                </a:solidFill>
                <a:latin typeface="+mj-lt"/>
                <a:ea typeface="맑은 고딕"/>
              </a:rPr>
              <a:t>9/10</a:t>
            </a:r>
            <a:endParaRPr lang="ko-KR" altLang="en-US" spc="100" dirty="0">
              <a:solidFill>
                <a:prstClr val="black"/>
              </a:solidFill>
              <a:latin typeface="+mj-lt"/>
              <a:ea typeface="맑은 고딕"/>
            </a:endParaRPr>
          </a:p>
        </p:txBody>
      </p:sp>
      <p:grpSp>
        <p:nvGrpSpPr>
          <p:cNvPr id="2" name="그룹 66"/>
          <p:cNvGrpSpPr/>
          <p:nvPr/>
        </p:nvGrpSpPr>
        <p:grpSpPr>
          <a:xfrm>
            <a:off x="0" y="230307"/>
            <a:ext cx="4244213" cy="410962"/>
            <a:chOff x="0" y="376936"/>
            <a:chExt cx="5555674" cy="632968"/>
          </a:xfrm>
        </p:grpSpPr>
        <p:sp>
          <p:nvSpPr>
            <p:cNvPr id="20" name="직사각형 19"/>
            <p:cNvSpPr/>
            <p:nvPr/>
          </p:nvSpPr>
          <p:spPr>
            <a:xfrm>
              <a:off x="0" y="376936"/>
              <a:ext cx="481888" cy="63296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9050">
              <a:noFill/>
              <a:headEnd type="oval"/>
              <a:tailEnd type="oval"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128016" tIns="64008" rIns="128016" bIns="64008" rtlCol="0" anchor="ctr"/>
            <a:lstStyle/>
            <a:p>
              <a:pPr defTabSz="1280160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+mj-lt"/>
                <a:ea typeface="나눔고딕" pitchFamily="50" charset="-127"/>
              </a:endParaRPr>
            </a:p>
          </p:txBody>
        </p:sp>
        <p:sp>
          <p:nvSpPr>
            <p:cNvPr id="21" name="Text Box 5"/>
            <p:cNvSpPr txBox="1">
              <a:spLocks noChangeArrowheads="1"/>
            </p:cNvSpPr>
            <p:nvPr/>
          </p:nvSpPr>
          <p:spPr bwMode="auto">
            <a:xfrm>
              <a:off x="733710" y="476403"/>
              <a:ext cx="4821964" cy="4740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defTabSz="957240" latinLnBrk="1">
                <a:defRPr/>
              </a:pP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#4. </a:t>
              </a:r>
              <a:r>
                <a:rPr kumimoji="1" lang="ko-KR" altLang="en-US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모형결과 </a:t>
              </a: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– </a:t>
              </a:r>
              <a:r>
                <a:rPr kumimoji="1" lang="ko-KR" altLang="en-US" sz="2000" u="none" dirty="0" err="1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주별</a:t>
              </a: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 </a:t>
              </a:r>
              <a:r>
                <a:rPr kumimoji="1" lang="ko-KR" altLang="en-US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예측정확도</a:t>
              </a:r>
            </a:p>
          </p:txBody>
        </p:sp>
      </p:grpSp>
      <p:sp>
        <p:nvSpPr>
          <p:cNvPr id="19" name="Text Box 5"/>
          <p:cNvSpPr txBox="1">
            <a:spLocks noChangeArrowheads="1"/>
          </p:cNvSpPr>
          <p:nvPr/>
        </p:nvSpPr>
        <p:spPr bwMode="auto">
          <a:xfrm>
            <a:off x="622126" y="850588"/>
            <a:ext cx="9260096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atinLnBrk="1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lang="en-US" altLang="ko-KR" sz="1500" u="none" dirty="0" err="1" smtClean="0">
                <a:solidFill>
                  <a:srgbClr val="000000"/>
                </a:solidFill>
                <a:latin typeface="+mj-lt"/>
                <a:ea typeface="맑은 고딕"/>
              </a:rPr>
              <a:t>CassLight</a:t>
            </a:r>
            <a:r>
              <a:rPr lang="en-US" altLang="ko-KR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 Can</a:t>
            </a:r>
            <a:r>
              <a:rPr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의 실적과 예측 판매량의 차이는 주별 판매량 기준으로</a:t>
            </a:r>
            <a:r>
              <a:rPr lang="en-US" altLang="ko-KR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 </a:t>
            </a:r>
            <a:r>
              <a:rPr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평균 </a:t>
            </a:r>
            <a:r>
              <a:rPr lang="en-US" altLang="ko-KR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96% </a:t>
            </a:r>
            <a:r>
              <a:rPr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이상 정확도를 보임</a:t>
            </a:r>
            <a:endParaRPr kumimoji="1" lang="en-US" altLang="ko-KR" sz="1500" u="none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8596338" y="2651250"/>
            <a:ext cx="928694" cy="1295400"/>
          </a:xfrm>
          <a:prstGeom prst="rect">
            <a:avLst/>
          </a:prstGeom>
          <a:solidFill>
            <a:srgbClr val="FFFF00">
              <a:alpha val="20000"/>
            </a:srgbClr>
          </a:solidFill>
          <a:ln w="3175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defRPr/>
            </a:pPr>
            <a:endParaRPr kumimoji="1" lang="ko-KR" altLang="en-US" sz="1800" b="0" u="none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5881694" y="1277068"/>
            <a:ext cx="928694" cy="1295400"/>
          </a:xfrm>
          <a:prstGeom prst="rect">
            <a:avLst/>
          </a:prstGeom>
          <a:solidFill>
            <a:srgbClr val="FFFF00">
              <a:alpha val="20000"/>
            </a:srgbClr>
          </a:solidFill>
          <a:ln w="3175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defRPr/>
            </a:pPr>
            <a:endParaRPr kumimoji="1" lang="ko-KR" altLang="en-US" sz="1800" b="0" u="none" dirty="0">
              <a:solidFill>
                <a:srgbClr val="FFFFFF"/>
              </a:solidFill>
              <a:latin typeface="+mj-lt"/>
            </a:endParaRPr>
          </a:p>
        </p:txBody>
      </p:sp>
      <p:graphicFrame>
        <p:nvGraphicFramePr>
          <p:cNvPr id="25" name="차트 24"/>
          <p:cNvGraphicFramePr/>
          <p:nvPr/>
        </p:nvGraphicFramePr>
        <p:xfrm>
          <a:off x="560512" y="4203789"/>
          <a:ext cx="7643866" cy="22145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실행 단추: 홈 14">
            <a:hlinkClick r:id="rId3" action="ppaction://hlinksldjump" highlightClick="1"/>
          </p:cNvPr>
          <p:cNvSpPr/>
          <p:nvPr/>
        </p:nvSpPr>
        <p:spPr bwMode="auto">
          <a:xfrm>
            <a:off x="9450705" y="428414"/>
            <a:ext cx="288000" cy="288000"/>
          </a:xfrm>
          <a:prstGeom prst="actionButtonHome">
            <a:avLst/>
          </a:prstGeom>
          <a:solidFill>
            <a:srgbClr val="FFFFFF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36000" rIns="90000" bIns="36000" numCol="1" rtlCol="0" anchor="ctr" anchorCtr="0" compatLnSpc="1">
            <a:prstTxWarp prst="textNoShape">
              <a:avLst/>
            </a:prstTxWarp>
          </a:bodyPr>
          <a:lstStyle/>
          <a:p>
            <a:pPr algn="ctr" latinLnBrk="1">
              <a:buFont typeface="Arial" pitchFamily="34" charset="0"/>
              <a:buChar char="•"/>
              <a:defRPr/>
            </a:pPr>
            <a:endParaRPr kumimoji="1" lang="ko-KR" altLang="en-US" sz="1300" u="none" kern="0" dirty="0" smtClean="0">
              <a:solidFill>
                <a:srgbClr val="000000"/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모서리가 접힌 도형 15"/>
          <p:cNvSpPr/>
          <p:nvPr/>
        </p:nvSpPr>
        <p:spPr>
          <a:xfrm>
            <a:off x="7688312" y="4299198"/>
            <a:ext cx="1989920" cy="1011880"/>
          </a:xfrm>
          <a:prstGeom prst="foldedCorner">
            <a:avLst>
              <a:gd name="adj" fmla="val 14071"/>
            </a:avLst>
          </a:prstGeom>
          <a:solidFill>
            <a:srgbClr val="FDF9F9"/>
          </a:solidFill>
          <a:ln w="12700" cap="flat" cmpd="sng" algn="ctr">
            <a:solidFill>
              <a:schemeClr val="bg1">
                <a:lumMod val="50000"/>
              </a:schemeClr>
            </a:solidFill>
            <a:prstDash val="sysDot"/>
          </a:ln>
          <a:effectLst/>
        </p:spPr>
        <p:txBody>
          <a:bodyPr vert="horz" lIns="18000" tIns="18000" rIns="18000" bIns="1800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ko-KR" b="0" u="none" kern="0" dirty="0">
              <a:solidFill>
                <a:prstClr val="black">
                  <a:lumMod val="75000"/>
                  <a:lumOff val="25000"/>
                </a:prstClr>
              </a:solidFill>
              <a:latin typeface="+mj-lt"/>
              <a:ea typeface="HY헤드라인M" pitchFamily="18" charset="-127"/>
              <a:cs typeface="Arial" pitchFamily="34" charset="0"/>
            </a:endParaRPr>
          </a:p>
        </p:txBody>
      </p:sp>
      <p:graphicFrame>
        <p:nvGraphicFramePr>
          <p:cNvPr id="18" name="표 17"/>
          <p:cNvGraphicFramePr>
            <a:graphicFrameLocks noGrp="1"/>
          </p:cNvGraphicFramePr>
          <p:nvPr/>
        </p:nvGraphicFramePr>
        <p:xfrm>
          <a:off x="500645" y="1357298"/>
          <a:ext cx="9000000" cy="2520001"/>
        </p:xfrm>
        <a:graphic>
          <a:graphicData uri="http://schemas.openxmlformats.org/drawingml/2006/table">
            <a:tbl>
              <a:tblPr/>
              <a:tblGrid>
                <a:gridCol w="620759"/>
                <a:gridCol w="1179241"/>
                <a:gridCol w="900000"/>
                <a:gridCol w="900000"/>
                <a:gridCol w="900000"/>
                <a:gridCol w="900000"/>
                <a:gridCol w="900000"/>
                <a:gridCol w="900000"/>
                <a:gridCol w="900000"/>
                <a:gridCol w="900000"/>
              </a:tblGrid>
              <a:tr h="229091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900" b="0" i="0" u="none" strike="noStrike" spc="-100" baseline="0" dirty="0">
                          <a:solidFill>
                            <a:srgbClr val="000000"/>
                          </a:solidFill>
                          <a:latin typeface="Arial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2014-12-21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2-14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2-07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1-30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1-23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1-16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1-09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1-02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0-26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실적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예측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오차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정확도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smtClean="0">
                          <a:solidFill>
                            <a:srgbClr val="FFFFFF"/>
                          </a:solidFill>
                          <a:latin typeface="맑은 고딕"/>
                        </a:rPr>
                        <a:t>89%</a:t>
                      </a:r>
                      <a:endParaRPr lang="en-US" altLang="ko-KR" sz="1300" b="1" i="0" u="none" strike="noStrike" spc="-100" baseline="0">
                        <a:solidFill>
                          <a:srgbClr val="FFFFFF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smtClean="0">
                          <a:solidFill>
                            <a:srgbClr val="FFFFFF"/>
                          </a:solidFill>
                          <a:latin typeface="맑은 고딕"/>
                        </a:rPr>
                        <a:t>98%</a:t>
                      </a:r>
                      <a:endParaRPr lang="en-US" altLang="ko-KR" sz="1300" b="1" i="0" u="none" strike="noStrike" spc="-100" baseline="0">
                        <a:solidFill>
                          <a:srgbClr val="FFFFFF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smtClean="0">
                          <a:solidFill>
                            <a:srgbClr val="FFFFFF"/>
                          </a:solidFill>
                          <a:latin typeface="맑은 고딕"/>
                        </a:rPr>
                        <a:t>98%</a:t>
                      </a:r>
                      <a:endParaRPr lang="en-US" altLang="ko-KR" sz="1300" b="1" i="0" u="none" strike="noStrike" spc="-100" baseline="0">
                        <a:solidFill>
                          <a:srgbClr val="FFFFFF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smtClean="0">
                          <a:solidFill>
                            <a:srgbClr val="FFFFFF"/>
                          </a:solidFill>
                          <a:latin typeface="맑은 고딕"/>
                        </a:rPr>
                        <a:t>90%</a:t>
                      </a:r>
                      <a:endParaRPr lang="en-US" altLang="ko-KR" sz="1300" b="1" i="0" u="none" strike="noStrike" spc="-100" baseline="0">
                        <a:solidFill>
                          <a:srgbClr val="FFFFFF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smtClean="0">
                          <a:solidFill>
                            <a:srgbClr val="FFFFFF"/>
                          </a:solidFill>
                          <a:latin typeface="맑은 고딕"/>
                        </a:rPr>
                        <a:t>97%</a:t>
                      </a:r>
                      <a:endParaRPr lang="en-US" altLang="ko-KR" sz="1300" b="1" i="0" u="none" strike="noStrike" spc="-100" baseline="0">
                        <a:solidFill>
                          <a:srgbClr val="FFFFFF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smtClean="0">
                          <a:solidFill>
                            <a:srgbClr val="FFFFFF"/>
                          </a:solidFill>
                          <a:latin typeface="맑은 고딕"/>
                        </a:rPr>
                        <a:t>98%</a:t>
                      </a:r>
                      <a:endParaRPr lang="en-US" altLang="ko-KR" sz="1300" b="1" i="0" u="none" strike="noStrike" spc="-100" baseline="0" dirty="0">
                        <a:solidFill>
                          <a:srgbClr val="FFFFFF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dirty="0" smtClean="0">
                          <a:solidFill>
                            <a:srgbClr val="FFFFFF"/>
                          </a:solidFill>
                          <a:latin typeface="맑은 고딕"/>
                        </a:rPr>
                        <a:t>100%</a:t>
                      </a:r>
                      <a:endParaRPr lang="en-US" altLang="ko-KR" sz="1300" b="1" i="0" u="none" strike="noStrike" spc="-100" baseline="0" dirty="0">
                        <a:solidFill>
                          <a:srgbClr val="FFFFFF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87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8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ko-KR" altLang="en-US" sz="800" b="0" i="0" u="none" strike="noStrike" spc="-100" baseline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000" b="0" i="0" u="none" strike="noStrike" spc="-100" baseline="0">
                          <a:solidFill>
                            <a:srgbClr val="000000"/>
                          </a:solidFill>
                          <a:latin typeface="Arial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0-19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0-12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10-05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09-28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09-21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09-14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09-07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 dirty="0">
                          <a:solidFill>
                            <a:srgbClr val="000000"/>
                          </a:solidFill>
                          <a:latin typeface="맑은 고딕"/>
                        </a:rPr>
                        <a:t>2014-08-31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300" b="0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2014-08-24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실적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예측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000000"/>
                          </a:solidFill>
                          <a:latin typeface="맑은 고딕"/>
                        </a:rPr>
                        <a:t>오차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300" b="0" i="0" u="none" strike="noStrike" spc="-100" baseline="0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29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정확도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100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100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5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5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9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85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9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>
                          <a:solidFill>
                            <a:srgbClr val="FFFFFF"/>
                          </a:solidFill>
                          <a:latin typeface="맑은 고딕"/>
                        </a:rPr>
                        <a:t>98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300" b="1" i="0" u="none" strike="noStrike" spc="-100" baseline="0" dirty="0">
                          <a:solidFill>
                            <a:srgbClr val="FFFFFF"/>
                          </a:solidFill>
                          <a:latin typeface="맑은 고딕"/>
                        </a:rPr>
                        <a:t>95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</a:tr>
            </a:tbl>
          </a:graphicData>
        </a:graphic>
      </p:graphicFrame>
      <p:sp>
        <p:nvSpPr>
          <p:cNvPr id="13" name="직사각형 18"/>
          <p:cNvSpPr>
            <a:spLocks noChangeArrowheads="1"/>
          </p:cNvSpPr>
          <p:nvPr/>
        </p:nvSpPr>
        <p:spPr bwMode="auto">
          <a:xfrm>
            <a:off x="7767638" y="4429534"/>
            <a:ext cx="1878012" cy="75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6" tIns="45718" rIns="91436" bIns="45718">
            <a:spAutoFit/>
          </a:bodyPr>
          <a:lstStyle/>
          <a:p>
            <a:pPr marL="174625" indent="-174625" algn="ctr" defTabSz="912813">
              <a:lnSpc>
                <a:spcPct val="130000"/>
              </a:lnSpc>
            </a:pPr>
            <a:r>
              <a:rPr kumimoji="1" lang="ko-KR" altLang="en-US" sz="1800" u="none" dirty="0" smtClean="0">
                <a:solidFill>
                  <a:srgbClr val="000000"/>
                </a:solidFill>
                <a:latin typeface="+mj-lt"/>
                <a:ea typeface="맑은 고딕"/>
              </a:rPr>
              <a:t>평균 </a:t>
            </a:r>
            <a:r>
              <a:rPr kumimoji="1" lang="en-US" altLang="ko-KR" sz="1800" u="none" dirty="0" smtClean="0">
                <a:solidFill>
                  <a:srgbClr val="A50021"/>
                </a:solidFill>
                <a:latin typeface="+mj-lt"/>
                <a:ea typeface="맑은 고딕"/>
              </a:rPr>
              <a:t>95%</a:t>
            </a:r>
            <a:r>
              <a:rPr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 </a:t>
            </a:r>
            <a:endParaRPr lang="en-US" altLang="ko-KR" sz="1500" u="none" dirty="0" smtClean="0">
              <a:solidFill>
                <a:srgbClr val="000000"/>
              </a:solidFill>
              <a:latin typeface="+mj-lt"/>
              <a:ea typeface="맑은 고딕"/>
            </a:endParaRPr>
          </a:p>
          <a:p>
            <a:pPr marL="174625" indent="-174625" algn="ctr" defTabSz="912813">
              <a:lnSpc>
                <a:spcPct val="130000"/>
              </a:lnSpc>
            </a:pPr>
            <a:r>
              <a:rPr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예측 정확도 </a:t>
            </a:r>
            <a:endParaRPr lang="en-US" altLang="ko-KR" sz="1500" u="none" dirty="0" smtClean="0">
              <a:solidFill>
                <a:srgbClr val="000000"/>
              </a:solidFill>
              <a:latin typeface="+mj-lt"/>
              <a:ea typeface="맑은 고딕"/>
            </a:endParaRPr>
          </a:p>
        </p:txBody>
      </p:sp>
      <p:sp>
        <p:nvSpPr>
          <p:cNvPr id="17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8985448" y="6508384"/>
            <a:ext cx="720080" cy="360000"/>
          </a:xfrm>
          <a:prstGeom prst="rect">
            <a:avLst/>
          </a:prstGeom>
        </p:spPr>
        <p:txBody>
          <a:bodyPr lIns="95746" tIns="47874" rIns="95746" bIns="47874"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en-US" altLang="ko-KR" spc="100" dirty="0" smtClean="0">
                <a:solidFill>
                  <a:prstClr val="black"/>
                </a:solidFill>
                <a:latin typeface="+mj-lt"/>
                <a:ea typeface="맑은 고딕"/>
              </a:rPr>
              <a:t>9/10</a:t>
            </a:r>
            <a:endParaRPr lang="ko-KR" altLang="en-US" spc="100" dirty="0">
              <a:solidFill>
                <a:prstClr val="black"/>
              </a:solidFill>
              <a:latin typeface="+mj-lt"/>
              <a:ea typeface="맑은 고딕"/>
            </a:endParaRPr>
          </a:p>
        </p:txBody>
      </p:sp>
      <p:grpSp>
        <p:nvGrpSpPr>
          <p:cNvPr id="2" name="그룹 66"/>
          <p:cNvGrpSpPr/>
          <p:nvPr/>
        </p:nvGrpSpPr>
        <p:grpSpPr>
          <a:xfrm>
            <a:off x="0" y="230307"/>
            <a:ext cx="4244213" cy="410962"/>
            <a:chOff x="0" y="376936"/>
            <a:chExt cx="5555674" cy="632968"/>
          </a:xfrm>
        </p:grpSpPr>
        <p:sp>
          <p:nvSpPr>
            <p:cNvPr id="20" name="직사각형 19"/>
            <p:cNvSpPr/>
            <p:nvPr/>
          </p:nvSpPr>
          <p:spPr>
            <a:xfrm>
              <a:off x="0" y="376936"/>
              <a:ext cx="481888" cy="63296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9050">
              <a:noFill/>
              <a:headEnd type="oval"/>
              <a:tailEnd type="oval"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128016" tIns="64008" rIns="128016" bIns="64008" rtlCol="0" anchor="ctr"/>
            <a:lstStyle/>
            <a:p>
              <a:pPr defTabSz="1280160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+mj-lt"/>
                <a:ea typeface="나눔고딕" pitchFamily="50" charset="-127"/>
              </a:endParaRPr>
            </a:p>
          </p:txBody>
        </p:sp>
        <p:sp>
          <p:nvSpPr>
            <p:cNvPr id="21" name="Text Box 5"/>
            <p:cNvSpPr txBox="1">
              <a:spLocks noChangeArrowheads="1"/>
            </p:cNvSpPr>
            <p:nvPr/>
          </p:nvSpPr>
          <p:spPr bwMode="auto">
            <a:xfrm>
              <a:off x="733710" y="476403"/>
              <a:ext cx="4821964" cy="4740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defTabSz="957240" latinLnBrk="1">
                <a:defRPr/>
              </a:pP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#4. </a:t>
              </a:r>
              <a:r>
                <a:rPr kumimoji="1" lang="ko-KR" altLang="en-US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모형결과 </a:t>
              </a: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– </a:t>
              </a:r>
              <a:r>
                <a:rPr kumimoji="1" lang="ko-KR" altLang="en-US" sz="2000" u="none" dirty="0" err="1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주별</a:t>
              </a: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 </a:t>
              </a:r>
              <a:r>
                <a:rPr kumimoji="1" lang="ko-KR" altLang="en-US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예측정확도</a:t>
              </a:r>
            </a:p>
          </p:txBody>
        </p:sp>
      </p:grpSp>
      <p:sp>
        <p:nvSpPr>
          <p:cNvPr id="19" name="Text Box 5"/>
          <p:cNvSpPr txBox="1">
            <a:spLocks noChangeArrowheads="1"/>
          </p:cNvSpPr>
          <p:nvPr/>
        </p:nvSpPr>
        <p:spPr bwMode="auto">
          <a:xfrm>
            <a:off x="622126" y="850588"/>
            <a:ext cx="9260096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atinLnBrk="1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lang="en-US" altLang="ko-KR" sz="1500" u="none" dirty="0" err="1" smtClean="0">
                <a:solidFill>
                  <a:srgbClr val="000000"/>
                </a:solidFill>
                <a:latin typeface="+mj-lt"/>
                <a:ea typeface="맑은 고딕"/>
              </a:rPr>
              <a:t>CassLight</a:t>
            </a:r>
            <a:r>
              <a:rPr lang="en-US" altLang="ko-KR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 PET</a:t>
            </a:r>
            <a:r>
              <a:rPr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의 실적과 예측 판매량의 차이는 주별 판매량 기준으로</a:t>
            </a:r>
            <a:r>
              <a:rPr lang="en-US" altLang="ko-KR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 </a:t>
            </a:r>
            <a:r>
              <a:rPr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평균 </a:t>
            </a:r>
            <a:r>
              <a:rPr lang="en-US" altLang="ko-KR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95% </a:t>
            </a:r>
            <a:r>
              <a:rPr lang="ko-KR" altLang="en-US" sz="1500" u="none" dirty="0" smtClean="0">
                <a:solidFill>
                  <a:srgbClr val="000000"/>
                </a:solidFill>
                <a:latin typeface="+mj-lt"/>
                <a:ea typeface="맑은 고딕"/>
              </a:rPr>
              <a:t>이상 정확도를 보임</a:t>
            </a:r>
            <a:endParaRPr kumimoji="1" lang="en-US" altLang="ko-KR" sz="1500" u="none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7667644" y="1277068"/>
            <a:ext cx="928694" cy="1295400"/>
          </a:xfrm>
          <a:prstGeom prst="rect">
            <a:avLst/>
          </a:prstGeom>
          <a:solidFill>
            <a:srgbClr val="FFFF00">
              <a:alpha val="20000"/>
            </a:srgbClr>
          </a:solidFill>
          <a:ln w="3175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defRPr/>
            </a:pPr>
            <a:endParaRPr kumimoji="1" lang="ko-KR" altLang="en-US" sz="1800" b="0" u="none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1255808" y="1277068"/>
            <a:ext cx="1071570" cy="1295400"/>
          </a:xfrm>
          <a:prstGeom prst="rect">
            <a:avLst/>
          </a:prstGeom>
          <a:solidFill>
            <a:srgbClr val="FFFF00">
              <a:alpha val="20000"/>
            </a:srgbClr>
          </a:solidFill>
          <a:ln w="3175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defRPr/>
            </a:pPr>
            <a:endParaRPr kumimoji="1" lang="ko-KR" altLang="en-US" sz="1800" b="0" u="none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4086952" y="1277068"/>
            <a:ext cx="928694" cy="1295400"/>
          </a:xfrm>
          <a:prstGeom prst="rect">
            <a:avLst/>
          </a:prstGeom>
          <a:solidFill>
            <a:srgbClr val="FFFF00">
              <a:alpha val="20000"/>
            </a:srgbClr>
          </a:solidFill>
          <a:ln w="3175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defRPr/>
            </a:pPr>
            <a:endParaRPr kumimoji="1" lang="ko-KR" altLang="en-US" sz="1800" b="0" u="none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5881694" y="2651250"/>
            <a:ext cx="928694" cy="1295400"/>
          </a:xfrm>
          <a:prstGeom prst="rect">
            <a:avLst/>
          </a:prstGeom>
          <a:solidFill>
            <a:srgbClr val="FFFF00">
              <a:alpha val="20000"/>
            </a:srgbClr>
          </a:solidFill>
          <a:ln w="3175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defRPr/>
            </a:pPr>
            <a:endParaRPr kumimoji="1" lang="ko-KR" altLang="en-US" sz="1800" b="0" u="none" dirty="0">
              <a:solidFill>
                <a:srgbClr val="FFFFFF"/>
              </a:solidFill>
              <a:latin typeface="+mj-lt"/>
            </a:endParaRPr>
          </a:p>
        </p:txBody>
      </p:sp>
      <p:graphicFrame>
        <p:nvGraphicFramePr>
          <p:cNvPr id="27" name="차트 26"/>
          <p:cNvGraphicFramePr/>
          <p:nvPr/>
        </p:nvGraphicFramePr>
        <p:xfrm>
          <a:off x="523844" y="4143380"/>
          <a:ext cx="7715304" cy="2286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6" name="실행 단추: 홈 25">
            <a:hlinkClick r:id="rId3" action="ppaction://hlinksldjump" highlightClick="1"/>
          </p:cNvPr>
          <p:cNvSpPr/>
          <p:nvPr/>
        </p:nvSpPr>
        <p:spPr bwMode="auto">
          <a:xfrm>
            <a:off x="9450705" y="428414"/>
            <a:ext cx="288000" cy="288000"/>
          </a:xfrm>
          <a:prstGeom prst="actionButtonHome">
            <a:avLst/>
          </a:prstGeom>
          <a:solidFill>
            <a:srgbClr val="FFFFFF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36000" rIns="90000" bIns="36000" numCol="1" rtlCol="0" anchor="ctr" anchorCtr="0" compatLnSpc="1">
            <a:prstTxWarp prst="textNoShape">
              <a:avLst/>
            </a:prstTxWarp>
          </a:bodyPr>
          <a:lstStyle/>
          <a:p>
            <a:pPr algn="ctr" latinLnBrk="1">
              <a:buFont typeface="Arial" pitchFamily="34" charset="0"/>
              <a:buChar char="•"/>
              <a:defRPr/>
            </a:pPr>
            <a:endParaRPr kumimoji="1" lang="ko-KR" altLang="en-US" sz="1300" u="none" kern="0" dirty="0" smtClean="0">
              <a:solidFill>
                <a:srgbClr val="000000"/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Box 5"/>
          <p:cNvSpPr txBox="1">
            <a:spLocks noChangeArrowheads="1"/>
          </p:cNvSpPr>
          <p:nvPr/>
        </p:nvSpPr>
        <p:spPr bwMode="auto">
          <a:xfrm>
            <a:off x="622126" y="850588"/>
            <a:ext cx="9260096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atinLnBrk="1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kumimoji="1" lang="ko-KR" altLang="en-US" sz="1500" u="none" dirty="0" smtClean="0">
                <a:solidFill>
                  <a:srgbClr val="000000"/>
                </a:solidFill>
                <a:latin typeface="+mj-lt"/>
              </a:rPr>
              <a:t>회사전체 판매량 예측모형의 회귀 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+mj-lt"/>
              </a:rPr>
              <a:t>Equation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+mj-lt"/>
              </a:rPr>
              <a:t>은 기온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+mj-lt"/>
              </a:rPr>
              <a:t>, 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+mj-lt"/>
              </a:rPr>
              <a:t>비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+mj-lt"/>
              </a:rPr>
              <a:t>, 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+mj-lt"/>
              </a:rPr>
              <a:t>눈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+mj-lt"/>
              </a:rPr>
              <a:t>, 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+mj-lt"/>
              </a:rPr>
              <a:t>일자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+mj-lt"/>
              </a:rPr>
              <a:t>, 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+mj-lt"/>
              </a:rPr>
              <a:t>영업 설명변수로 표현됨</a:t>
            </a:r>
            <a:endParaRPr kumimoji="1" lang="en-US" altLang="ko-KR" sz="1500" u="none" dirty="0">
              <a:solidFill>
                <a:srgbClr val="000000"/>
              </a:solidFill>
              <a:latin typeface="+mj-lt"/>
            </a:endParaRPr>
          </a:p>
        </p:txBody>
      </p:sp>
      <p:grpSp>
        <p:nvGrpSpPr>
          <p:cNvPr id="2" name="그룹 66"/>
          <p:cNvGrpSpPr/>
          <p:nvPr/>
        </p:nvGrpSpPr>
        <p:grpSpPr>
          <a:xfrm>
            <a:off x="0" y="230307"/>
            <a:ext cx="4849891" cy="410962"/>
            <a:chOff x="0" y="376936"/>
            <a:chExt cx="6348507" cy="632968"/>
          </a:xfrm>
        </p:grpSpPr>
        <p:sp>
          <p:nvSpPr>
            <p:cNvPr id="14" name="직사각형 13"/>
            <p:cNvSpPr/>
            <p:nvPr/>
          </p:nvSpPr>
          <p:spPr>
            <a:xfrm>
              <a:off x="0" y="376936"/>
              <a:ext cx="481888" cy="63296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9050">
              <a:noFill/>
              <a:headEnd type="oval"/>
              <a:tailEnd type="oval"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128016" tIns="64008" rIns="128016" bIns="64008" rtlCol="0" anchor="ctr"/>
            <a:lstStyle/>
            <a:p>
              <a:pPr defTabSz="1280160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+mj-lt"/>
                <a:ea typeface="나눔고딕" pitchFamily="50" charset="-127"/>
              </a:endParaRPr>
            </a:p>
          </p:txBody>
        </p:sp>
        <p:sp>
          <p:nvSpPr>
            <p:cNvPr id="15" name="Text Box 5"/>
            <p:cNvSpPr txBox="1">
              <a:spLocks noChangeArrowheads="1"/>
            </p:cNvSpPr>
            <p:nvPr/>
          </p:nvSpPr>
          <p:spPr bwMode="auto">
            <a:xfrm>
              <a:off x="733710" y="476403"/>
              <a:ext cx="5614797" cy="4740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defTabSz="957240" latinLnBrk="1">
                <a:defRPr/>
              </a:pP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cs typeface="Meiryo UI" pitchFamily="34" charset="-128"/>
                </a:rPr>
                <a:t>#5. </a:t>
              </a:r>
              <a:r>
                <a:rPr kumimoji="1" lang="ko-KR" altLang="en-US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cs typeface="Meiryo UI" pitchFamily="34" charset="-128"/>
                </a:rPr>
                <a:t>모형결과 </a:t>
              </a: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cs typeface="Meiryo UI" pitchFamily="34" charset="-128"/>
                </a:rPr>
                <a:t>– Regression Equation</a:t>
              </a:r>
              <a:endParaRPr kumimoji="1" lang="ko-KR" altLang="en-US" sz="2000" u="none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cs typeface="Meiryo UI" pitchFamily="34" charset="-128"/>
              </a:endParaRPr>
            </a:p>
          </p:txBody>
        </p:sp>
      </p:grpSp>
      <p:pic>
        <p:nvPicPr>
          <p:cNvPr id="16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6654" y="1142984"/>
            <a:ext cx="3284869" cy="4437851"/>
          </a:xfrm>
          <a:prstGeom prst="rect">
            <a:avLst/>
          </a:prstGeom>
          <a:noFill/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4021" y="1142984"/>
            <a:ext cx="3286149" cy="5088938"/>
          </a:xfrm>
          <a:prstGeom prst="rect">
            <a:avLst/>
          </a:prstGeom>
          <a:noFill/>
        </p:spPr>
      </p:pic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409065" y="1142984"/>
            <a:ext cx="3286148" cy="5587435"/>
          </a:xfrm>
          <a:prstGeom prst="rect">
            <a:avLst/>
          </a:prstGeom>
          <a:noFill/>
        </p:spPr>
      </p:pic>
      <p:sp>
        <p:nvSpPr>
          <p:cNvPr id="9" name="실행 단추: 홈 8">
            <a:hlinkClick r:id="rId5" action="ppaction://hlinksldjump" highlightClick="1"/>
          </p:cNvPr>
          <p:cNvSpPr/>
          <p:nvPr/>
        </p:nvSpPr>
        <p:spPr bwMode="auto">
          <a:xfrm>
            <a:off x="9450705" y="428414"/>
            <a:ext cx="288000" cy="288000"/>
          </a:xfrm>
          <a:prstGeom prst="actionButtonHome">
            <a:avLst/>
          </a:prstGeom>
          <a:solidFill>
            <a:srgbClr val="FFFFFF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36000" rIns="90000" bIns="36000" numCol="1" rtlCol="0" anchor="ctr" anchorCtr="0" compatLnSpc="1">
            <a:prstTxWarp prst="textNoShape">
              <a:avLst/>
            </a:prstTxWarp>
          </a:bodyPr>
          <a:lstStyle/>
          <a:p>
            <a:pPr algn="ctr" latinLnBrk="1">
              <a:buFont typeface="Arial" pitchFamily="34" charset="0"/>
              <a:buChar char="•"/>
              <a:defRPr/>
            </a:pPr>
            <a:endParaRPr kumimoji="1" lang="ko-KR" altLang="en-US" sz="1300" u="none" kern="0" dirty="0" smtClean="0">
              <a:solidFill>
                <a:srgbClr val="000000"/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Box 5"/>
          <p:cNvSpPr txBox="1">
            <a:spLocks noChangeArrowheads="1"/>
          </p:cNvSpPr>
          <p:nvPr/>
        </p:nvSpPr>
        <p:spPr bwMode="auto">
          <a:xfrm>
            <a:off x="622126" y="850588"/>
            <a:ext cx="9260096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atinLnBrk="1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kumimoji="1" lang="en-US" altLang="ko-KR" sz="1500" u="none" dirty="0" smtClean="0">
                <a:solidFill>
                  <a:srgbClr val="000000"/>
                </a:solidFill>
                <a:latin typeface="+mj-lt"/>
              </a:rPr>
              <a:t>Cass Can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+mj-lt"/>
              </a:rPr>
              <a:t> 판매량 예측모형의 회귀 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+mj-lt"/>
              </a:rPr>
              <a:t>Equation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+mj-lt"/>
              </a:rPr>
              <a:t>은 기온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+mj-lt"/>
              </a:rPr>
              <a:t>, 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+mj-lt"/>
              </a:rPr>
              <a:t>비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+mj-lt"/>
              </a:rPr>
              <a:t>, 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+mj-lt"/>
              </a:rPr>
              <a:t>눈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+mj-lt"/>
              </a:rPr>
              <a:t>, 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+mj-lt"/>
              </a:rPr>
              <a:t>일자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+mj-lt"/>
              </a:rPr>
              <a:t>, 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+mj-lt"/>
              </a:rPr>
              <a:t>영업 설명변수로 표현됨</a:t>
            </a:r>
            <a:endParaRPr kumimoji="1" lang="en-US" altLang="ko-KR" sz="1500" u="none" dirty="0">
              <a:solidFill>
                <a:srgbClr val="000000"/>
              </a:solidFill>
              <a:latin typeface="+mj-lt"/>
            </a:endParaRPr>
          </a:p>
        </p:txBody>
      </p:sp>
      <p:grpSp>
        <p:nvGrpSpPr>
          <p:cNvPr id="2" name="그룹 66"/>
          <p:cNvGrpSpPr/>
          <p:nvPr/>
        </p:nvGrpSpPr>
        <p:grpSpPr>
          <a:xfrm>
            <a:off x="0" y="230307"/>
            <a:ext cx="4849891" cy="410962"/>
            <a:chOff x="0" y="376936"/>
            <a:chExt cx="6348507" cy="632968"/>
          </a:xfrm>
        </p:grpSpPr>
        <p:sp>
          <p:nvSpPr>
            <p:cNvPr id="14" name="직사각형 13"/>
            <p:cNvSpPr/>
            <p:nvPr/>
          </p:nvSpPr>
          <p:spPr>
            <a:xfrm>
              <a:off x="0" y="376936"/>
              <a:ext cx="481888" cy="63296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9050">
              <a:noFill/>
              <a:headEnd type="oval"/>
              <a:tailEnd type="oval"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128016" tIns="64008" rIns="128016" bIns="64008" rtlCol="0" anchor="ctr"/>
            <a:lstStyle/>
            <a:p>
              <a:pPr defTabSz="1280160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+mj-lt"/>
                <a:ea typeface="나눔고딕" pitchFamily="50" charset="-127"/>
              </a:endParaRPr>
            </a:p>
          </p:txBody>
        </p:sp>
        <p:sp>
          <p:nvSpPr>
            <p:cNvPr id="15" name="Text Box 5"/>
            <p:cNvSpPr txBox="1">
              <a:spLocks noChangeArrowheads="1"/>
            </p:cNvSpPr>
            <p:nvPr/>
          </p:nvSpPr>
          <p:spPr bwMode="auto">
            <a:xfrm>
              <a:off x="733710" y="476403"/>
              <a:ext cx="5614797" cy="4740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defTabSz="957240" latinLnBrk="1">
                <a:defRPr/>
              </a:pP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cs typeface="Meiryo UI" pitchFamily="34" charset="-128"/>
                </a:rPr>
                <a:t>#5. </a:t>
              </a:r>
              <a:r>
                <a:rPr kumimoji="1" lang="ko-KR" altLang="en-US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cs typeface="Meiryo UI" pitchFamily="34" charset="-128"/>
                </a:rPr>
                <a:t>모형결과 </a:t>
              </a: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cs typeface="Meiryo UI" pitchFamily="34" charset="-128"/>
                </a:rPr>
                <a:t>– Regression Equation</a:t>
              </a:r>
              <a:endParaRPr kumimoji="1" lang="ko-KR" altLang="en-US" sz="2000" u="none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cs typeface="Meiryo UI" pitchFamily="34" charset="-128"/>
              </a:endParaRPr>
            </a:p>
          </p:txBody>
        </p:sp>
      </p:grpSp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81773" y="1071546"/>
            <a:ext cx="3199591" cy="5407333"/>
          </a:xfrm>
          <a:prstGeom prst="rect">
            <a:avLst/>
          </a:prstGeom>
          <a:noFill/>
        </p:spPr>
      </p:pic>
      <p:pic>
        <p:nvPicPr>
          <p:cNvPr id="19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09926" y="1071546"/>
            <a:ext cx="3199591" cy="5284919"/>
          </a:xfrm>
          <a:prstGeom prst="rect">
            <a:avLst/>
          </a:prstGeom>
          <a:noFill/>
        </p:spPr>
      </p:pic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310322" y="1071570"/>
            <a:ext cx="3199591" cy="5786454"/>
          </a:xfrm>
          <a:prstGeom prst="rect">
            <a:avLst/>
          </a:prstGeom>
          <a:noFill/>
        </p:spPr>
      </p:pic>
      <p:sp>
        <p:nvSpPr>
          <p:cNvPr id="9" name="실행 단추: 홈 8">
            <a:hlinkClick r:id="rId5" action="ppaction://hlinksldjump" highlightClick="1"/>
          </p:cNvPr>
          <p:cNvSpPr/>
          <p:nvPr/>
        </p:nvSpPr>
        <p:spPr bwMode="auto">
          <a:xfrm>
            <a:off x="9450705" y="428414"/>
            <a:ext cx="288000" cy="288000"/>
          </a:xfrm>
          <a:prstGeom prst="actionButtonHome">
            <a:avLst/>
          </a:prstGeom>
          <a:solidFill>
            <a:srgbClr val="FFFFFF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36000" rIns="90000" bIns="36000" numCol="1" rtlCol="0" anchor="ctr" anchorCtr="0" compatLnSpc="1">
            <a:prstTxWarp prst="textNoShape">
              <a:avLst/>
            </a:prstTxWarp>
          </a:bodyPr>
          <a:lstStyle/>
          <a:p>
            <a:pPr algn="ctr" latinLnBrk="1">
              <a:buFont typeface="Arial" pitchFamily="34" charset="0"/>
              <a:buChar char="•"/>
              <a:defRPr/>
            </a:pPr>
            <a:endParaRPr kumimoji="1" lang="ko-KR" altLang="en-US" sz="1300" u="none" kern="0" dirty="0" smtClean="0">
              <a:solidFill>
                <a:srgbClr val="000000"/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Box 5"/>
          <p:cNvSpPr txBox="1">
            <a:spLocks noChangeArrowheads="1"/>
          </p:cNvSpPr>
          <p:nvPr/>
        </p:nvSpPr>
        <p:spPr bwMode="auto">
          <a:xfrm>
            <a:off x="622126" y="850588"/>
            <a:ext cx="9260096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atinLnBrk="1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kumimoji="1" lang="en-US" altLang="ko-KR" sz="1500" u="none" dirty="0" smtClean="0">
                <a:solidFill>
                  <a:srgbClr val="000000"/>
                </a:solidFill>
                <a:latin typeface="+mj-lt"/>
              </a:rPr>
              <a:t>Cass PET 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+mj-lt"/>
              </a:rPr>
              <a:t>판매량 예측모형의 회귀 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+mj-lt"/>
              </a:rPr>
              <a:t>Equation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+mj-lt"/>
              </a:rPr>
              <a:t>은 기온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+mj-lt"/>
              </a:rPr>
              <a:t>, 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+mj-lt"/>
              </a:rPr>
              <a:t>비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+mj-lt"/>
              </a:rPr>
              <a:t>, 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+mj-lt"/>
              </a:rPr>
              <a:t>눈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+mj-lt"/>
              </a:rPr>
              <a:t>, 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+mj-lt"/>
              </a:rPr>
              <a:t>일자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+mj-lt"/>
              </a:rPr>
              <a:t>, 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+mj-lt"/>
              </a:rPr>
              <a:t>영업 설명변수로 표현됨</a:t>
            </a:r>
            <a:endParaRPr kumimoji="1" lang="en-US" altLang="ko-KR" sz="1500" u="none" dirty="0">
              <a:solidFill>
                <a:srgbClr val="000000"/>
              </a:solidFill>
              <a:latin typeface="+mj-lt"/>
            </a:endParaRPr>
          </a:p>
        </p:txBody>
      </p:sp>
      <p:grpSp>
        <p:nvGrpSpPr>
          <p:cNvPr id="2" name="그룹 66"/>
          <p:cNvGrpSpPr/>
          <p:nvPr/>
        </p:nvGrpSpPr>
        <p:grpSpPr>
          <a:xfrm>
            <a:off x="0" y="230307"/>
            <a:ext cx="4849891" cy="410962"/>
            <a:chOff x="0" y="376936"/>
            <a:chExt cx="6348507" cy="632968"/>
          </a:xfrm>
        </p:grpSpPr>
        <p:sp>
          <p:nvSpPr>
            <p:cNvPr id="14" name="직사각형 13"/>
            <p:cNvSpPr/>
            <p:nvPr/>
          </p:nvSpPr>
          <p:spPr>
            <a:xfrm>
              <a:off x="0" y="376936"/>
              <a:ext cx="481888" cy="63296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9050">
              <a:noFill/>
              <a:headEnd type="oval"/>
              <a:tailEnd type="oval"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128016" tIns="64008" rIns="128016" bIns="64008" rtlCol="0" anchor="ctr"/>
            <a:lstStyle/>
            <a:p>
              <a:pPr defTabSz="1280160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+mj-lt"/>
                <a:ea typeface="나눔고딕" pitchFamily="50" charset="-127"/>
              </a:endParaRPr>
            </a:p>
          </p:txBody>
        </p:sp>
        <p:sp>
          <p:nvSpPr>
            <p:cNvPr id="15" name="Text Box 5"/>
            <p:cNvSpPr txBox="1">
              <a:spLocks noChangeArrowheads="1"/>
            </p:cNvSpPr>
            <p:nvPr/>
          </p:nvSpPr>
          <p:spPr bwMode="auto">
            <a:xfrm>
              <a:off x="733710" y="476403"/>
              <a:ext cx="5614797" cy="4740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defTabSz="957240" latinLnBrk="1">
                <a:defRPr/>
              </a:pP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cs typeface="Meiryo UI" pitchFamily="34" charset="-128"/>
                </a:rPr>
                <a:t>#5. </a:t>
              </a:r>
              <a:r>
                <a:rPr kumimoji="1" lang="ko-KR" altLang="en-US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cs typeface="Meiryo UI" pitchFamily="34" charset="-128"/>
                </a:rPr>
                <a:t>모형결과 </a:t>
              </a: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cs typeface="Meiryo UI" pitchFamily="34" charset="-128"/>
                </a:rPr>
                <a:t>– Regression Equation</a:t>
              </a:r>
              <a:endParaRPr kumimoji="1" lang="ko-KR" altLang="en-US" sz="2000" u="none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cs typeface="Meiryo UI" pitchFamily="34" charset="-128"/>
              </a:endParaRPr>
            </a:p>
          </p:txBody>
        </p:sp>
      </p:grpSp>
      <p:pic>
        <p:nvPicPr>
          <p:cNvPr id="9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2424" y="1142984"/>
            <a:ext cx="3209525" cy="5160549"/>
          </a:xfrm>
          <a:prstGeom prst="rect">
            <a:avLst/>
          </a:prstGeom>
          <a:noFill/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499444" y="1142984"/>
            <a:ext cx="3209524" cy="5319977"/>
          </a:xfrm>
          <a:prstGeom prst="rect">
            <a:avLst/>
          </a:prstGeom>
          <a:noFill/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351778" y="1142984"/>
            <a:ext cx="3209524" cy="5326621"/>
          </a:xfrm>
          <a:prstGeom prst="rect">
            <a:avLst/>
          </a:prstGeom>
          <a:noFill/>
        </p:spPr>
      </p:pic>
      <p:sp>
        <p:nvSpPr>
          <p:cNvPr id="12" name="실행 단추: 홈 11">
            <a:hlinkClick r:id="rId5" action="ppaction://hlinksldjump" highlightClick="1"/>
          </p:cNvPr>
          <p:cNvSpPr/>
          <p:nvPr/>
        </p:nvSpPr>
        <p:spPr bwMode="auto">
          <a:xfrm>
            <a:off x="9450705" y="428414"/>
            <a:ext cx="288000" cy="288000"/>
          </a:xfrm>
          <a:prstGeom prst="actionButtonHome">
            <a:avLst/>
          </a:prstGeom>
          <a:solidFill>
            <a:srgbClr val="FFFFFF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36000" rIns="90000" bIns="36000" numCol="1" rtlCol="0" anchor="ctr" anchorCtr="0" compatLnSpc="1">
            <a:prstTxWarp prst="textNoShape">
              <a:avLst/>
            </a:prstTxWarp>
          </a:bodyPr>
          <a:lstStyle/>
          <a:p>
            <a:pPr algn="ctr" latinLnBrk="1">
              <a:buFont typeface="Arial" pitchFamily="34" charset="0"/>
              <a:buChar char="•"/>
              <a:defRPr/>
            </a:pPr>
            <a:endParaRPr kumimoji="1" lang="ko-KR" altLang="en-US" sz="1300" u="none" kern="0" dirty="0" smtClean="0">
              <a:solidFill>
                <a:srgbClr val="000000"/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Box 5"/>
          <p:cNvSpPr txBox="1">
            <a:spLocks noChangeArrowheads="1"/>
          </p:cNvSpPr>
          <p:nvPr/>
        </p:nvSpPr>
        <p:spPr bwMode="auto">
          <a:xfrm>
            <a:off x="622126" y="850588"/>
            <a:ext cx="9260096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atinLnBrk="1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kumimoji="1" lang="en-US" altLang="ko-KR" sz="1500" u="none" dirty="0" smtClean="0">
                <a:solidFill>
                  <a:srgbClr val="000000"/>
                </a:solidFill>
                <a:latin typeface="맑은 고딕" pitchFamily="50" charset="-127"/>
              </a:rPr>
              <a:t>Cass Bottle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맑은 고딕" pitchFamily="50" charset="-127"/>
              </a:rPr>
              <a:t> 판매량 예측모형의 회귀 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맑은 고딕" pitchFamily="50" charset="-127"/>
              </a:rPr>
              <a:t>Equation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맑은 고딕" pitchFamily="50" charset="-127"/>
              </a:rPr>
              <a:t>은 기온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맑은 고딕" pitchFamily="50" charset="-127"/>
              </a:rPr>
              <a:t>비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맑은 고딕" pitchFamily="50" charset="-127"/>
              </a:rPr>
              <a:t>눈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맑은 고딕" pitchFamily="50" charset="-127"/>
              </a:rPr>
              <a:t>일자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맑은 고딕" pitchFamily="50" charset="-127"/>
              </a:rPr>
              <a:t>영업 설명변수로 표현됨</a:t>
            </a:r>
            <a:endParaRPr kumimoji="1" lang="en-US" altLang="ko-KR" sz="1500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grpSp>
        <p:nvGrpSpPr>
          <p:cNvPr id="2" name="그룹 66"/>
          <p:cNvGrpSpPr/>
          <p:nvPr/>
        </p:nvGrpSpPr>
        <p:grpSpPr>
          <a:xfrm>
            <a:off x="0" y="230307"/>
            <a:ext cx="4849891" cy="410962"/>
            <a:chOff x="0" y="376936"/>
            <a:chExt cx="6348507" cy="632968"/>
          </a:xfrm>
        </p:grpSpPr>
        <p:sp>
          <p:nvSpPr>
            <p:cNvPr id="14" name="직사각형 13"/>
            <p:cNvSpPr/>
            <p:nvPr/>
          </p:nvSpPr>
          <p:spPr>
            <a:xfrm>
              <a:off x="0" y="376936"/>
              <a:ext cx="481888" cy="63296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9050">
              <a:noFill/>
              <a:headEnd type="oval"/>
              <a:tailEnd type="oval"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128016" tIns="64008" rIns="128016" bIns="64008" rtlCol="0" anchor="ctr"/>
            <a:lstStyle/>
            <a:p>
              <a:pPr defTabSz="1280160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나눔고딕" pitchFamily="50" charset="-127"/>
                <a:ea typeface="나눔고딕" pitchFamily="50" charset="-127"/>
              </a:endParaRPr>
            </a:p>
          </p:txBody>
        </p:sp>
        <p:sp>
          <p:nvSpPr>
            <p:cNvPr id="15" name="Text Box 5"/>
            <p:cNvSpPr txBox="1">
              <a:spLocks noChangeArrowheads="1"/>
            </p:cNvSpPr>
            <p:nvPr/>
          </p:nvSpPr>
          <p:spPr bwMode="auto">
            <a:xfrm>
              <a:off x="733710" y="476403"/>
              <a:ext cx="5614797" cy="4740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defTabSz="957240" latinLnBrk="1">
                <a:defRPr/>
              </a:pP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맑은 고딕"/>
                  <a:cs typeface="Meiryo UI" pitchFamily="34" charset="-128"/>
                </a:rPr>
                <a:t>#5. </a:t>
              </a:r>
              <a:r>
                <a:rPr kumimoji="1" lang="ko-KR" altLang="en-US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맑은 고딕"/>
                  <a:cs typeface="Meiryo UI" pitchFamily="34" charset="-128"/>
                </a:rPr>
                <a:t>모형결과 </a:t>
              </a: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맑은 고딕"/>
                  <a:cs typeface="Meiryo UI" pitchFamily="34" charset="-128"/>
                </a:rPr>
                <a:t>– Regression Equation</a:t>
              </a:r>
              <a:endParaRPr kumimoji="1" lang="ko-KR" altLang="en-US" sz="2000" u="none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맑은 고딕"/>
                <a:cs typeface="Meiryo UI" pitchFamily="34" charset="-128"/>
              </a:endParaRPr>
            </a:p>
          </p:txBody>
        </p:sp>
      </p:grpSp>
      <p:pic>
        <p:nvPicPr>
          <p:cNvPr id="9" name="Picture 1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9909" y="1105121"/>
            <a:ext cx="3317178" cy="5317421"/>
          </a:xfrm>
          <a:prstGeom prst="rect">
            <a:avLst/>
          </a:prstGeom>
          <a:noFill/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506656" y="1105122"/>
            <a:ext cx="3317177" cy="5488762"/>
          </a:xfrm>
          <a:prstGeom prst="rect">
            <a:avLst/>
          </a:prstGeom>
          <a:noFill/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453198" y="1105121"/>
            <a:ext cx="3317178" cy="5324275"/>
          </a:xfrm>
          <a:prstGeom prst="rect">
            <a:avLst/>
          </a:prstGeom>
          <a:noFill/>
        </p:spPr>
      </p:pic>
      <p:sp>
        <p:nvSpPr>
          <p:cNvPr id="12" name="실행 단추: 홈 11">
            <a:hlinkClick r:id="rId5" action="ppaction://hlinksldjump" highlightClick="1"/>
          </p:cNvPr>
          <p:cNvSpPr/>
          <p:nvPr/>
        </p:nvSpPr>
        <p:spPr bwMode="auto">
          <a:xfrm>
            <a:off x="9450705" y="428414"/>
            <a:ext cx="288000" cy="288000"/>
          </a:xfrm>
          <a:prstGeom prst="actionButtonHome">
            <a:avLst/>
          </a:prstGeom>
          <a:solidFill>
            <a:srgbClr val="FFFFFF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36000" rIns="90000" bIns="36000" numCol="1" rtlCol="0" anchor="ctr" anchorCtr="0" compatLnSpc="1">
            <a:prstTxWarp prst="textNoShape">
              <a:avLst/>
            </a:prstTxWarp>
          </a:bodyPr>
          <a:lstStyle/>
          <a:p>
            <a:pPr algn="ctr" latinLnBrk="1">
              <a:buFont typeface="Arial" pitchFamily="34" charset="0"/>
              <a:buChar char="•"/>
              <a:defRPr/>
            </a:pPr>
            <a:endParaRPr kumimoji="1" lang="ko-KR" altLang="en-US" sz="1300" u="none" kern="0" dirty="0" smtClean="0">
              <a:solidFill>
                <a:srgbClr val="000000"/>
              </a:solidFill>
              <a:latin typeface="맑은 고딕" pitchFamily="50" charset="-127"/>
            </a:endParaRP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Box 5"/>
          <p:cNvSpPr txBox="1">
            <a:spLocks noChangeArrowheads="1"/>
          </p:cNvSpPr>
          <p:nvPr/>
        </p:nvSpPr>
        <p:spPr bwMode="auto">
          <a:xfrm>
            <a:off x="622126" y="850588"/>
            <a:ext cx="9260096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atinLnBrk="1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kumimoji="1" lang="en-US" altLang="ko-KR" sz="1500" u="none" dirty="0" smtClean="0">
                <a:solidFill>
                  <a:srgbClr val="000000"/>
                </a:solidFill>
                <a:latin typeface="맑은 고딕" pitchFamily="50" charset="-127"/>
              </a:rPr>
              <a:t>Cass Keg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맑은 고딕" pitchFamily="50" charset="-127"/>
              </a:rPr>
              <a:t> 판매량 예측모형의 회귀 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맑은 고딕" pitchFamily="50" charset="-127"/>
              </a:rPr>
              <a:t>Equation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맑은 고딕" pitchFamily="50" charset="-127"/>
              </a:rPr>
              <a:t>은 기온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맑은 고딕" pitchFamily="50" charset="-127"/>
              </a:rPr>
              <a:t>비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맑은 고딕" pitchFamily="50" charset="-127"/>
              </a:rPr>
              <a:t>눈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맑은 고딕" pitchFamily="50" charset="-127"/>
              </a:rPr>
              <a:t>일자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맑은 고딕" pitchFamily="50" charset="-127"/>
              </a:rPr>
              <a:t>영업 설명변수로 표현됨</a:t>
            </a:r>
            <a:endParaRPr kumimoji="1" lang="en-US" altLang="ko-KR" sz="1500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grpSp>
        <p:nvGrpSpPr>
          <p:cNvPr id="2" name="그룹 66"/>
          <p:cNvGrpSpPr/>
          <p:nvPr/>
        </p:nvGrpSpPr>
        <p:grpSpPr>
          <a:xfrm>
            <a:off x="0" y="230307"/>
            <a:ext cx="4849891" cy="410962"/>
            <a:chOff x="0" y="376936"/>
            <a:chExt cx="6348507" cy="632968"/>
          </a:xfrm>
        </p:grpSpPr>
        <p:sp>
          <p:nvSpPr>
            <p:cNvPr id="14" name="직사각형 13"/>
            <p:cNvSpPr/>
            <p:nvPr/>
          </p:nvSpPr>
          <p:spPr>
            <a:xfrm>
              <a:off x="0" y="376936"/>
              <a:ext cx="481888" cy="63296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9050">
              <a:noFill/>
              <a:headEnd type="oval"/>
              <a:tailEnd type="oval"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128016" tIns="64008" rIns="128016" bIns="64008" rtlCol="0" anchor="ctr"/>
            <a:lstStyle/>
            <a:p>
              <a:pPr defTabSz="1280160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나눔고딕" pitchFamily="50" charset="-127"/>
                <a:ea typeface="나눔고딕" pitchFamily="50" charset="-127"/>
              </a:endParaRPr>
            </a:p>
          </p:txBody>
        </p:sp>
        <p:sp>
          <p:nvSpPr>
            <p:cNvPr id="15" name="Text Box 5"/>
            <p:cNvSpPr txBox="1">
              <a:spLocks noChangeArrowheads="1"/>
            </p:cNvSpPr>
            <p:nvPr/>
          </p:nvSpPr>
          <p:spPr bwMode="auto">
            <a:xfrm>
              <a:off x="733710" y="476403"/>
              <a:ext cx="5614797" cy="4740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defTabSz="957240" latinLnBrk="1">
                <a:defRPr/>
              </a:pP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맑은 고딕"/>
                  <a:cs typeface="Meiryo UI" pitchFamily="34" charset="-128"/>
                </a:rPr>
                <a:t>#5. </a:t>
              </a:r>
              <a:r>
                <a:rPr kumimoji="1" lang="ko-KR" altLang="en-US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맑은 고딕"/>
                  <a:cs typeface="Meiryo UI" pitchFamily="34" charset="-128"/>
                </a:rPr>
                <a:t>모형결과 </a:t>
              </a: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맑은 고딕"/>
                  <a:cs typeface="Meiryo UI" pitchFamily="34" charset="-128"/>
                </a:rPr>
                <a:t>– Regression Equation</a:t>
              </a:r>
              <a:endParaRPr kumimoji="1" lang="ko-KR" altLang="en-US" sz="2000" u="none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맑은 고딕"/>
                <a:cs typeface="Meiryo UI" pitchFamily="34" charset="-128"/>
              </a:endParaRPr>
            </a:p>
          </p:txBody>
        </p:sp>
      </p:grpSp>
      <p:pic>
        <p:nvPicPr>
          <p:cNvPr id="9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5925" y="1085738"/>
            <a:ext cx="3370481" cy="5308972"/>
          </a:xfrm>
          <a:prstGeom prst="rect">
            <a:avLst/>
          </a:prstGeom>
          <a:noFill/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64651" y="1085738"/>
            <a:ext cx="3370480" cy="5346528"/>
          </a:xfrm>
          <a:prstGeom prst="rect">
            <a:avLst/>
          </a:prstGeom>
          <a:noFill/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167446" y="1085738"/>
            <a:ext cx="3370480" cy="5697979"/>
          </a:xfrm>
          <a:prstGeom prst="rect">
            <a:avLst/>
          </a:prstGeom>
          <a:noFill/>
        </p:spPr>
      </p:pic>
      <p:sp>
        <p:nvSpPr>
          <p:cNvPr id="12" name="실행 단추: 홈 11">
            <a:hlinkClick r:id="rId5" action="ppaction://hlinksldjump" highlightClick="1"/>
          </p:cNvPr>
          <p:cNvSpPr/>
          <p:nvPr/>
        </p:nvSpPr>
        <p:spPr bwMode="auto">
          <a:xfrm>
            <a:off x="9450705" y="428414"/>
            <a:ext cx="288000" cy="288000"/>
          </a:xfrm>
          <a:prstGeom prst="actionButtonHome">
            <a:avLst/>
          </a:prstGeom>
          <a:solidFill>
            <a:srgbClr val="FFFFFF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36000" rIns="90000" bIns="36000" numCol="1" rtlCol="0" anchor="ctr" anchorCtr="0" compatLnSpc="1">
            <a:prstTxWarp prst="textNoShape">
              <a:avLst/>
            </a:prstTxWarp>
          </a:bodyPr>
          <a:lstStyle/>
          <a:p>
            <a:pPr algn="ctr" latinLnBrk="1">
              <a:buFont typeface="Arial" pitchFamily="34" charset="0"/>
              <a:buChar char="•"/>
              <a:defRPr/>
            </a:pPr>
            <a:endParaRPr kumimoji="1" lang="ko-KR" altLang="en-US" sz="1300" u="none" kern="0" dirty="0" smtClean="0">
              <a:solidFill>
                <a:srgbClr val="000000"/>
              </a:solidFill>
              <a:latin typeface="맑은 고딕" pitchFamily="50" charset="-127"/>
            </a:endParaRPr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Box 5"/>
          <p:cNvSpPr txBox="1">
            <a:spLocks noChangeArrowheads="1"/>
          </p:cNvSpPr>
          <p:nvPr/>
        </p:nvSpPr>
        <p:spPr bwMode="auto">
          <a:xfrm>
            <a:off x="622126" y="850588"/>
            <a:ext cx="9260096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atinLnBrk="1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kumimoji="1" lang="en-US" altLang="ko-KR" sz="1500" u="none" dirty="0" err="1" smtClean="0">
                <a:solidFill>
                  <a:srgbClr val="000000"/>
                </a:solidFill>
                <a:latin typeface="맑은 고딕" pitchFamily="50" charset="-127"/>
              </a:rPr>
              <a:t>CassLight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맑은 고딕" pitchFamily="50" charset="-127"/>
              </a:rPr>
              <a:t> Can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맑은 고딕" pitchFamily="50" charset="-127"/>
              </a:rPr>
              <a:t> 판매량 예측모형의 회귀 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맑은 고딕" pitchFamily="50" charset="-127"/>
              </a:rPr>
              <a:t>Equation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맑은 고딕" pitchFamily="50" charset="-127"/>
              </a:rPr>
              <a:t>은 기온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맑은 고딕" pitchFamily="50" charset="-127"/>
              </a:rPr>
              <a:t>비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맑은 고딕" pitchFamily="50" charset="-127"/>
              </a:rPr>
              <a:t>눈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맑은 고딕" pitchFamily="50" charset="-127"/>
              </a:rPr>
              <a:t>일자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맑은 고딕" pitchFamily="50" charset="-127"/>
              </a:rPr>
              <a:t>영업 설명변수로 표현됨</a:t>
            </a:r>
            <a:endParaRPr kumimoji="1" lang="en-US" altLang="ko-KR" sz="1500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grpSp>
        <p:nvGrpSpPr>
          <p:cNvPr id="2" name="그룹 66"/>
          <p:cNvGrpSpPr/>
          <p:nvPr/>
        </p:nvGrpSpPr>
        <p:grpSpPr>
          <a:xfrm>
            <a:off x="0" y="230307"/>
            <a:ext cx="4849891" cy="410962"/>
            <a:chOff x="0" y="376936"/>
            <a:chExt cx="6348507" cy="632968"/>
          </a:xfrm>
        </p:grpSpPr>
        <p:sp>
          <p:nvSpPr>
            <p:cNvPr id="14" name="직사각형 13"/>
            <p:cNvSpPr/>
            <p:nvPr/>
          </p:nvSpPr>
          <p:spPr>
            <a:xfrm>
              <a:off x="0" y="376936"/>
              <a:ext cx="481888" cy="63296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9050">
              <a:noFill/>
              <a:headEnd type="oval"/>
              <a:tailEnd type="oval"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128016" tIns="64008" rIns="128016" bIns="64008" rtlCol="0" anchor="ctr"/>
            <a:lstStyle/>
            <a:p>
              <a:pPr defTabSz="1280160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나눔고딕" pitchFamily="50" charset="-127"/>
                <a:ea typeface="나눔고딕" pitchFamily="50" charset="-127"/>
              </a:endParaRPr>
            </a:p>
          </p:txBody>
        </p:sp>
        <p:sp>
          <p:nvSpPr>
            <p:cNvPr id="15" name="Text Box 5"/>
            <p:cNvSpPr txBox="1">
              <a:spLocks noChangeArrowheads="1"/>
            </p:cNvSpPr>
            <p:nvPr/>
          </p:nvSpPr>
          <p:spPr bwMode="auto">
            <a:xfrm>
              <a:off x="733710" y="476403"/>
              <a:ext cx="5614797" cy="4740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defTabSz="957240" latinLnBrk="1">
                <a:defRPr/>
              </a:pP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맑은 고딕"/>
                  <a:cs typeface="Meiryo UI" pitchFamily="34" charset="-128"/>
                </a:rPr>
                <a:t>#5. </a:t>
              </a:r>
              <a:r>
                <a:rPr kumimoji="1" lang="ko-KR" altLang="en-US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맑은 고딕"/>
                  <a:cs typeface="Meiryo UI" pitchFamily="34" charset="-128"/>
                </a:rPr>
                <a:t>모형결과 </a:t>
              </a: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맑은 고딕"/>
                  <a:cs typeface="Meiryo UI" pitchFamily="34" charset="-128"/>
                </a:rPr>
                <a:t>– Regression Equation</a:t>
              </a:r>
              <a:endParaRPr kumimoji="1" lang="ko-KR" altLang="en-US" sz="2000" u="none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맑은 고딕"/>
                <a:cs typeface="Meiryo UI" pitchFamily="34" charset="-128"/>
              </a:endParaRPr>
            </a:p>
          </p:txBody>
        </p:sp>
      </p:grpSp>
      <p:pic>
        <p:nvPicPr>
          <p:cNvPr id="9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6654" y="1142984"/>
            <a:ext cx="3396180" cy="4920394"/>
          </a:xfrm>
          <a:prstGeom prst="rect">
            <a:avLst/>
          </a:prstGeom>
          <a:noFill/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46196" y="1142984"/>
            <a:ext cx="3396180" cy="5089863"/>
          </a:xfrm>
          <a:prstGeom prst="rect">
            <a:avLst/>
          </a:prstGeom>
          <a:noFill/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307998" y="1142984"/>
            <a:ext cx="3396180" cy="5605053"/>
          </a:xfrm>
          <a:prstGeom prst="rect">
            <a:avLst/>
          </a:prstGeom>
          <a:noFill/>
        </p:spPr>
      </p:pic>
      <p:sp>
        <p:nvSpPr>
          <p:cNvPr id="12" name="실행 단추: 홈 11">
            <a:hlinkClick r:id="rId5" action="ppaction://hlinksldjump" highlightClick="1"/>
          </p:cNvPr>
          <p:cNvSpPr/>
          <p:nvPr/>
        </p:nvSpPr>
        <p:spPr bwMode="auto">
          <a:xfrm>
            <a:off x="9450705" y="428414"/>
            <a:ext cx="288000" cy="288000"/>
          </a:xfrm>
          <a:prstGeom prst="actionButtonHome">
            <a:avLst/>
          </a:prstGeom>
          <a:solidFill>
            <a:srgbClr val="FFFFFF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36000" rIns="90000" bIns="36000" numCol="1" rtlCol="0" anchor="ctr" anchorCtr="0" compatLnSpc="1">
            <a:prstTxWarp prst="textNoShape">
              <a:avLst/>
            </a:prstTxWarp>
          </a:bodyPr>
          <a:lstStyle/>
          <a:p>
            <a:pPr algn="ctr" latinLnBrk="1">
              <a:buFont typeface="Arial" pitchFamily="34" charset="0"/>
              <a:buChar char="•"/>
              <a:defRPr/>
            </a:pPr>
            <a:endParaRPr kumimoji="1" lang="ko-KR" altLang="en-US" sz="1300" u="none" kern="0" dirty="0" smtClean="0">
              <a:solidFill>
                <a:srgbClr val="000000"/>
              </a:solidFill>
              <a:latin typeface="맑은 고딕" pitchFamily="50" charset="-127"/>
            </a:endParaRPr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Box 5"/>
          <p:cNvSpPr txBox="1">
            <a:spLocks noChangeArrowheads="1"/>
          </p:cNvSpPr>
          <p:nvPr/>
        </p:nvSpPr>
        <p:spPr bwMode="auto">
          <a:xfrm>
            <a:off x="622126" y="850588"/>
            <a:ext cx="9260096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atinLnBrk="1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kumimoji="1" lang="en-US" altLang="ko-KR" sz="1500" u="none" dirty="0" err="1" smtClean="0">
                <a:solidFill>
                  <a:srgbClr val="000000"/>
                </a:solidFill>
                <a:latin typeface="맑은 고딕" pitchFamily="50" charset="-127"/>
              </a:rPr>
              <a:t>CassLight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맑은 고딕" pitchFamily="50" charset="-127"/>
              </a:rPr>
              <a:t> PET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맑은 고딕" pitchFamily="50" charset="-127"/>
              </a:rPr>
              <a:t> 판매량 예측모형의 회귀 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맑은 고딕" pitchFamily="50" charset="-127"/>
              </a:rPr>
              <a:t>Equation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맑은 고딕" pitchFamily="50" charset="-127"/>
              </a:rPr>
              <a:t>은 기온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맑은 고딕" pitchFamily="50" charset="-127"/>
              </a:rPr>
              <a:t>비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맑은 고딕" pitchFamily="50" charset="-127"/>
              </a:rPr>
              <a:t>눈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맑은 고딕" pitchFamily="50" charset="-127"/>
              </a:rPr>
              <a:t>일자</a:t>
            </a:r>
            <a:r>
              <a:rPr kumimoji="1" lang="en-US" altLang="ko-KR" sz="1500" u="none" dirty="0" smtClean="0">
                <a:solidFill>
                  <a:srgbClr val="000000"/>
                </a:solidFill>
                <a:latin typeface="맑은 고딕" pitchFamily="50" charset="-127"/>
              </a:rPr>
              <a:t>, </a:t>
            </a:r>
            <a:r>
              <a:rPr kumimoji="1" lang="ko-KR" altLang="en-US" sz="1500" u="none" dirty="0" smtClean="0">
                <a:solidFill>
                  <a:srgbClr val="000000"/>
                </a:solidFill>
                <a:latin typeface="맑은 고딕" pitchFamily="50" charset="-127"/>
              </a:rPr>
              <a:t>영업 설명변수로 표현됨</a:t>
            </a:r>
            <a:endParaRPr kumimoji="1" lang="en-US" altLang="ko-KR" sz="1500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grpSp>
        <p:nvGrpSpPr>
          <p:cNvPr id="2" name="그룹 66"/>
          <p:cNvGrpSpPr/>
          <p:nvPr/>
        </p:nvGrpSpPr>
        <p:grpSpPr>
          <a:xfrm>
            <a:off x="0" y="230307"/>
            <a:ext cx="4849891" cy="410962"/>
            <a:chOff x="0" y="376936"/>
            <a:chExt cx="6348507" cy="632968"/>
          </a:xfrm>
        </p:grpSpPr>
        <p:sp>
          <p:nvSpPr>
            <p:cNvPr id="14" name="직사각형 13"/>
            <p:cNvSpPr/>
            <p:nvPr/>
          </p:nvSpPr>
          <p:spPr>
            <a:xfrm>
              <a:off x="0" y="376936"/>
              <a:ext cx="481888" cy="63296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9050">
              <a:noFill/>
              <a:headEnd type="oval"/>
              <a:tailEnd type="oval"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128016" tIns="64008" rIns="128016" bIns="64008" rtlCol="0" anchor="ctr"/>
            <a:lstStyle/>
            <a:p>
              <a:pPr defTabSz="1280160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나눔고딕" pitchFamily="50" charset="-127"/>
                <a:ea typeface="나눔고딕" pitchFamily="50" charset="-127"/>
              </a:endParaRPr>
            </a:p>
          </p:txBody>
        </p:sp>
        <p:sp>
          <p:nvSpPr>
            <p:cNvPr id="15" name="Text Box 5"/>
            <p:cNvSpPr txBox="1">
              <a:spLocks noChangeArrowheads="1"/>
            </p:cNvSpPr>
            <p:nvPr/>
          </p:nvSpPr>
          <p:spPr bwMode="auto">
            <a:xfrm>
              <a:off x="733710" y="476403"/>
              <a:ext cx="5614797" cy="4740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defTabSz="957240" latinLnBrk="1">
                <a:defRPr/>
              </a:pP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맑은 고딕"/>
                  <a:cs typeface="Meiryo UI" pitchFamily="34" charset="-128"/>
                </a:rPr>
                <a:t>#5. </a:t>
              </a:r>
              <a:r>
                <a:rPr kumimoji="1" lang="ko-KR" altLang="en-US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맑은 고딕"/>
                  <a:cs typeface="Meiryo UI" pitchFamily="34" charset="-128"/>
                </a:rPr>
                <a:t>모형결과 </a:t>
              </a: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맑은 고딕"/>
                  <a:cs typeface="Meiryo UI" pitchFamily="34" charset="-128"/>
                </a:rPr>
                <a:t>– Regression Equation</a:t>
              </a:r>
              <a:endParaRPr kumimoji="1" lang="ko-KR" altLang="en-US" sz="2000" u="none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맑은 고딕"/>
                <a:cs typeface="Meiryo UI" pitchFamily="34" charset="-128"/>
              </a:endParaRPr>
            </a:p>
          </p:txBody>
        </p:sp>
      </p:grpSp>
      <p:pic>
        <p:nvPicPr>
          <p:cNvPr id="9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8092" y="1108183"/>
            <a:ext cx="3316497" cy="5685179"/>
          </a:xfrm>
          <a:prstGeom prst="rect">
            <a:avLst/>
          </a:prstGeom>
          <a:noFill/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81364" y="1108183"/>
            <a:ext cx="3316498" cy="5526461"/>
          </a:xfrm>
          <a:prstGeom prst="rect">
            <a:avLst/>
          </a:prstGeom>
          <a:noFill/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381760" y="1108183"/>
            <a:ext cx="3316498" cy="5705881"/>
          </a:xfrm>
          <a:prstGeom prst="rect">
            <a:avLst/>
          </a:prstGeom>
          <a:noFill/>
        </p:spPr>
      </p:pic>
      <p:sp>
        <p:nvSpPr>
          <p:cNvPr id="12" name="실행 단추: 홈 11">
            <a:hlinkClick r:id="rId5" action="ppaction://hlinksldjump" highlightClick="1"/>
          </p:cNvPr>
          <p:cNvSpPr/>
          <p:nvPr/>
        </p:nvSpPr>
        <p:spPr bwMode="auto">
          <a:xfrm>
            <a:off x="9450705" y="428414"/>
            <a:ext cx="288000" cy="288000"/>
          </a:xfrm>
          <a:prstGeom prst="actionButtonHome">
            <a:avLst/>
          </a:prstGeom>
          <a:solidFill>
            <a:srgbClr val="FFFFFF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36000" rIns="90000" bIns="36000" numCol="1" rtlCol="0" anchor="ctr" anchorCtr="0" compatLnSpc="1">
            <a:prstTxWarp prst="textNoShape">
              <a:avLst/>
            </a:prstTxWarp>
          </a:bodyPr>
          <a:lstStyle/>
          <a:p>
            <a:pPr algn="ctr" latinLnBrk="1">
              <a:buFont typeface="Arial" pitchFamily="34" charset="0"/>
              <a:buChar char="•"/>
              <a:defRPr/>
            </a:pPr>
            <a:endParaRPr kumimoji="1" lang="ko-KR" altLang="en-US" sz="1300" u="none" kern="0" dirty="0" smtClean="0">
              <a:solidFill>
                <a:srgbClr val="000000"/>
              </a:solidFill>
              <a:latin typeface="맑은 고딕" pitchFamily="50" charset="-127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extBox 50"/>
          <p:cNvSpPr txBox="1"/>
          <p:nvPr/>
        </p:nvSpPr>
        <p:spPr>
          <a:xfrm>
            <a:off x="489496" y="1586830"/>
            <a:ext cx="8928000" cy="4536504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tx1"/>
            </a:outerShdw>
          </a:effectLst>
        </p:spPr>
        <p:txBody>
          <a:bodyPr tIns="190800" anchorCtr="1"/>
          <a:lstStyle/>
          <a:p>
            <a:pPr marL="180975" indent="-180975" defTabSz="762000">
              <a:spcBef>
                <a:spcPct val="50000"/>
              </a:spcBef>
              <a:buFont typeface="Wingdings" pitchFamily="2" charset="2"/>
              <a:buChar char="§"/>
              <a:defRPr/>
            </a:pPr>
            <a:endParaRPr kumimoji="1" lang="en-US" altLang="ko-KR" sz="1200" u="none" dirty="0" smtClean="0">
              <a:solidFill>
                <a:prstClr val="black"/>
              </a:solidFill>
              <a:latin typeface="맑은 고딕" pitchFamily="50" charset="-127"/>
            </a:endParaRPr>
          </a:p>
        </p:txBody>
      </p:sp>
      <p:cxnSp>
        <p:nvCxnSpPr>
          <p:cNvPr id="55" name="직선 연결선 54"/>
          <p:cNvCxnSpPr/>
          <p:nvPr/>
        </p:nvCxnSpPr>
        <p:spPr bwMode="auto">
          <a:xfrm rot="5400000">
            <a:off x="2980104" y="4034503"/>
            <a:ext cx="3960000" cy="0"/>
          </a:xfrm>
          <a:prstGeom prst="line">
            <a:avLst/>
          </a:prstGeom>
          <a:solidFill>
            <a:srgbClr val="A3A3A3">
              <a:alpha val="2000"/>
            </a:srgbClr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28262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>
                <a:latin typeface="맑은 고딕" pitchFamily="50" charset="-127"/>
              </a:rPr>
              <a:t>추진 범위 </a:t>
            </a:r>
            <a:r>
              <a:rPr lang="en-US" altLang="ko-KR" dirty="0" smtClean="0">
                <a:latin typeface="맑은 고딕" pitchFamily="50" charset="-127"/>
              </a:rPr>
              <a:t>– </a:t>
            </a:r>
            <a:r>
              <a:rPr lang="ko-KR" altLang="en-US" dirty="0" smtClean="0">
                <a:latin typeface="맑은 고딕" pitchFamily="50" charset="-127"/>
              </a:rPr>
              <a:t>요약</a:t>
            </a:r>
            <a:endParaRPr lang="en-US" altLang="ko-KR" dirty="0" smtClean="0">
              <a:latin typeface="맑은 고딕" pitchFamily="50" charset="-127"/>
            </a:endParaRPr>
          </a:p>
        </p:txBody>
      </p:sp>
      <p:sp>
        <p:nvSpPr>
          <p:cNvPr id="10" name="Text Box 5"/>
          <p:cNvSpPr txBox="1">
            <a:spLocks noChangeArrowheads="1"/>
          </p:cNvSpPr>
          <p:nvPr/>
        </p:nvSpPr>
        <p:spPr bwMode="auto">
          <a:xfrm>
            <a:off x="1046304" y="2824014"/>
            <a:ext cx="435566" cy="19867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ctr" eaLnBrk="0" hangingPunct="0">
              <a:spcBef>
                <a:spcPct val="20000"/>
              </a:spcBef>
              <a:defRPr/>
            </a:pPr>
            <a:r>
              <a:rPr lang="ko-KR" altLang="en-US" sz="1300" u="none" dirty="0">
                <a:solidFill>
                  <a:srgbClr val="A50021"/>
                </a:solidFill>
                <a:latin typeface="맑은 고딕" pitchFamily="50" charset="-127"/>
              </a:rPr>
              <a:t>대상</a:t>
            </a:r>
            <a:endParaRPr lang="en-US" altLang="ko-KR" sz="1300" u="none" dirty="0">
              <a:solidFill>
                <a:srgbClr val="A50021"/>
              </a:solidFill>
              <a:latin typeface="맑은 고딕" pitchFamily="50" charset="-127"/>
            </a:endParaRPr>
          </a:p>
        </p:txBody>
      </p:sp>
      <p:sp>
        <p:nvSpPr>
          <p:cNvPr id="12" name="Rectangle 17"/>
          <p:cNvSpPr>
            <a:spLocks noChangeArrowheads="1"/>
          </p:cNvSpPr>
          <p:nvPr/>
        </p:nvSpPr>
        <p:spPr bwMode="auto">
          <a:xfrm>
            <a:off x="1792192" y="2018878"/>
            <a:ext cx="1209600" cy="441598"/>
          </a:xfrm>
          <a:prstGeom prst="rect">
            <a:avLst/>
          </a:prstGeom>
          <a:solidFill>
            <a:srgbClr val="FF9933"/>
          </a:solidFill>
          <a:ln w="9525">
            <a:solidFill>
              <a:sysClr val="windowText" lastClr="000000">
                <a:lumMod val="65000"/>
                <a:lumOff val="35000"/>
              </a:sysClr>
            </a:solidFill>
            <a:round/>
            <a:headEnd/>
            <a:tailEnd/>
          </a:ln>
          <a:effectLst>
            <a:outerShdw dist="35921" dir="2700000" algn="ctr" rotWithShape="0">
              <a:srgbClr val="000000"/>
            </a:outerShdw>
          </a:effectLst>
        </p:spPr>
        <p:txBody>
          <a:bodyPr lIns="91436" tIns="45718" rIns="91436" bIns="45718" anchor="ctr"/>
          <a:lstStyle/>
          <a:p>
            <a:pPr algn="ctr" defTabSz="914360">
              <a:lnSpc>
                <a:spcPct val="120000"/>
              </a:lnSpc>
              <a:defRPr/>
            </a:pPr>
            <a:r>
              <a:rPr lang="ko-KR" altLang="en-US" sz="1300" u="none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</a:rPr>
              <a:t>회사전체</a:t>
            </a:r>
            <a:endParaRPr lang="en-US" altLang="ko-KR" sz="1300" u="none" kern="0" dirty="0">
              <a:solidFill>
                <a:schemeClr val="tx1">
                  <a:lumMod val="95000"/>
                  <a:lumOff val="5000"/>
                </a:schemeClr>
              </a:solidFill>
              <a:latin typeface="맑은 고딕" pitchFamily="50" charset="-127"/>
            </a:endParaRPr>
          </a:p>
        </p:txBody>
      </p:sp>
      <p:sp>
        <p:nvSpPr>
          <p:cNvPr id="13" name="Rectangle 17"/>
          <p:cNvSpPr>
            <a:spLocks noChangeArrowheads="1"/>
          </p:cNvSpPr>
          <p:nvPr/>
        </p:nvSpPr>
        <p:spPr bwMode="auto">
          <a:xfrm>
            <a:off x="3172977" y="2018878"/>
            <a:ext cx="1210671" cy="441598"/>
          </a:xfrm>
          <a:prstGeom prst="rect">
            <a:avLst/>
          </a:prstGeom>
          <a:solidFill>
            <a:srgbClr val="FF9933"/>
          </a:solidFill>
          <a:ln w="9525">
            <a:solidFill>
              <a:sysClr val="windowText" lastClr="000000">
                <a:lumMod val="65000"/>
                <a:lumOff val="35000"/>
              </a:sysClr>
            </a:solidFill>
            <a:round/>
            <a:headEnd/>
            <a:tailEnd/>
          </a:ln>
          <a:effectLst>
            <a:outerShdw dist="35921" dir="2700000" algn="ctr" rotWithShape="0">
              <a:srgbClr val="000000"/>
            </a:outerShdw>
          </a:effectLst>
        </p:spPr>
        <p:txBody>
          <a:bodyPr lIns="91436" tIns="45718" rIns="91436" bIns="45718" anchor="ctr"/>
          <a:lstStyle/>
          <a:p>
            <a:pPr algn="ctr" defTabSz="914360">
              <a:lnSpc>
                <a:spcPct val="120000"/>
              </a:lnSpc>
              <a:defRPr/>
            </a:pPr>
            <a:r>
              <a:rPr lang="ko-KR" altLang="en-US" sz="1300" u="none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</a:rPr>
              <a:t>브랜드</a:t>
            </a:r>
            <a:endParaRPr lang="en-US" altLang="ko-KR" sz="1300" u="none" kern="0" dirty="0">
              <a:solidFill>
                <a:schemeClr val="tx1">
                  <a:lumMod val="95000"/>
                  <a:lumOff val="5000"/>
                </a:schemeClr>
              </a:solidFill>
              <a:latin typeface="맑은 고딕" pitchFamily="50" charset="-127"/>
            </a:endParaRPr>
          </a:p>
          <a:p>
            <a:pPr algn="ctr" defTabSz="914360">
              <a:lnSpc>
                <a:spcPct val="120000"/>
              </a:lnSpc>
              <a:defRPr/>
            </a:pPr>
            <a:r>
              <a:rPr lang="ko-KR" altLang="en-US" sz="1300" u="none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</a:rPr>
              <a:t>패키지</a:t>
            </a:r>
            <a:r>
              <a:rPr lang="en-US" altLang="ko-KR" sz="1300" u="none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맑은 고딕" pitchFamily="50" charset="-127"/>
              </a:rPr>
              <a:t>(*)</a:t>
            </a:r>
            <a:endParaRPr lang="en-US" altLang="ko-KR" sz="1300" u="none" kern="0" dirty="0">
              <a:solidFill>
                <a:schemeClr val="tx1">
                  <a:lumMod val="95000"/>
                  <a:lumOff val="5000"/>
                </a:schemeClr>
              </a:solidFill>
              <a:latin typeface="맑은 고딕" pitchFamily="50" charset="-127"/>
            </a:endParaRPr>
          </a:p>
        </p:txBody>
      </p:sp>
      <p:sp>
        <p:nvSpPr>
          <p:cNvPr id="282631" name="Line 25"/>
          <p:cNvSpPr>
            <a:spLocks noChangeShapeType="1"/>
          </p:cNvSpPr>
          <p:nvPr/>
        </p:nvSpPr>
        <p:spPr bwMode="auto">
          <a:xfrm>
            <a:off x="3088336" y="2559199"/>
            <a:ext cx="0" cy="2709589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ko-KR" altLang="en-US">
              <a:latin typeface="맑은 고딕" pitchFamily="50" charset="-127"/>
            </a:endParaRPr>
          </a:p>
        </p:txBody>
      </p:sp>
      <p:sp>
        <p:nvSpPr>
          <p:cNvPr id="282632" name="Line 27"/>
          <p:cNvSpPr>
            <a:spLocks noChangeShapeType="1"/>
          </p:cNvSpPr>
          <p:nvPr/>
        </p:nvSpPr>
        <p:spPr bwMode="auto">
          <a:xfrm>
            <a:off x="11588105" y="4698926"/>
            <a:ext cx="7256462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>
              <a:latin typeface="맑은 고딕" pitchFamily="50" charset="-127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1793024" y="2748508"/>
            <a:ext cx="1007280" cy="3635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50" indent="-95250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kumimoji="1" lang="en-US" altLang="ko-KR" sz="1600" u="none" dirty="0">
                <a:solidFill>
                  <a:srgbClr val="A50021"/>
                </a:solidFill>
                <a:latin typeface="맑은 고딕" pitchFamily="50" charset="-127"/>
              </a:rPr>
              <a:t>1</a:t>
            </a:r>
            <a:r>
              <a:rPr kumimoji="1" lang="ko-KR" altLang="en-US" u="none" spc="-50" dirty="0">
                <a:solidFill>
                  <a:srgbClr val="000000"/>
                </a:solidFill>
                <a:latin typeface="맑은 고딕" pitchFamily="50" charset="-127"/>
              </a:rPr>
              <a:t>개 </a:t>
            </a:r>
            <a:r>
              <a:rPr kumimoji="1" lang="ko-KR" altLang="en-US" u="none" spc="-50" dirty="0" smtClean="0">
                <a:solidFill>
                  <a:srgbClr val="000000"/>
                </a:solidFill>
                <a:latin typeface="맑은 고딕" pitchFamily="50" charset="-127"/>
              </a:rPr>
              <a:t>모형</a:t>
            </a:r>
            <a:endParaRPr kumimoji="1" lang="en-US" altLang="ko-KR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1792193" y="3335486"/>
            <a:ext cx="1008112" cy="330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50" indent="-95250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kumimoji="1" lang="ko-KR" altLang="en-US" u="none" spc="-50" dirty="0">
                <a:solidFill>
                  <a:srgbClr val="000000"/>
                </a:solidFill>
                <a:latin typeface="맑은 고딕" pitchFamily="50" charset="-127"/>
              </a:rPr>
              <a:t>월</a:t>
            </a:r>
            <a:endParaRPr kumimoji="1" lang="en-US" altLang="ko-KR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1688037" y="3956878"/>
            <a:ext cx="1629788" cy="5198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50" indent="-95250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kumimoji="1" lang="en-US" altLang="ko-KR" sz="1200" u="none" spc="-50" dirty="0">
                <a:solidFill>
                  <a:srgbClr val="000000"/>
                </a:solidFill>
                <a:latin typeface="맑은 고딕" pitchFamily="50" charset="-127"/>
              </a:rPr>
              <a:t>1 </a:t>
            </a:r>
            <a:r>
              <a:rPr kumimoji="1" lang="ko-KR" altLang="en-US" sz="1200" u="none" spc="-50" dirty="0">
                <a:solidFill>
                  <a:srgbClr val="000000"/>
                </a:solidFill>
                <a:latin typeface="맑은 고딕" pitchFamily="50" charset="-127"/>
              </a:rPr>
              <a:t>개월 예측</a:t>
            </a:r>
          </a:p>
          <a:p>
            <a:pPr marL="95250" indent="-95250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kumimoji="1" lang="ko-KR" altLang="en-US" sz="1200" u="none" spc="-50" dirty="0">
                <a:solidFill>
                  <a:srgbClr val="000000"/>
                </a:solidFill>
                <a:latin typeface="맑은 고딕" pitchFamily="50" charset="-127"/>
              </a:rPr>
              <a:t>판매량 요인 분석</a:t>
            </a:r>
            <a:endParaRPr kumimoji="1" lang="en-US" altLang="ko-KR" sz="1200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1688037" y="4728160"/>
            <a:ext cx="839997" cy="32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50" indent="-95250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kumimoji="1" lang="en-US" altLang="ko-KR" u="none" spc="-50" dirty="0" smtClean="0">
                <a:solidFill>
                  <a:srgbClr val="000000"/>
                </a:solidFill>
                <a:latin typeface="맑은 고딕" pitchFamily="50" charset="-127"/>
              </a:rPr>
              <a:t>96%</a:t>
            </a:r>
            <a:endParaRPr kumimoji="1" lang="en-US" altLang="ko-KR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3160344" y="2752006"/>
            <a:ext cx="1210671" cy="363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50" indent="-95250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kumimoji="1" lang="en-US" altLang="ko-KR" sz="1600" u="none" dirty="0">
                <a:solidFill>
                  <a:srgbClr val="A50021"/>
                </a:solidFill>
                <a:latin typeface="맑은 고딕" pitchFamily="50" charset="-127"/>
              </a:rPr>
              <a:t>20</a:t>
            </a:r>
            <a:r>
              <a:rPr kumimoji="1" lang="ko-KR" altLang="en-US" u="none" spc="-50" dirty="0">
                <a:solidFill>
                  <a:srgbClr val="000000"/>
                </a:solidFill>
                <a:latin typeface="맑은 고딕" pitchFamily="50" charset="-127"/>
              </a:rPr>
              <a:t>개 </a:t>
            </a:r>
            <a:r>
              <a:rPr kumimoji="1" lang="ko-KR" altLang="en-US" u="none" spc="-50" dirty="0" smtClean="0">
                <a:solidFill>
                  <a:srgbClr val="000000"/>
                </a:solidFill>
                <a:latin typeface="맑은 고딕" pitchFamily="50" charset="-127"/>
              </a:rPr>
              <a:t>모형</a:t>
            </a:r>
            <a:endParaRPr kumimoji="1" lang="en-US" altLang="ko-KR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3160344" y="3355999"/>
            <a:ext cx="922639" cy="3286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50" indent="-95250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kumimoji="1" lang="ko-KR" altLang="en-US" u="none" spc="-50" dirty="0">
                <a:solidFill>
                  <a:srgbClr val="000000"/>
                </a:solidFill>
                <a:latin typeface="맑은 고딕" pitchFamily="50" charset="-127"/>
              </a:rPr>
              <a:t>주</a:t>
            </a:r>
            <a:endParaRPr kumimoji="1" lang="en-US" altLang="ko-KR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22" name="직사각형 21"/>
          <p:cNvSpPr/>
          <p:nvPr/>
        </p:nvSpPr>
        <p:spPr>
          <a:xfrm>
            <a:off x="3088336" y="3956878"/>
            <a:ext cx="1655744" cy="5198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50" indent="-95250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kumimoji="1" lang="en-US" altLang="ko-KR" sz="1200" u="none" spc="-50" dirty="0">
                <a:solidFill>
                  <a:srgbClr val="000000"/>
                </a:solidFill>
                <a:latin typeface="맑은 고딕" pitchFamily="50" charset="-127"/>
              </a:rPr>
              <a:t>4 </a:t>
            </a:r>
            <a:r>
              <a:rPr kumimoji="1" lang="ko-KR" altLang="en-US" sz="1200" u="none" spc="-50" dirty="0">
                <a:solidFill>
                  <a:srgbClr val="000000"/>
                </a:solidFill>
                <a:latin typeface="맑은 고딕" pitchFamily="50" charset="-127"/>
              </a:rPr>
              <a:t>주 예측</a:t>
            </a:r>
          </a:p>
          <a:p>
            <a:pPr marL="95250" indent="-95250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kumimoji="1" lang="ko-KR" altLang="en-US" sz="1200" u="none" spc="-50" dirty="0">
                <a:solidFill>
                  <a:srgbClr val="000000"/>
                </a:solidFill>
                <a:latin typeface="맑은 고딕" pitchFamily="50" charset="-127"/>
              </a:rPr>
              <a:t>판매량 요인 분석</a:t>
            </a:r>
            <a:endParaRPr kumimoji="1" lang="en-US" altLang="ko-KR" sz="1200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24" name="Text Box 5"/>
          <p:cNvSpPr txBox="1">
            <a:spLocks noChangeArrowheads="1"/>
          </p:cNvSpPr>
          <p:nvPr/>
        </p:nvSpPr>
        <p:spPr bwMode="auto">
          <a:xfrm>
            <a:off x="1013870" y="3428133"/>
            <a:ext cx="462228" cy="19867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ctr" eaLnBrk="0" hangingPunct="0">
              <a:spcBef>
                <a:spcPct val="20000"/>
              </a:spcBef>
              <a:defRPr/>
            </a:pPr>
            <a:r>
              <a:rPr lang="ko-KR" altLang="en-US" sz="1300" u="none" dirty="0">
                <a:solidFill>
                  <a:srgbClr val="A50021"/>
                </a:solidFill>
                <a:latin typeface="맑은 고딕" pitchFamily="50" charset="-127"/>
              </a:rPr>
              <a:t>주기</a:t>
            </a:r>
            <a:endParaRPr lang="en-US" altLang="ko-KR" sz="1300" u="none" dirty="0">
              <a:solidFill>
                <a:srgbClr val="A50021"/>
              </a:solidFill>
              <a:latin typeface="맑은 고딕" pitchFamily="50" charset="-127"/>
            </a:endParaRPr>
          </a:p>
        </p:txBody>
      </p:sp>
      <p:sp>
        <p:nvSpPr>
          <p:cNvPr id="27" name="Text Box 5"/>
          <p:cNvSpPr txBox="1">
            <a:spLocks noChangeArrowheads="1"/>
          </p:cNvSpPr>
          <p:nvPr/>
        </p:nvSpPr>
        <p:spPr bwMode="auto">
          <a:xfrm>
            <a:off x="1013870" y="3976142"/>
            <a:ext cx="462228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ctr" eaLnBrk="0" hangingPunct="0">
              <a:spcBef>
                <a:spcPct val="20000"/>
              </a:spcBef>
              <a:defRPr/>
            </a:pPr>
            <a:r>
              <a:rPr lang="ko-KR" altLang="en-US" sz="1300" u="none" dirty="0">
                <a:solidFill>
                  <a:srgbClr val="A50021"/>
                </a:solidFill>
                <a:latin typeface="맑은 고딕" pitchFamily="50" charset="-127"/>
              </a:rPr>
              <a:t>제공정보</a:t>
            </a:r>
            <a:endParaRPr lang="en-US" altLang="ko-KR" sz="1300" u="none" dirty="0">
              <a:solidFill>
                <a:srgbClr val="A50021"/>
              </a:solidFill>
              <a:latin typeface="맑은 고딕" pitchFamily="50" charset="-127"/>
            </a:endParaRPr>
          </a:p>
        </p:txBody>
      </p:sp>
      <p:sp>
        <p:nvSpPr>
          <p:cNvPr id="30" name="Text Box 5"/>
          <p:cNvSpPr txBox="1">
            <a:spLocks noChangeArrowheads="1"/>
          </p:cNvSpPr>
          <p:nvPr/>
        </p:nvSpPr>
        <p:spPr bwMode="auto">
          <a:xfrm>
            <a:off x="895188" y="4728160"/>
            <a:ext cx="680980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ctr" eaLnBrk="0" hangingPunct="0">
              <a:defRPr/>
            </a:pPr>
            <a:r>
              <a:rPr lang="ko-KR" altLang="en-US" sz="1300" u="none" dirty="0" smtClean="0">
                <a:solidFill>
                  <a:srgbClr val="A50021"/>
                </a:solidFill>
                <a:latin typeface="맑은 고딕" pitchFamily="50" charset="-127"/>
              </a:rPr>
              <a:t>목표</a:t>
            </a:r>
            <a:r>
              <a:rPr lang="en-US" altLang="ko-KR" sz="1300" u="none" dirty="0" smtClean="0">
                <a:solidFill>
                  <a:srgbClr val="A50021"/>
                </a:solidFill>
                <a:latin typeface="맑은 고딕" pitchFamily="50" charset="-127"/>
              </a:rPr>
              <a:t> </a:t>
            </a:r>
            <a:r>
              <a:rPr lang="ko-KR" altLang="en-US" sz="1300" u="none" dirty="0">
                <a:solidFill>
                  <a:srgbClr val="A50021"/>
                </a:solidFill>
                <a:latin typeface="맑은 고딕" pitchFamily="50" charset="-127"/>
              </a:rPr>
              <a:t>정확도</a:t>
            </a:r>
          </a:p>
        </p:txBody>
      </p:sp>
      <p:sp>
        <p:nvSpPr>
          <p:cNvPr id="37" name="직사각형 36"/>
          <p:cNvSpPr/>
          <p:nvPr/>
        </p:nvSpPr>
        <p:spPr>
          <a:xfrm>
            <a:off x="3088336" y="4626243"/>
            <a:ext cx="1282679" cy="60483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marL="95250" indent="-95250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kumimoji="1" lang="en-US" altLang="ko-KR" u="none" spc="-50" dirty="0">
                <a:solidFill>
                  <a:srgbClr val="000000"/>
                </a:solidFill>
                <a:latin typeface="맑은 고딕" pitchFamily="50" charset="-127"/>
              </a:rPr>
              <a:t>95%</a:t>
            </a:r>
          </a:p>
          <a:p>
            <a:pPr marL="95250" indent="-95250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kumimoji="1" lang="en-US" altLang="ko-KR" u="none" spc="-50" dirty="0">
                <a:solidFill>
                  <a:srgbClr val="000000"/>
                </a:solidFill>
                <a:latin typeface="맑은 고딕" pitchFamily="50" charset="-127"/>
              </a:rPr>
              <a:t>16</a:t>
            </a:r>
            <a:r>
              <a:rPr kumimoji="1" lang="ko-KR" altLang="en-US" u="none" spc="-50" dirty="0">
                <a:solidFill>
                  <a:srgbClr val="000000"/>
                </a:solidFill>
                <a:latin typeface="맑은 고딕" pitchFamily="50" charset="-127"/>
              </a:rPr>
              <a:t>개 </a:t>
            </a:r>
            <a:r>
              <a:rPr kumimoji="1" lang="ko-KR" altLang="en-US" u="none" spc="-50" dirty="0" smtClean="0">
                <a:solidFill>
                  <a:srgbClr val="000000"/>
                </a:solidFill>
                <a:latin typeface="맑은 고딕" pitchFamily="50" charset="-127"/>
              </a:rPr>
              <a:t>모형</a:t>
            </a:r>
            <a:endParaRPr kumimoji="1" lang="en-US" altLang="ko-KR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grpSp>
        <p:nvGrpSpPr>
          <p:cNvPr id="282644" name="Group 15"/>
          <p:cNvGrpSpPr>
            <a:grpSpLocks/>
          </p:cNvGrpSpPr>
          <p:nvPr/>
        </p:nvGrpSpPr>
        <p:grpSpPr bwMode="auto">
          <a:xfrm>
            <a:off x="3869880" y="1196752"/>
            <a:ext cx="2451272" cy="246062"/>
            <a:chOff x="124" y="809"/>
            <a:chExt cx="817" cy="155"/>
          </a:xfrm>
        </p:grpSpPr>
        <p:sp>
          <p:nvSpPr>
            <p:cNvPr id="282652" name="Text Box 16"/>
            <p:cNvSpPr txBox="1">
              <a:spLocks noChangeArrowheads="1"/>
            </p:cNvSpPr>
            <p:nvPr/>
          </p:nvSpPr>
          <p:spPr bwMode="auto">
            <a:xfrm>
              <a:off x="179" y="809"/>
              <a:ext cx="762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400" b="1" u="sng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</a:defRPr>
              </a:lvl1pPr>
              <a:lvl2pPr marL="742950" indent="-285750" eaLnBrk="0" hangingPunct="0">
                <a:defRPr sz="1400" b="1" u="sng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</a:defRPr>
              </a:lvl2pPr>
              <a:lvl3pPr marL="1143000" indent="-228600" eaLnBrk="0" hangingPunct="0">
                <a:defRPr sz="1400" b="1" u="sng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</a:defRPr>
              </a:lvl3pPr>
              <a:lvl4pPr marL="1600200" indent="-228600" eaLnBrk="0" hangingPunct="0">
                <a:defRPr sz="1400" b="1" u="sng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</a:defRPr>
              </a:lvl4pPr>
              <a:lvl5pPr marL="2057400" indent="-228600" eaLnBrk="0" hangingPunct="0">
                <a:defRPr sz="1400" b="1" u="sng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 u="sng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 u="sng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 u="sng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 u="sng">
                  <a:solidFill>
                    <a:schemeClr val="tx1"/>
                  </a:solidFill>
                  <a:latin typeface="Calibri" pitchFamily="34" charset="0"/>
                  <a:ea typeface="맑은 고딕" pitchFamily="50" charset="-127"/>
                </a:defRPr>
              </a:lvl9pPr>
            </a:lstStyle>
            <a:p>
              <a:pPr>
                <a:spcBef>
                  <a:spcPct val="20000"/>
                </a:spcBef>
              </a:pPr>
              <a:r>
                <a:rPr lang="en-US" altLang="ko-KR" sz="1300" u="none" dirty="0">
                  <a:latin typeface="맑은 고딕" pitchFamily="50" charset="-127"/>
                </a:rPr>
                <a:t>21</a:t>
              </a:r>
              <a:r>
                <a:rPr lang="ko-KR" altLang="en-US" sz="1300" u="none" dirty="0">
                  <a:latin typeface="맑은 고딕" pitchFamily="50" charset="-127"/>
                </a:rPr>
                <a:t>개 수요예측 모형 구축</a:t>
              </a:r>
              <a:endParaRPr lang="en-US" altLang="ko-KR" sz="1300" u="none" dirty="0">
                <a:latin typeface="맑은 고딕" pitchFamily="50" charset="-127"/>
              </a:endParaRPr>
            </a:p>
          </p:txBody>
        </p:sp>
        <p:sp>
          <p:nvSpPr>
            <p:cNvPr id="282653" name="Line 17"/>
            <p:cNvSpPr>
              <a:spLocks noChangeShapeType="1"/>
            </p:cNvSpPr>
            <p:nvPr/>
          </p:nvSpPr>
          <p:spPr bwMode="auto">
            <a:xfrm>
              <a:off x="124" y="964"/>
              <a:ext cx="744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anchor="b"/>
            <a:lstStyle/>
            <a:p>
              <a:endParaRPr lang="ko-KR" altLang="en-US">
                <a:latin typeface="맑은 고딕" pitchFamily="50" charset="-127"/>
              </a:endParaRPr>
            </a:p>
          </p:txBody>
        </p:sp>
      </p:grpSp>
      <p:cxnSp>
        <p:nvCxnSpPr>
          <p:cNvPr id="43" name="직선 연결선 42"/>
          <p:cNvCxnSpPr/>
          <p:nvPr/>
        </p:nvCxnSpPr>
        <p:spPr bwMode="auto">
          <a:xfrm flipH="1">
            <a:off x="895188" y="3873279"/>
            <a:ext cx="3502857" cy="0"/>
          </a:xfrm>
          <a:prstGeom prst="line">
            <a:avLst/>
          </a:prstGeom>
          <a:solidFill>
            <a:srgbClr val="A3A3A3">
              <a:alpha val="2000"/>
            </a:srgb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282648" name="Rectangle 3"/>
          <p:cNvSpPr txBox="1">
            <a:spLocks noChangeArrowheads="1"/>
          </p:cNvSpPr>
          <p:nvPr/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 latinLnBrk="1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kumimoji="1" lang="ko-KR" altLang="en-US" sz="1600" u="none" dirty="0" smtClean="0">
                <a:latin typeface="맑은 고딕" pitchFamily="50" charset="-127"/>
              </a:rPr>
              <a:t>주</a:t>
            </a:r>
            <a:r>
              <a:rPr kumimoji="1" lang="en-US" altLang="ko-KR" sz="1600" u="none" dirty="0" smtClean="0">
                <a:latin typeface="맑은 고딕" pitchFamily="50" charset="-127"/>
              </a:rPr>
              <a:t>/</a:t>
            </a:r>
            <a:r>
              <a:rPr kumimoji="1" lang="ko-KR" altLang="en-US" sz="1600" u="none" dirty="0">
                <a:latin typeface="맑은 고딕" pitchFamily="50" charset="-127"/>
              </a:rPr>
              <a:t>월별 판매량 예측 정보를 제공하는 </a:t>
            </a:r>
            <a:r>
              <a:rPr kumimoji="1" lang="en-US" altLang="ko-KR" sz="1600" u="none" dirty="0">
                <a:latin typeface="맑은 고딕" pitchFamily="50" charset="-127"/>
              </a:rPr>
              <a:t>21</a:t>
            </a:r>
            <a:r>
              <a:rPr kumimoji="1" lang="ko-KR" altLang="en-US" sz="1600" u="none" dirty="0">
                <a:latin typeface="맑은 고딕" pitchFamily="50" charset="-127"/>
              </a:rPr>
              <a:t>개 수요예측 </a:t>
            </a:r>
            <a:r>
              <a:rPr kumimoji="1" lang="ko-KR" altLang="en-US" sz="1600" u="none" dirty="0" smtClean="0">
                <a:latin typeface="맑은 고딕" pitchFamily="50" charset="-127"/>
              </a:rPr>
              <a:t>모형 구축</a:t>
            </a:r>
            <a:endParaRPr kumimoji="1" lang="en-US" altLang="ko-KR" sz="1600" u="none" dirty="0">
              <a:latin typeface="맑은 고딕" pitchFamily="50" charset="-127"/>
            </a:endParaRPr>
          </a:p>
        </p:txBody>
      </p:sp>
      <p:sp>
        <p:nvSpPr>
          <p:cNvPr id="38" name="실행 단추: 앞으로 또는 다음 37">
            <a:hlinkClick r:id="rId2" action="ppaction://hlinksldjump" highlightClick="1"/>
          </p:cNvPr>
          <p:cNvSpPr/>
          <p:nvPr/>
        </p:nvSpPr>
        <p:spPr bwMode="auto">
          <a:xfrm>
            <a:off x="2288704" y="242672"/>
            <a:ext cx="231786" cy="234000"/>
          </a:xfrm>
          <a:prstGeom prst="actionButtonForwardNext">
            <a:avLst/>
          </a:prstGeom>
          <a:solidFill>
            <a:sysClr val="window" lastClr="FFFFFF"/>
          </a:solidFill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36000" rIns="90000" bIns="3600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ko-KR" altLang="en-US" sz="1300" b="0" u="none" kern="0" dirty="0" smtClean="0">
              <a:solidFill>
                <a:sysClr val="windowText" lastClr="000000"/>
              </a:solidFill>
              <a:latin typeface="맑은 고딕" pitchFamily="50" charset="-127"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454188" y="5331246"/>
            <a:ext cx="3281780" cy="8233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spcBef>
                <a:spcPts val="300"/>
              </a:spcBef>
              <a:buClr>
                <a:srgbClr val="000000"/>
              </a:buClr>
              <a:buFont typeface="Arial" pitchFamily="34" charset="0"/>
              <a:buChar char="•"/>
              <a:defRPr/>
            </a:pPr>
            <a:r>
              <a:rPr kumimoji="1" lang="ko-KR" altLang="en-US" sz="1000" u="none" spc="-50" dirty="0" smtClean="0">
                <a:solidFill>
                  <a:srgbClr val="000000"/>
                </a:solidFill>
                <a:latin typeface="맑은 고딕" pitchFamily="50" charset="-127"/>
              </a:rPr>
              <a:t>판매량 요인 분석 </a:t>
            </a:r>
            <a:endParaRPr kumimoji="1" lang="en-US" altLang="ko-KR" sz="1000" u="none" spc="-50" dirty="0" smtClean="0">
              <a:solidFill>
                <a:srgbClr val="000000"/>
              </a:solidFill>
              <a:latin typeface="맑은 고딕" pitchFamily="50" charset="-127"/>
            </a:endParaRPr>
          </a:p>
          <a:p>
            <a:pPr marL="228600" indent="-228600">
              <a:spcBef>
                <a:spcPts val="300"/>
              </a:spcBef>
              <a:buClr>
                <a:srgbClr val="000000"/>
              </a:buClr>
              <a:buFont typeface="+mj-lt"/>
              <a:buAutoNum type="arabicParenR"/>
              <a:defRPr/>
            </a:pPr>
            <a:r>
              <a:rPr kumimoji="1" lang="ko-KR" altLang="en-US" sz="1000" u="none" spc="-50" dirty="0" err="1" smtClean="0">
                <a:solidFill>
                  <a:srgbClr val="000000"/>
                </a:solidFill>
                <a:latin typeface="맑은 고딕" pitchFamily="50" charset="-127"/>
              </a:rPr>
              <a:t>회귀식에</a:t>
            </a:r>
            <a:r>
              <a:rPr kumimoji="1" lang="ko-KR" altLang="en-US" sz="1000" u="none" spc="-50" dirty="0" smtClean="0">
                <a:solidFill>
                  <a:srgbClr val="000000"/>
                </a:solidFill>
                <a:latin typeface="맑은 고딕" pitchFamily="50" charset="-127"/>
              </a:rPr>
              <a:t> 사용된 변수</a:t>
            </a:r>
            <a:endParaRPr kumimoji="1" lang="en-US" altLang="ko-KR" sz="1000" u="none" spc="-50" dirty="0" smtClean="0">
              <a:solidFill>
                <a:srgbClr val="000000"/>
              </a:solidFill>
              <a:latin typeface="맑은 고딕" pitchFamily="50" charset="-127"/>
            </a:endParaRPr>
          </a:p>
          <a:p>
            <a:pPr marL="228600" indent="-228600">
              <a:spcBef>
                <a:spcPts val="300"/>
              </a:spcBef>
              <a:buClr>
                <a:srgbClr val="000000"/>
              </a:buClr>
              <a:buFont typeface="+mj-lt"/>
              <a:buAutoNum type="arabicParenR"/>
              <a:defRPr/>
            </a:pPr>
            <a:r>
              <a:rPr kumimoji="1" lang="ko-KR" altLang="en-US" sz="1000" u="none" spc="-50" dirty="0" err="1" smtClean="0">
                <a:solidFill>
                  <a:srgbClr val="000000"/>
                </a:solidFill>
                <a:latin typeface="맑은 고딕" pitchFamily="50" charset="-127"/>
              </a:rPr>
              <a:t>회귀식</a:t>
            </a:r>
            <a:r>
              <a:rPr kumimoji="1" lang="ko-KR" altLang="en-US" sz="1000" u="none" spc="-50" dirty="0" smtClean="0">
                <a:solidFill>
                  <a:srgbClr val="000000"/>
                </a:solidFill>
                <a:latin typeface="맑은 고딕" pitchFamily="50" charset="-127"/>
              </a:rPr>
              <a:t> 변수의 계수</a:t>
            </a:r>
            <a:endParaRPr kumimoji="1" lang="en-US" altLang="ko-KR" sz="1000" u="none" spc="-50" dirty="0" smtClean="0">
              <a:solidFill>
                <a:srgbClr val="000000"/>
              </a:solidFill>
              <a:latin typeface="맑은 고딕" pitchFamily="50" charset="-127"/>
            </a:endParaRPr>
          </a:p>
          <a:p>
            <a:pPr marL="228600" indent="-228600">
              <a:spcBef>
                <a:spcPts val="300"/>
              </a:spcBef>
              <a:buClr>
                <a:srgbClr val="000000"/>
              </a:buClr>
              <a:buFont typeface="+mj-lt"/>
              <a:buAutoNum type="arabicParenR"/>
              <a:defRPr/>
            </a:pPr>
            <a:r>
              <a:rPr kumimoji="1" lang="ko-KR" altLang="en-US" sz="1000" u="none" spc="-50" dirty="0" err="1" smtClean="0">
                <a:solidFill>
                  <a:srgbClr val="000000"/>
                </a:solidFill>
                <a:latin typeface="맑은 고딕" pitchFamily="50" charset="-127"/>
              </a:rPr>
              <a:t>회귀식</a:t>
            </a:r>
            <a:r>
              <a:rPr kumimoji="1" lang="ko-KR" altLang="en-US" sz="1000" u="none" spc="-50" dirty="0" smtClean="0">
                <a:solidFill>
                  <a:srgbClr val="000000"/>
                </a:solidFill>
                <a:latin typeface="맑은 고딕" pitchFamily="50" charset="-127"/>
              </a:rPr>
              <a:t> 변수와 계수의 곱해진 변수 별 판매량</a:t>
            </a:r>
            <a:endParaRPr kumimoji="1" lang="ko-KR" altLang="en-US" sz="1000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cxnSp>
        <p:nvCxnSpPr>
          <p:cNvPr id="60" name="직선 연결선 59"/>
          <p:cNvCxnSpPr/>
          <p:nvPr/>
        </p:nvCxnSpPr>
        <p:spPr bwMode="auto">
          <a:xfrm flipH="1">
            <a:off x="895188" y="3184054"/>
            <a:ext cx="3502857" cy="0"/>
          </a:xfrm>
          <a:prstGeom prst="line">
            <a:avLst/>
          </a:prstGeom>
          <a:solidFill>
            <a:srgbClr val="A3A3A3">
              <a:alpha val="2000"/>
            </a:srgb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1" name="직선 연결선 60"/>
          <p:cNvCxnSpPr/>
          <p:nvPr/>
        </p:nvCxnSpPr>
        <p:spPr bwMode="auto">
          <a:xfrm flipH="1">
            <a:off x="895188" y="4562504"/>
            <a:ext cx="3502857" cy="0"/>
          </a:xfrm>
          <a:prstGeom prst="line">
            <a:avLst/>
          </a:prstGeom>
          <a:solidFill>
            <a:srgbClr val="A3A3A3">
              <a:alpha val="2000"/>
            </a:srgb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2" name="직선 연결선 61"/>
          <p:cNvCxnSpPr/>
          <p:nvPr/>
        </p:nvCxnSpPr>
        <p:spPr bwMode="auto">
          <a:xfrm flipH="1">
            <a:off x="895188" y="5268788"/>
            <a:ext cx="3502857" cy="0"/>
          </a:xfrm>
          <a:prstGeom prst="line">
            <a:avLst/>
          </a:prstGeom>
          <a:solidFill>
            <a:srgbClr val="A3A3A3">
              <a:alpha val="2000"/>
            </a:srgb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63" name="Line 25"/>
          <p:cNvSpPr>
            <a:spLocks noChangeShapeType="1"/>
          </p:cNvSpPr>
          <p:nvPr/>
        </p:nvSpPr>
        <p:spPr bwMode="auto">
          <a:xfrm>
            <a:off x="1688037" y="2559199"/>
            <a:ext cx="0" cy="270022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ko-KR" altLang="en-US">
              <a:latin typeface="맑은 고딕" pitchFamily="50" charset="-127"/>
            </a:endParaRPr>
          </a:p>
        </p:txBody>
      </p:sp>
      <p:cxnSp>
        <p:nvCxnSpPr>
          <p:cNvPr id="64" name="직선 연결선 63"/>
          <p:cNvCxnSpPr/>
          <p:nvPr/>
        </p:nvCxnSpPr>
        <p:spPr bwMode="auto">
          <a:xfrm flipH="1">
            <a:off x="895188" y="2559199"/>
            <a:ext cx="3502857" cy="0"/>
          </a:xfrm>
          <a:prstGeom prst="line">
            <a:avLst/>
          </a:prstGeom>
          <a:solidFill>
            <a:srgbClr val="A3A3A3">
              <a:alpha val="2000"/>
            </a:srgb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66" name="표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82614324"/>
              </p:ext>
            </p:extLst>
          </p:nvPr>
        </p:nvGraphicFramePr>
        <p:xfrm>
          <a:off x="5108453" y="2388961"/>
          <a:ext cx="4093019" cy="2870277"/>
        </p:xfrm>
        <a:graphic>
          <a:graphicData uri="http://schemas.openxmlformats.org/drawingml/2006/table">
            <a:tbl>
              <a:tblPr/>
              <a:tblGrid>
                <a:gridCol w="1068683"/>
                <a:gridCol w="756084"/>
                <a:gridCol w="756084"/>
                <a:gridCol w="756084"/>
                <a:gridCol w="756084"/>
              </a:tblGrid>
              <a:tr h="43204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</a:pPr>
                      <a:endParaRPr kumimoji="1" lang="en-US" altLang="ko-KR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</a:pPr>
                      <a:r>
                        <a:rPr kumimoji="1" lang="en-US" altLang="ko-KR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맑은 고딕" pitchFamily="50" charset="-127"/>
                          <a:cs typeface="Arial" charset="0"/>
                        </a:rPr>
                        <a:t>Bottle</a:t>
                      </a: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</a:pPr>
                      <a:r>
                        <a:rPr kumimoji="1" lang="en-US" altLang="ko-KR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맑은 고딕" pitchFamily="50" charset="-127"/>
                          <a:cs typeface="Arial" charset="0"/>
                        </a:rPr>
                        <a:t>Can</a:t>
                      </a: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</a:pPr>
                      <a:r>
                        <a:rPr kumimoji="1" lang="en-US" altLang="ko-KR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맑은 고딕" pitchFamily="50" charset="-127"/>
                          <a:cs typeface="Arial" charset="0"/>
                        </a:rPr>
                        <a:t>Keg</a:t>
                      </a: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</a:pPr>
                      <a:r>
                        <a:rPr kumimoji="1" lang="en-US" altLang="ko-KR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맑은 고딕" pitchFamily="50" charset="-127"/>
                          <a:cs typeface="Arial" charset="0"/>
                        </a:rPr>
                        <a:t>PET</a:t>
                      </a: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94019">
                <a:tc>
                  <a:txBody>
                    <a:bodyPr/>
                    <a:lstStyle/>
                    <a:p>
                      <a:pPr marL="180975" marR="0" lvl="0" indent="-180975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</a:pPr>
                      <a:r>
                        <a:rPr kumimoji="1" lang="en-US" altLang="ko-KR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맑은 고딕" pitchFamily="50" charset="-127"/>
                          <a:cs typeface="Arial" charset="0"/>
                        </a:rPr>
                        <a:t>Cass</a:t>
                      </a: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맑은 고딕" pitchFamily="50" charset="-127"/>
                          <a:cs typeface="Arial" charset="0"/>
                        </a:rPr>
                        <a:t>⃝</a:t>
                      </a: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맑은 고딕" pitchFamily="50" charset="-127"/>
                          <a:cs typeface="Arial" charset="0"/>
                        </a:rPr>
                        <a:t>⃝</a:t>
                      </a: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맑은 고딕" pitchFamily="50" charset="-127"/>
                          <a:cs typeface="Arial" charset="0"/>
                        </a:rPr>
                        <a:t>⃝</a:t>
                      </a: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맑은 고딕" pitchFamily="50" charset="-127"/>
                          <a:cs typeface="Arial" charset="0"/>
                        </a:rPr>
                        <a:t>⃝</a:t>
                      </a: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4019">
                <a:tc>
                  <a:txBody>
                    <a:bodyPr/>
                    <a:lstStyle/>
                    <a:p>
                      <a:pPr marL="180975" marR="0" lvl="0" indent="-180975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</a:pPr>
                      <a:r>
                        <a:rPr kumimoji="1" lang="en-US" altLang="ko-KR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맑은 고딕" pitchFamily="50" charset="-127"/>
                          <a:cs typeface="Arial" charset="0"/>
                        </a:rPr>
                        <a:t>OB</a:t>
                      </a: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  <a:cs typeface="Arial" charset="0"/>
                        </a:rPr>
                        <a:t>△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  <a:cs typeface="Arial" charset="0"/>
                        </a:rPr>
                        <a:t>△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  <a:cs typeface="Arial" charset="0"/>
                        </a:rPr>
                        <a:t>△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  <a:cs typeface="Arial" charset="0"/>
                        </a:rPr>
                        <a:t>△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4019">
                <a:tc>
                  <a:txBody>
                    <a:bodyPr/>
                    <a:lstStyle/>
                    <a:p>
                      <a:pPr marL="180975" marR="0" lvl="0" indent="-180975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</a:pPr>
                      <a:r>
                        <a:rPr kumimoji="1" lang="en-US" altLang="ko-KR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맑은 고딕" pitchFamily="50" charset="-127"/>
                          <a:cs typeface="Arial" charset="0"/>
                        </a:rPr>
                        <a:t>Cass </a:t>
                      </a:r>
                    </a:p>
                    <a:p>
                      <a:pPr marL="180975" marR="0" lvl="0" indent="-180975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</a:pPr>
                      <a:r>
                        <a:rPr kumimoji="1" lang="en-US" altLang="ko-KR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맑은 고딕" pitchFamily="50" charset="-127"/>
                          <a:cs typeface="Arial" charset="0"/>
                        </a:rPr>
                        <a:t>Light</a:t>
                      </a: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맑은 고딕" pitchFamily="50" charset="-127"/>
                          <a:cs typeface="Arial" charset="0"/>
                        </a:rPr>
                        <a:t>X</a:t>
                      </a: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맑은 고딕" pitchFamily="50" charset="-127"/>
                          <a:cs typeface="Arial" charset="0"/>
                        </a:rPr>
                        <a:t>⃝</a:t>
                      </a: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맑은 고딕" pitchFamily="50" charset="-127"/>
                          <a:cs typeface="Arial" charset="0"/>
                        </a:rPr>
                        <a:t>N/A</a:t>
                      </a: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맑은 고딕" pitchFamily="50" charset="-127"/>
                          <a:cs typeface="Arial" charset="0"/>
                        </a:rPr>
                        <a:t>⃝</a:t>
                      </a: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4019">
                <a:tc>
                  <a:txBody>
                    <a:bodyPr/>
                    <a:lstStyle/>
                    <a:p>
                      <a:pPr marL="180975" marR="0" lvl="0" indent="-180975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</a:pPr>
                      <a:r>
                        <a:rPr kumimoji="1" lang="en-US" altLang="ko-KR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맑은 고딕" pitchFamily="50" charset="-127"/>
                          <a:cs typeface="Arial" charset="0"/>
                        </a:rPr>
                        <a:t>Cafri</a:t>
                      </a:r>
                      <a:endParaRPr kumimoji="1" lang="en-US" altLang="ko-KR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  <a:cs typeface="Arial" charset="0"/>
                        </a:rPr>
                        <a:t>△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  <a:cs typeface="Arial" charset="0"/>
                        </a:rPr>
                        <a:t>△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  <a:cs typeface="Arial" charset="0"/>
                        </a:rPr>
                        <a:t>X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맑은 고딕" pitchFamily="50" charset="-127"/>
                          <a:cs typeface="Arial" charset="0"/>
                        </a:rPr>
                        <a:t>X</a:t>
                      </a: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4019">
                <a:tc>
                  <a:txBody>
                    <a:bodyPr/>
                    <a:lstStyle/>
                    <a:p>
                      <a:pPr marL="180975" marR="0" lvl="0" indent="-180975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</a:pPr>
                      <a:r>
                        <a:rPr kumimoji="1" lang="en-US" altLang="ko-KR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맑은 고딕" pitchFamily="50" charset="-127"/>
                          <a:cs typeface="Arial" charset="0"/>
                        </a:rPr>
                        <a:t>Budweiser</a:t>
                      </a: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  <a:cs typeface="Arial" charset="0"/>
                        </a:rPr>
                        <a:t>△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  <a:cs typeface="Arial" charset="0"/>
                        </a:rPr>
                        <a:t>△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맑은 고딕" pitchFamily="50" charset="-127"/>
                          <a:cs typeface="Arial" charset="0"/>
                        </a:rPr>
                        <a:t>N/A</a:t>
                      </a: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맑은 고딕" pitchFamily="50" charset="-127"/>
                          <a:cs typeface="Arial" charset="0"/>
                        </a:rPr>
                        <a:t>N/A</a:t>
                      </a: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4019">
                <a:tc>
                  <a:txBody>
                    <a:bodyPr/>
                    <a:lstStyle/>
                    <a:p>
                      <a:pPr marL="180975" marR="0" lvl="0" indent="-180975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</a:pPr>
                      <a:r>
                        <a:rPr kumimoji="1" lang="en-US" altLang="ko-KR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맑은 고딕" pitchFamily="50" charset="-127"/>
                          <a:cs typeface="Arial" charset="0"/>
                        </a:rPr>
                        <a:t>Hoegaarden</a:t>
                      </a:r>
                      <a:endParaRPr kumimoji="1" lang="en-US" altLang="ko-KR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  <a:cs typeface="Arial" charset="0"/>
                        </a:rPr>
                        <a:t>△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/>
                          <a:ea typeface="맑은 고딕"/>
                          <a:cs typeface="Arial" charset="0"/>
                        </a:rPr>
                        <a:t>△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맑은 고딕" pitchFamily="50" charset="-127"/>
                        <a:cs typeface="Arial" charset="0"/>
                      </a:endParaRP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맑은 고딕" pitchFamily="50" charset="-127"/>
                          <a:cs typeface="Arial" charset="0"/>
                        </a:rPr>
                        <a:t>N/A</a:t>
                      </a: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90000"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맑은 고딕" pitchFamily="50" charset="-127"/>
                          <a:cs typeface="Arial" charset="0"/>
                        </a:rPr>
                        <a:t>N/A</a:t>
                      </a:r>
                    </a:p>
                  </a:txBody>
                  <a:tcPr marL="72003" marR="72003" marT="35947" marB="35947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7" name="직사각형 66"/>
          <p:cNvSpPr/>
          <p:nvPr/>
        </p:nvSpPr>
        <p:spPr>
          <a:xfrm>
            <a:off x="5108453" y="1822652"/>
            <a:ext cx="4093019" cy="5663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lnSpc>
                <a:spcPct val="110000"/>
              </a:lnSpc>
              <a:spcBef>
                <a:spcPts val="300"/>
              </a:spcBef>
              <a:buClr>
                <a:srgbClr val="000000"/>
              </a:buClr>
              <a:buFont typeface="Arial" pitchFamily="34" charset="0"/>
              <a:buChar char="•"/>
              <a:defRPr/>
            </a:pPr>
            <a:r>
              <a:rPr kumimoji="1" lang="ko-KR" altLang="en-US" u="none" spc="-50" dirty="0">
                <a:solidFill>
                  <a:srgbClr val="000000"/>
                </a:solidFill>
                <a:latin typeface="맑은 고딕" pitchFamily="50" charset="-127"/>
              </a:rPr>
              <a:t>판매량 예측 대상 </a:t>
            </a:r>
            <a:r>
              <a:rPr kumimoji="1" lang="en-US" altLang="ko-KR" u="none" spc="-50" dirty="0" smtClean="0">
                <a:solidFill>
                  <a:srgbClr val="000000"/>
                </a:solidFill>
                <a:latin typeface="맑은 고딕" pitchFamily="50" charset="-127"/>
              </a:rPr>
              <a:t>20</a:t>
            </a:r>
            <a:r>
              <a:rPr kumimoji="1" lang="ko-KR" altLang="en-US" u="none" spc="-50" dirty="0">
                <a:solidFill>
                  <a:srgbClr val="000000"/>
                </a:solidFill>
                <a:latin typeface="맑은 고딕" pitchFamily="50" charset="-127"/>
              </a:rPr>
              <a:t>개 </a:t>
            </a:r>
            <a:r>
              <a:rPr kumimoji="1" lang="ko-KR" altLang="en-US" u="none" spc="-50" dirty="0" smtClean="0">
                <a:solidFill>
                  <a:srgbClr val="000000"/>
                </a:solidFill>
                <a:latin typeface="맑은 고딕" pitchFamily="50" charset="-127"/>
              </a:rPr>
              <a:t>모형 중 측정 대상은 </a:t>
            </a:r>
            <a:r>
              <a:rPr kumimoji="1" lang="en-US" altLang="ko-KR" u="none" spc="-50" dirty="0" smtClean="0">
                <a:solidFill>
                  <a:srgbClr val="000000"/>
                </a:solidFill>
                <a:latin typeface="맑은 고딕" pitchFamily="50" charset="-127"/>
              </a:rPr>
              <a:t>16</a:t>
            </a:r>
            <a:r>
              <a:rPr kumimoji="1" lang="ko-KR" altLang="en-US" u="none" spc="-50" dirty="0" smtClean="0">
                <a:solidFill>
                  <a:srgbClr val="000000"/>
                </a:solidFill>
                <a:latin typeface="맑은 고딕" pitchFamily="50" charset="-127"/>
              </a:rPr>
              <a:t>개 모형 보정 대상은 </a:t>
            </a:r>
            <a:r>
              <a:rPr kumimoji="1" lang="en-US" altLang="ko-KR" u="none" spc="-50" dirty="0" smtClean="0">
                <a:solidFill>
                  <a:srgbClr val="000000"/>
                </a:solidFill>
                <a:latin typeface="맑은 고딕" pitchFamily="50" charset="-127"/>
              </a:rPr>
              <a:t>6</a:t>
            </a:r>
            <a:r>
              <a:rPr kumimoji="1" lang="ko-KR" altLang="en-US" u="none" spc="-50" dirty="0" smtClean="0">
                <a:solidFill>
                  <a:srgbClr val="000000"/>
                </a:solidFill>
                <a:latin typeface="맑은 고딕" pitchFamily="50" charset="-127"/>
              </a:rPr>
              <a:t>개</a:t>
            </a:r>
            <a:endParaRPr kumimoji="1" lang="en-US" altLang="ko-KR" u="none" spc="-50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69" name="TextBox 19"/>
          <p:cNvSpPr txBox="1">
            <a:spLocks noChangeArrowheads="1"/>
          </p:cNvSpPr>
          <p:nvPr/>
        </p:nvSpPr>
        <p:spPr bwMode="auto">
          <a:xfrm>
            <a:off x="5079777" y="5787136"/>
            <a:ext cx="249619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 lvl="0" eaLnBrk="1" hangingPunct="1"/>
            <a:r>
              <a:rPr kumimoji="1" lang="en-US" altLang="ko-KR" sz="1000" b="0" u="none" dirty="0" smtClean="0">
                <a:solidFill>
                  <a:srgbClr val="000000"/>
                </a:solidFill>
                <a:cs typeface="Arial" charset="0"/>
              </a:rPr>
              <a:t>⃝ </a:t>
            </a:r>
            <a:r>
              <a:rPr lang="en-US" altLang="ko-KR" sz="1000" b="0" u="none" dirty="0" smtClean="0">
                <a:latin typeface="맑은 고딕" pitchFamily="50" charset="-127"/>
              </a:rPr>
              <a:t> </a:t>
            </a:r>
            <a:r>
              <a:rPr lang="ko-KR" altLang="en-US" sz="1000" b="0" u="none" dirty="0" smtClean="0">
                <a:latin typeface="맑은 고딕" pitchFamily="50" charset="-127"/>
              </a:rPr>
              <a:t>정확도 측정 대상 및 모형 보정 대상 </a:t>
            </a:r>
            <a:endParaRPr lang="ko-KR" altLang="en-US" sz="1000" b="0" u="none" dirty="0">
              <a:latin typeface="맑은 고딕" pitchFamily="50" charset="-127"/>
            </a:endParaRPr>
          </a:p>
        </p:txBody>
      </p:sp>
      <p:sp>
        <p:nvSpPr>
          <p:cNvPr id="71" name="TextBox 19"/>
          <p:cNvSpPr txBox="1">
            <a:spLocks noChangeArrowheads="1"/>
          </p:cNvSpPr>
          <p:nvPr/>
        </p:nvSpPr>
        <p:spPr bwMode="auto">
          <a:xfrm>
            <a:off x="5097016" y="5560727"/>
            <a:ext cx="259228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 lvl="0" eaLnBrk="1" hangingPunct="1"/>
            <a:r>
              <a:rPr kumimoji="1" lang="en-US" altLang="ko-KR" sz="1000" b="0" u="none" dirty="0" smtClean="0">
                <a:solidFill>
                  <a:srgbClr val="000000"/>
                </a:solidFill>
                <a:latin typeface="맑은 고딕"/>
                <a:ea typeface="맑은 고딕"/>
                <a:cs typeface="Arial" charset="0"/>
              </a:rPr>
              <a:t>△</a:t>
            </a:r>
            <a:r>
              <a:rPr kumimoji="1" lang="en-US" altLang="ko-KR" sz="1000" b="0" u="none" dirty="0" smtClean="0">
                <a:solidFill>
                  <a:srgbClr val="000000"/>
                </a:solidFill>
                <a:cs typeface="Arial" charset="0"/>
              </a:rPr>
              <a:t>  </a:t>
            </a:r>
            <a:r>
              <a:rPr kumimoji="1" lang="ko-KR" altLang="en-US" sz="1000" b="0" u="none" dirty="0" smtClean="0">
                <a:solidFill>
                  <a:srgbClr val="000000"/>
                </a:solidFill>
                <a:cs typeface="Arial" charset="0"/>
              </a:rPr>
              <a:t>정확도 </a:t>
            </a:r>
            <a:r>
              <a:rPr lang="ko-KR" altLang="en-US" sz="1000" b="0" u="none" dirty="0" smtClean="0">
                <a:latin typeface="맑은 고딕" pitchFamily="50" charset="-127"/>
              </a:rPr>
              <a:t>측정 </a:t>
            </a:r>
            <a:r>
              <a:rPr lang="ko-KR" altLang="en-US" sz="1000" b="0" u="none" dirty="0">
                <a:latin typeface="맑은 고딕" pitchFamily="50" charset="-127"/>
              </a:rPr>
              <a:t>대상</a:t>
            </a:r>
          </a:p>
        </p:txBody>
      </p:sp>
      <p:sp>
        <p:nvSpPr>
          <p:cNvPr id="72" name="TextBox 19"/>
          <p:cNvSpPr txBox="1">
            <a:spLocks noChangeArrowheads="1"/>
          </p:cNvSpPr>
          <p:nvPr/>
        </p:nvSpPr>
        <p:spPr bwMode="auto">
          <a:xfrm>
            <a:off x="5117880" y="5334318"/>
            <a:ext cx="150435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 lvl="0" eaLnBrk="1" hangingPunct="1"/>
            <a:r>
              <a:rPr kumimoji="1" lang="en-US" altLang="ko-KR" sz="1000" b="0" u="none" dirty="0" smtClean="0">
                <a:solidFill>
                  <a:srgbClr val="000000"/>
                </a:solidFill>
                <a:cs typeface="Arial" charset="0"/>
              </a:rPr>
              <a:t>X   </a:t>
            </a:r>
            <a:r>
              <a:rPr lang="ko-KR" altLang="en-US" sz="1000" b="0" u="none" dirty="0" smtClean="0">
                <a:latin typeface="맑은 고딕" pitchFamily="50" charset="-127"/>
              </a:rPr>
              <a:t>예측 대상</a:t>
            </a:r>
            <a:endParaRPr lang="ko-KR" altLang="en-US" sz="1000" b="0" u="none" dirty="0">
              <a:latin typeface="맑은 고딕" pitchFamily="50" charset="-127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표 4"/>
          <p:cNvGraphicFramePr>
            <a:graphicFrameLocks noGrp="1"/>
          </p:cNvGraphicFramePr>
          <p:nvPr/>
        </p:nvGraphicFramePr>
        <p:xfrm>
          <a:off x="704528" y="1847944"/>
          <a:ext cx="2064481" cy="4317553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840345"/>
                <a:gridCol w="1224136"/>
              </a:tblGrid>
              <a:tr h="345901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1pPr>
                      <a:lvl2pPr marL="478822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2pPr>
                      <a:lvl3pPr marL="957644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3pPr>
                      <a:lvl4pPr marL="1436465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4pPr>
                      <a:lvl5pPr marL="1915286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5pPr>
                      <a:lvl6pPr marL="2394107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6pPr>
                      <a:lvl7pPr marL="2872929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7pPr>
                      <a:lvl8pPr marL="3351750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8pPr>
                      <a:lvl9pPr marL="3830572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1400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계절</a:t>
                      </a:r>
                      <a:r>
                        <a:rPr lang="en-US" altLang="ko-KR" sz="1400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lang="ko-KR" altLang="en-US" sz="1400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</a:t>
                      </a:r>
                      <a:r>
                        <a:rPr lang="en-US" altLang="ko-KR" sz="1400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ko-KR" altLang="en-US" sz="1400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  <a:alpha val="80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1400" b="1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판매량</a:t>
                      </a:r>
                      <a:endParaRPr lang="ko-KR" altLang="en-US" sz="1400" b="1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  <a:alpha val="80000"/>
                      </a:sysClr>
                    </a:solidFill>
                  </a:tcPr>
                </a:tc>
              </a:tr>
              <a:tr h="330971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1pPr>
                      <a:lvl2pPr marL="47882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2pPr>
                      <a:lvl3pPr marL="957644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3pPr>
                      <a:lvl4pPr marL="1436465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4pPr>
                      <a:lvl5pPr marL="1915286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5pPr>
                      <a:lvl6pPr marL="2394107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6pPr>
                      <a:lvl7pPr marL="2872929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7pPr>
                      <a:lvl8pPr marL="335175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8pPr>
                      <a:lvl9pPr marL="383057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marL="0" marR="0" lvl="0" indent="-82550" algn="ctr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1</a:t>
                      </a:r>
                      <a:r>
                        <a:rPr lang="ko-KR" altLang="en-US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월</a:t>
                      </a:r>
                      <a:endParaRPr lang="en-US" altLang="ko-KR" sz="1100" b="0" kern="0" spc="0" noProof="0" dirty="0" smtClean="0">
                        <a:solidFill>
                          <a:sysClr val="windowText" lastClr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30971">
                <a:tc>
                  <a:txBody>
                    <a:bodyPr/>
                    <a:lstStyle/>
                    <a:p>
                      <a:pPr marL="0" marR="0" lvl="0" indent="-82550" algn="ctr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</a:t>
                      </a:r>
                      <a:r>
                        <a:rPr lang="ko-KR" altLang="en-US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월</a:t>
                      </a:r>
                      <a:endParaRPr lang="en-US" altLang="ko-KR" sz="1100" b="0" kern="0" spc="0" noProof="0" dirty="0" smtClean="0">
                        <a:solidFill>
                          <a:sysClr val="windowText" lastClr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30971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1pPr>
                      <a:lvl2pPr marL="47882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2pPr>
                      <a:lvl3pPr marL="957644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3pPr>
                      <a:lvl4pPr marL="1436465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4pPr>
                      <a:lvl5pPr marL="1915286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5pPr>
                      <a:lvl6pPr marL="2394107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6pPr>
                      <a:lvl7pPr marL="2872929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7pPr>
                      <a:lvl8pPr marL="335175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8pPr>
                      <a:lvl9pPr marL="383057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marL="82550" indent="-82550" algn="ctr" latinLnBrk="0">
                        <a:buFont typeface="Arial" pitchFamily="34" charset="0"/>
                        <a:buNone/>
                      </a:pPr>
                      <a:r>
                        <a:rPr lang="en-US" altLang="ko-KR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3</a:t>
                      </a:r>
                      <a:r>
                        <a:rPr lang="ko-KR" altLang="en-US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월</a:t>
                      </a:r>
                      <a:endParaRPr lang="en-US" altLang="ko-KR" sz="1100" b="0" u="none" kern="1200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30971">
                <a:tc>
                  <a:txBody>
                    <a:bodyPr/>
                    <a:lstStyle/>
                    <a:p>
                      <a:pPr marL="82550" indent="-82550" algn="ctr" latinLnBrk="0">
                        <a:buFont typeface="Arial" pitchFamily="34" charset="0"/>
                        <a:buNone/>
                      </a:pPr>
                      <a:r>
                        <a:rPr lang="en-US" altLang="ko-KR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4</a:t>
                      </a:r>
                      <a:r>
                        <a:rPr lang="ko-KR" altLang="en-US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월</a:t>
                      </a:r>
                      <a:endParaRPr lang="en-US" altLang="ko-KR" sz="1100" b="0" u="none" kern="1200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30971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1pPr>
                      <a:lvl2pPr marL="47882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2pPr>
                      <a:lvl3pPr marL="957644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3pPr>
                      <a:lvl4pPr marL="1436465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4pPr>
                      <a:lvl5pPr marL="1915286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5pPr>
                      <a:lvl6pPr marL="2394107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6pPr>
                      <a:lvl7pPr marL="2872929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7pPr>
                      <a:lvl8pPr marL="335175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8pPr>
                      <a:lvl9pPr marL="383057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marL="82550" marR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5</a:t>
                      </a:r>
                      <a:r>
                        <a:rPr lang="ko-KR" altLang="en-US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월</a:t>
                      </a:r>
                      <a:endParaRPr lang="en-US" altLang="ko-KR" sz="1100" b="0" u="none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30971">
                <a:tc>
                  <a:txBody>
                    <a:bodyPr/>
                    <a:lstStyle/>
                    <a:p>
                      <a:pPr marL="82550" marR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6</a:t>
                      </a:r>
                      <a:r>
                        <a:rPr lang="ko-KR" altLang="en-US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월</a:t>
                      </a:r>
                      <a:endParaRPr lang="en-US" altLang="ko-KR" sz="1100" b="0" u="none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30971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marR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7</a:t>
                      </a:r>
                      <a:r>
                        <a:rPr lang="ko-KR" altLang="en-US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월</a:t>
                      </a:r>
                      <a:endParaRPr lang="en-US" altLang="ko-KR" sz="1100" b="0" u="none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30971">
                <a:tc>
                  <a:txBody>
                    <a:bodyPr/>
                    <a:lstStyle/>
                    <a:p>
                      <a:pPr marL="82550" marR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8</a:t>
                      </a:r>
                      <a:r>
                        <a:rPr lang="ko-KR" altLang="en-US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월</a:t>
                      </a:r>
                      <a:endParaRPr lang="en-US" altLang="ko-KR" sz="1100" b="0" u="none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30971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indent="-82550" algn="ctr" latinLnBrk="0">
                        <a:buFont typeface="Arial" pitchFamily="34" charset="0"/>
                        <a:buNone/>
                      </a:pPr>
                      <a:r>
                        <a:rPr lang="en-US" altLang="ko-KR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9</a:t>
                      </a:r>
                      <a:r>
                        <a:rPr lang="ko-KR" altLang="en-US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월</a:t>
                      </a:r>
                      <a:endParaRPr lang="en-US" altLang="ko-KR" sz="1100" b="0" u="none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30971">
                <a:tc>
                  <a:txBody>
                    <a:bodyPr/>
                    <a:lstStyle/>
                    <a:p>
                      <a:pPr marL="82550" indent="-82550" algn="ctr" latinLnBrk="0">
                        <a:buFont typeface="Arial" pitchFamily="34" charset="0"/>
                        <a:buNone/>
                      </a:pPr>
                      <a:r>
                        <a:rPr lang="en-US" altLang="ko-KR" sz="11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0</a:t>
                      </a:r>
                      <a:r>
                        <a:rPr lang="ko-KR" altLang="en-US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월</a:t>
                      </a:r>
                      <a:endParaRPr lang="en-US" altLang="ko-KR" sz="1100" b="0" u="none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30971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marR="0" lvl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i="0" u="none" strike="noStrike" kern="1200" spc="-50" baseline="0" dirty="0" smtClean="0">
                          <a:solidFill>
                            <a:srgbClr val="000000"/>
                          </a:solidFill>
                          <a:latin typeface="Calibri" pitchFamily="34" charset="0"/>
                          <a:ea typeface="맑은 고딕" pitchFamily="50" charset="-127"/>
                          <a:cs typeface="+mn-cs"/>
                        </a:rPr>
                        <a:t>11</a:t>
                      </a:r>
                      <a:r>
                        <a:rPr lang="ko-KR" altLang="en-US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월</a:t>
                      </a:r>
                      <a:endParaRPr lang="en-US" altLang="ko-KR" sz="1100" b="0" i="0" u="none" strike="noStrike" kern="1200" spc="-50" baseline="0" dirty="0" smtClean="0">
                        <a:solidFill>
                          <a:srgbClr val="000000"/>
                        </a:solidFill>
                        <a:latin typeface="Calibri" pitchFamily="34" charset="0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30971">
                <a:tc>
                  <a:txBody>
                    <a:bodyPr/>
                    <a:lstStyle/>
                    <a:p>
                      <a:pPr marL="82550" marR="0" lvl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i="0" u="none" strike="noStrike" kern="1200" spc="-50" baseline="0" dirty="0" smtClean="0">
                          <a:solidFill>
                            <a:srgbClr val="000000"/>
                          </a:solidFill>
                          <a:latin typeface="Calibri" pitchFamily="34" charset="0"/>
                          <a:ea typeface="맑은 고딕" pitchFamily="50" charset="-127"/>
                          <a:cs typeface="+mn-cs"/>
                        </a:rPr>
                        <a:t>12</a:t>
                      </a:r>
                      <a:r>
                        <a:rPr lang="ko-KR" altLang="en-US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월</a:t>
                      </a:r>
                      <a:endParaRPr lang="en-US" altLang="ko-KR" sz="1100" b="0" i="0" u="none" strike="noStrike" kern="1200" spc="-50" baseline="0" dirty="0" smtClean="0">
                        <a:solidFill>
                          <a:srgbClr val="000000"/>
                        </a:solidFill>
                        <a:latin typeface="Calibri" pitchFamily="34" charset="0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  <p:grpSp>
        <p:nvGrpSpPr>
          <p:cNvPr id="2" name="Group 15"/>
          <p:cNvGrpSpPr>
            <a:grpSpLocks/>
          </p:cNvGrpSpPr>
          <p:nvPr/>
        </p:nvGrpSpPr>
        <p:grpSpPr bwMode="auto">
          <a:xfrm>
            <a:off x="3056660" y="1274999"/>
            <a:ext cx="3002839" cy="322947"/>
            <a:chOff x="-151" y="891"/>
            <a:chExt cx="1616" cy="207"/>
          </a:xfrm>
        </p:grpSpPr>
        <p:sp>
          <p:nvSpPr>
            <p:cNvPr id="7" name="Text Box 16"/>
            <p:cNvSpPr txBox="1">
              <a:spLocks noChangeArrowheads="1"/>
            </p:cNvSpPr>
            <p:nvPr/>
          </p:nvSpPr>
          <p:spPr bwMode="auto">
            <a:xfrm>
              <a:off x="-151" y="891"/>
              <a:ext cx="1616" cy="20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 defTabSz="762000" fontAlgn="auto" latinLnBrk="1">
                <a:spcBef>
                  <a:spcPct val="50000"/>
                </a:spcBef>
                <a:spcAft>
                  <a:spcPts val="0"/>
                </a:spcAft>
              </a:pPr>
              <a:r>
                <a:rPr lang="ko-KR" altLang="en-US" sz="1500" u="none" dirty="0" smtClean="0">
                  <a:solidFill>
                    <a:prstClr val="black"/>
                  </a:solidFill>
                  <a:latin typeface="+mj-lt"/>
                </a:rPr>
                <a:t>계절</a:t>
              </a:r>
              <a:r>
                <a:rPr lang="en-US" altLang="ko-KR" sz="1500" u="none" dirty="0" smtClean="0">
                  <a:solidFill>
                    <a:prstClr val="black"/>
                  </a:solidFill>
                  <a:latin typeface="+mj-lt"/>
                </a:rPr>
                <a:t>(</a:t>
              </a:r>
              <a:r>
                <a:rPr lang="ko-KR" altLang="en-US" sz="1500" u="none" dirty="0" smtClean="0">
                  <a:solidFill>
                    <a:prstClr val="black"/>
                  </a:solidFill>
                  <a:latin typeface="+mj-lt"/>
                </a:rPr>
                <a:t>월</a:t>
              </a:r>
              <a:r>
                <a:rPr lang="en-US" altLang="ko-KR" sz="1500" u="none" dirty="0" smtClean="0">
                  <a:solidFill>
                    <a:prstClr val="black"/>
                  </a:solidFill>
                  <a:latin typeface="+mj-lt"/>
                </a:rPr>
                <a:t>)</a:t>
              </a:r>
              <a:r>
                <a:rPr lang="ko-KR" altLang="en-US" sz="1500" u="none" dirty="0" smtClean="0">
                  <a:solidFill>
                    <a:prstClr val="black"/>
                  </a:solidFill>
                  <a:latin typeface="+mj-lt"/>
                </a:rPr>
                <a:t>에 따른 일별 판매량</a:t>
              </a:r>
              <a:endParaRPr lang="ko-KR" altLang="en-US" sz="1600" u="none" baseline="30000" dirty="0" smtClean="0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8" name="Line 17"/>
            <p:cNvSpPr>
              <a:spLocks noChangeShapeType="1"/>
            </p:cNvSpPr>
            <p:nvPr/>
          </p:nvSpPr>
          <p:spPr bwMode="auto">
            <a:xfrm flipV="1">
              <a:off x="-61" y="1098"/>
              <a:ext cx="1434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500" u="none" dirty="0">
                <a:solidFill>
                  <a:prstClr val="black"/>
                </a:solidFill>
                <a:latin typeface="+mj-lt"/>
              </a:endParaRPr>
            </a:p>
          </p:txBody>
        </p:sp>
      </p:grpSp>
      <p:graphicFrame>
        <p:nvGraphicFramePr>
          <p:cNvPr id="9" name="차트 8"/>
          <p:cNvGraphicFramePr/>
          <p:nvPr/>
        </p:nvGraphicFramePr>
        <p:xfrm>
          <a:off x="3224808" y="1844824"/>
          <a:ext cx="6192688" cy="4320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 Box 5"/>
          <p:cNvSpPr txBox="1">
            <a:spLocks noChangeArrowheads="1"/>
          </p:cNvSpPr>
          <p:nvPr/>
        </p:nvSpPr>
        <p:spPr bwMode="auto">
          <a:xfrm>
            <a:off x="704528" y="990221"/>
            <a:ext cx="8856984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latinLnBrk="1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kumimoji="1" lang="ko-KR" altLang="en-US" sz="1800" u="none" dirty="0" smtClean="0">
                <a:solidFill>
                  <a:srgbClr val="000000"/>
                </a:solidFill>
                <a:latin typeface="+mj-lt"/>
              </a:rPr>
              <a:t>회사전체 판매량 모형에서 날씨인 계절</a:t>
            </a:r>
            <a:r>
              <a:rPr kumimoji="1" lang="en-US" altLang="ko-KR" sz="1800" u="none" dirty="0" smtClean="0">
                <a:solidFill>
                  <a:srgbClr val="000000"/>
                </a:solidFill>
                <a:latin typeface="+mj-lt"/>
              </a:rPr>
              <a:t>(</a:t>
            </a:r>
            <a:r>
              <a:rPr kumimoji="1" lang="ko-KR" altLang="en-US" sz="1800" u="none" dirty="0" smtClean="0">
                <a:solidFill>
                  <a:srgbClr val="000000"/>
                </a:solidFill>
                <a:latin typeface="+mj-lt"/>
              </a:rPr>
              <a:t>월</a:t>
            </a:r>
            <a:r>
              <a:rPr kumimoji="1" lang="en-US" altLang="ko-KR" sz="1800" u="none" dirty="0" smtClean="0">
                <a:solidFill>
                  <a:srgbClr val="000000"/>
                </a:solidFill>
                <a:latin typeface="+mj-lt"/>
              </a:rPr>
              <a:t>)</a:t>
            </a:r>
            <a:r>
              <a:rPr kumimoji="1" lang="ko-KR" altLang="en-US" sz="1800" u="none" dirty="0" smtClean="0">
                <a:solidFill>
                  <a:srgbClr val="000000"/>
                </a:solidFill>
                <a:latin typeface="+mj-lt"/>
              </a:rPr>
              <a:t>에 따른 </a:t>
            </a:r>
            <a:r>
              <a:rPr kumimoji="1" lang="en-US" altLang="ko-KR" sz="1800" u="none" dirty="0" smtClean="0">
                <a:solidFill>
                  <a:srgbClr val="000000"/>
                </a:solidFill>
                <a:latin typeface="+mj-lt"/>
              </a:rPr>
              <a:t>Impact</a:t>
            </a:r>
            <a:endParaRPr kumimoji="1" lang="en-US" altLang="ko-KR" sz="1800" u="none" dirty="0">
              <a:solidFill>
                <a:srgbClr val="000000"/>
              </a:solidFill>
              <a:latin typeface="+mj-lt"/>
            </a:endParaRPr>
          </a:p>
        </p:txBody>
      </p:sp>
      <p:grpSp>
        <p:nvGrpSpPr>
          <p:cNvPr id="3" name="그룹 66"/>
          <p:cNvGrpSpPr/>
          <p:nvPr/>
        </p:nvGrpSpPr>
        <p:grpSpPr>
          <a:xfrm>
            <a:off x="0" y="230307"/>
            <a:ext cx="5350478" cy="410962"/>
            <a:chOff x="0" y="376936"/>
            <a:chExt cx="7003773" cy="632968"/>
          </a:xfrm>
        </p:grpSpPr>
        <p:sp>
          <p:nvSpPr>
            <p:cNvPr id="12" name="직사각형 11"/>
            <p:cNvSpPr/>
            <p:nvPr/>
          </p:nvSpPr>
          <p:spPr>
            <a:xfrm>
              <a:off x="0" y="376936"/>
              <a:ext cx="481888" cy="63296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9050">
              <a:noFill/>
              <a:headEnd type="oval"/>
              <a:tailEnd type="oval"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128016" tIns="64008" rIns="128016" bIns="64008" rtlCol="0" anchor="ctr"/>
            <a:lstStyle/>
            <a:p>
              <a:pPr defTabSz="1280160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800" b="0" u="none" dirty="0">
                <a:solidFill>
                  <a:prstClr val="black"/>
                </a:solidFill>
                <a:latin typeface="+mj-lt"/>
                <a:ea typeface="나눔고딕" pitchFamily="50" charset="-127"/>
              </a:endParaRPr>
            </a:p>
          </p:txBody>
        </p:sp>
        <p:sp>
          <p:nvSpPr>
            <p:cNvPr id="13" name="Text Box 5"/>
            <p:cNvSpPr txBox="1">
              <a:spLocks noChangeArrowheads="1"/>
            </p:cNvSpPr>
            <p:nvPr/>
          </p:nvSpPr>
          <p:spPr bwMode="auto">
            <a:xfrm>
              <a:off x="733710" y="476403"/>
              <a:ext cx="6270063" cy="4740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defTabSz="957240" latinLnBrk="1">
                <a:defRPr/>
              </a:pP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#6. </a:t>
              </a:r>
              <a:r>
                <a:rPr kumimoji="1" lang="ko-KR" altLang="en-US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모형 결과 </a:t>
              </a: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– </a:t>
              </a:r>
              <a:r>
                <a:rPr kumimoji="1" lang="ko-KR" altLang="en-US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회사전체 변수 별 </a:t>
              </a:r>
              <a:r>
                <a:rPr kumimoji="1" lang="en-US" altLang="ko-KR" sz="2000" u="none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맑은 고딕"/>
                  <a:cs typeface="Meiryo UI" pitchFamily="34" charset="-128"/>
                </a:rPr>
                <a:t>Impact</a:t>
              </a:r>
              <a:endParaRPr kumimoji="1" lang="ko-KR" altLang="en-US" sz="2000" u="none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맑은 고딕"/>
                <a:cs typeface="Meiryo UI" pitchFamily="34" charset="-128"/>
              </a:endParaRPr>
            </a:p>
          </p:txBody>
        </p:sp>
      </p:grpSp>
      <p:sp>
        <p:nvSpPr>
          <p:cNvPr id="11" name="실행 단추: 홈 10">
            <a:hlinkClick r:id="rId3" action="ppaction://hlinksldjump" highlightClick="1"/>
          </p:cNvPr>
          <p:cNvSpPr/>
          <p:nvPr/>
        </p:nvSpPr>
        <p:spPr bwMode="auto">
          <a:xfrm>
            <a:off x="9450705" y="428414"/>
            <a:ext cx="288000" cy="288000"/>
          </a:xfrm>
          <a:prstGeom prst="actionButtonHome">
            <a:avLst/>
          </a:prstGeom>
          <a:solidFill>
            <a:srgbClr val="FFFFFF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36000" rIns="90000" bIns="36000" numCol="1" rtlCol="0" anchor="ctr" anchorCtr="0" compatLnSpc="1">
            <a:prstTxWarp prst="textNoShape">
              <a:avLst/>
            </a:prstTxWarp>
          </a:bodyPr>
          <a:lstStyle/>
          <a:p>
            <a:pPr algn="ctr" latinLnBrk="1">
              <a:buFont typeface="Arial" pitchFamily="34" charset="0"/>
              <a:buChar char="•"/>
              <a:defRPr/>
            </a:pPr>
            <a:endParaRPr kumimoji="1" lang="ko-KR" altLang="en-US" sz="1300" u="none" kern="0" dirty="0" smtClean="0">
              <a:solidFill>
                <a:srgbClr val="000000"/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dirty="0" smtClean="0">
                <a:latin typeface="맑은 고딕" pitchFamily="50" charset="-127"/>
              </a:rPr>
              <a:t>모형결과 </a:t>
            </a:r>
            <a:r>
              <a:rPr lang="en-US" altLang="ko-KR" dirty="0" smtClean="0">
                <a:latin typeface="맑은 고딕" pitchFamily="50" charset="-127"/>
              </a:rPr>
              <a:t>– </a:t>
            </a:r>
            <a:r>
              <a:rPr lang="ko-KR" altLang="en-US" dirty="0" smtClean="0">
                <a:latin typeface="맑은 고딕" pitchFamily="50" charset="-127"/>
              </a:rPr>
              <a:t>회사전체 계절과 기온의 상관관계</a:t>
            </a:r>
            <a:r>
              <a:rPr lang="en-US" altLang="ko-KR" dirty="0" smtClean="0">
                <a:latin typeface="맑은 고딕" pitchFamily="50" charset="-127"/>
              </a:rPr>
              <a:t> </a:t>
            </a:r>
            <a:r>
              <a:rPr lang="ko-KR" altLang="en-US" dirty="0" smtClean="0">
                <a:latin typeface="맑은 고딕" pitchFamily="50" charset="-127"/>
              </a:rPr>
              <a:t>분석</a:t>
            </a:r>
            <a:endParaRPr lang="en-US" altLang="ko-KR" dirty="0" smtClean="0">
              <a:latin typeface="맑은 고딕" pitchFamily="50" charset="-127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273050" y="628650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계절</a:t>
            </a: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(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월</a:t>
            </a: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)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에는 기온에 대한 의미도 내포해 있기 때문에 모형에서 날씨인 계절</a:t>
            </a: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(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월</a:t>
            </a: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)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과 기온을 연관해서 봐야 함</a:t>
            </a:r>
            <a:endParaRPr kumimoji="1" lang="en-US" altLang="ko-KR" sz="1600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grpSp>
        <p:nvGrpSpPr>
          <p:cNvPr id="2" name="Group 15"/>
          <p:cNvGrpSpPr>
            <a:grpSpLocks/>
          </p:cNvGrpSpPr>
          <p:nvPr/>
        </p:nvGrpSpPr>
        <p:grpSpPr bwMode="auto">
          <a:xfrm>
            <a:off x="3390321" y="1268760"/>
            <a:ext cx="3002839" cy="322947"/>
            <a:chOff x="-151" y="891"/>
            <a:chExt cx="1616" cy="207"/>
          </a:xfrm>
        </p:grpSpPr>
        <p:sp>
          <p:nvSpPr>
            <p:cNvPr id="11" name="Text Box 16"/>
            <p:cNvSpPr txBox="1">
              <a:spLocks noChangeArrowheads="1"/>
            </p:cNvSpPr>
            <p:nvPr/>
          </p:nvSpPr>
          <p:spPr bwMode="auto">
            <a:xfrm>
              <a:off x="-151" y="891"/>
              <a:ext cx="1616" cy="20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 defTabSz="762000" fontAlgn="auto" latinLnBrk="1">
                <a:spcBef>
                  <a:spcPct val="50000"/>
                </a:spcBef>
                <a:spcAft>
                  <a:spcPts val="0"/>
                </a:spcAft>
              </a:pPr>
              <a:r>
                <a:rPr lang="ko-KR" altLang="en-US" sz="1500" u="none" dirty="0" smtClean="0">
                  <a:solidFill>
                    <a:prstClr val="black"/>
                  </a:solidFill>
                  <a:latin typeface="맑은 고딕" pitchFamily="50" charset="-127"/>
                </a:rPr>
                <a:t>기온과 계절</a:t>
              </a:r>
              <a:r>
                <a:rPr lang="en-US" altLang="ko-KR" sz="1500" u="none" dirty="0" smtClean="0">
                  <a:solidFill>
                    <a:prstClr val="black"/>
                  </a:solidFill>
                  <a:latin typeface="맑은 고딕" pitchFamily="50" charset="-127"/>
                </a:rPr>
                <a:t>(</a:t>
              </a:r>
              <a:r>
                <a:rPr lang="ko-KR" altLang="en-US" sz="1500" u="none" dirty="0" smtClean="0">
                  <a:solidFill>
                    <a:prstClr val="black"/>
                  </a:solidFill>
                  <a:latin typeface="맑은 고딕" pitchFamily="50" charset="-127"/>
                </a:rPr>
                <a:t>월</a:t>
              </a:r>
              <a:r>
                <a:rPr lang="en-US" altLang="ko-KR" sz="1500" u="none" dirty="0" smtClean="0">
                  <a:solidFill>
                    <a:prstClr val="black"/>
                  </a:solidFill>
                  <a:latin typeface="맑은 고딕" pitchFamily="50" charset="-127"/>
                </a:rPr>
                <a:t>)</a:t>
              </a:r>
              <a:endParaRPr lang="ko-KR" altLang="en-US" sz="1600" u="none" baseline="30000" dirty="0" smtClean="0">
                <a:solidFill>
                  <a:prstClr val="black"/>
                </a:solidFill>
                <a:latin typeface="맑은 고딕" pitchFamily="50" charset="-127"/>
              </a:endParaRPr>
            </a:p>
          </p:txBody>
        </p:sp>
        <p:sp>
          <p:nvSpPr>
            <p:cNvPr id="12" name="Line 17"/>
            <p:cNvSpPr>
              <a:spLocks noChangeShapeType="1"/>
            </p:cNvSpPr>
            <p:nvPr/>
          </p:nvSpPr>
          <p:spPr bwMode="auto">
            <a:xfrm flipV="1">
              <a:off x="-61" y="1098"/>
              <a:ext cx="1434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235" fontAlgn="auto" latinLnBrk="1">
                <a:spcBef>
                  <a:spcPts val="0"/>
                </a:spcBef>
                <a:spcAft>
                  <a:spcPts val="0"/>
                </a:spcAft>
              </a:pPr>
              <a:endParaRPr lang="ko-KR" altLang="en-US" sz="1500" u="none" dirty="0">
                <a:solidFill>
                  <a:prstClr val="black"/>
                </a:solidFill>
                <a:latin typeface="맑은 고딕" pitchFamily="50" charset="-127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554400" y="1917304"/>
            <a:ext cx="8928000" cy="42480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tx1"/>
            </a:outerShdw>
          </a:effectLst>
        </p:spPr>
        <p:txBody>
          <a:bodyPr tIns="190800" anchorCtr="1"/>
          <a:lstStyle/>
          <a:p>
            <a:pPr marL="180975" indent="-180975" defTabSz="762000">
              <a:spcBef>
                <a:spcPct val="50000"/>
              </a:spcBef>
              <a:buFont typeface="Wingdings" pitchFamily="2" charset="2"/>
              <a:buChar char="§"/>
              <a:defRPr/>
            </a:pPr>
            <a:endParaRPr kumimoji="1" lang="en-US" altLang="ko-KR" sz="1200" u="none" dirty="0" smtClean="0">
              <a:solidFill>
                <a:prstClr val="black"/>
              </a:solidFill>
              <a:latin typeface="맑은 고딕" pitchFamily="50" charset="-127"/>
            </a:endParaRPr>
          </a:p>
        </p:txBody>
      </p:sp>
      <p:sp>
        <p:nvSpPr>
          <p:cNvPr id="13" name="Freeform 6"/>
          <p:cNvSpPr>
            <a:spLocks/>
          </p:cNvSpPr>
          <p:nvPr>
            <p:custDataLst>
              <p:tags r:id="rId1"/>
            </p:custDataLst>
          </p:nvPr>
        </p:nvSpPr>
        <p:spPr bwMode="blackWhite">
          <a:xfrm>
            <a:off x="776536" y="2096473"/>
            <a:ext cx="3960000" cy="3960000"/>
          </a:xfrm>
          <a:prstGeom prst="foldedCorner">
            <a:avLst>
              <a:gd name="adj" fmla="val 13968"/>
            </a:avLst>
          </a:prstGeom>
          <a:solidFill>
            <a:srgbClr val="FDF9F9"/>
          </a:solidFill>
          <a:ln w="12700" cap="flat" cmpd="sng" algn="ctr">
            <a:solidFill>
              <a:schemeClr val="bg1">
                <a:lumMod val="50000"/>
              </a:schemeClr>
            </a:solidFill>
            <a:prstDash val="sysDot"/>
          </a:ln>
          <a:effectLst/>
        </p:spPr>
        <p:txBody>
          <a:bodyPr vert="horz" lIns="18000" tIns="18000" rIns="18000" bIns="18000" rtlCol="0" anchor="ctr"/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20000"/>
              <a:defRPr/>
            </a:pPr>
            <a:endParaRPr lang="ko-KR" altLang="en-US" b="0" u="none" kern="0" dirty="0">
              <a:solidFill>
                <a:prstClr val="black">
                  <a:lumMod val="75000"/>
                  <a:lumOff val="25000"/>
                </a:prstClr>
              </a:solidFill>
              <a:latin typeface="맑은 고딕" pitchFamily="50" charset="-127"/>
            </a:endParaRPr>
          </a:p>
        </p:txBody>
      </p:sp>
      <p:sp>
        <p:nvSpPr>
          <p:cNvPr id="16" name="Freeform 6"/>
          <p:cNvSpPr>
            <a:spLocks/>
          </p:cNvSpPr>
          <p:nvPr>
            <p:custDataLst>
              <p:tags r:id="rId2"/>
            </p:custDataLst>
          </p:nvPr>
        </p:nvSpPr>
        <p:spPr bwMode="blackWhite">
          <a:xfrm>
            <a:off x="5361698" y="2096473"/>
            <a:ext cx="3960000" cy="3960000"/>
          </a:xfrm>
          <a:prstGeom prst="foldedCorner">
            <a:avLst>
              <a:gd name="adj" fmla="val 13668"/>
            </a:avLst>
          </a:prstGeom>
          <a:solidFill>
            <a:srgbClr val="FDF9F9"/>
          </a:solidFill>
          <a:ln w="12700" cap="flat" cmpd="sng" algn="ctr">
            <a:solidFill>
              <a:schemeClr val="bg1">
                <a:lumMod val="50000"/>
              </a:schemeClr>
            </a:solidFill>
            <a:prstDash val="sysDot"/>
          </a:ln>
          <a:effectLst/>
        </p:spPr>
        <p:txBody>
          <a:bodyPr vert="horz" lIns="18000" tIns="18000" rIns="18000" bIns="18000" rtlCol="0" anchor="ctr"/>
          <a:lstStyle/>
          <a:p>
            <a:pPr algn="ct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20000"/>
              <a:defRPr/>
            </a:pPr>
            <a:endParaRPr lang="ko-KR" altLang="en-US" b="0" u="none" kern="0" dirty="0">
              <a:solidFill>
                <a:prstClr val="black">
                  <a:lumMod val="75000"/>
                  <a:lumOff val="25000"/>
                </a:prstClr>
              </a:solidFill>
              <a:latin typeface="맑은 고딕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385048" y="2233776"/>
            <a:ext cx="3864642" cy="371550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marL="82550" indent="-82550" defTabSz="914360">
              <a:lnSpc>
                <a:spcPct val="110000"/>
              </a:lnSpc>
              <a:spcBef>
                <a:spcPts val="500"/>
              </a:spcBef>
              <a:spcAft>
                <a:spcPts val="500"/>
              </a:spcAft>
              <a:buClr>
                <a:prstClr val="black"/>
              </a:buClr>
              <a:buFont typeface="Wingdings" pitchFamily="2" charset="2"/>
              <a:buChar char="u"/>
              <a:defRPr/>
            </a:pP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기온</a:t>
            </a:r>
            <a:endParaRPr lang="en-US" altLang="ko-KR" sz="1300" b="0" u="none" kern="0" spc="-50" dirty="0" smtClean="0">
              <a:solidFill>
                <a:prstClr val="black"/>
              </a:solidFill>
              <a:latin typeface="맑은 고딕" pitchFamily="50" charset="-127"/>
            </a:endParaRPr>
          </a:p>
          <a:p>
            <a:pPr marL="539750" lvl="1" indent="-276225" defTabSz="914360">
              <a:lnSpc>
                <a:spcPct val="110000"/>
              </a:lnSpc>
              <a:spcBef>
                <a:spcPts val="500"/>
              </a:spcBef>
              <a:spcAft>
                <a:spcPts val="500"/>
              </a:spcAft>
              <a:buClr>
                <a:prstClr val="black"/>
              </a:buClr>
              <a:buFont typeface="Wingdings" pitchFamily="2" charset="2"/>
              <a:buChar char="ü"/>
              <a:defRPr/>
            </a:pP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-10</a:t>
            </a: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에서 </a:t>
            </a: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-9</a:t>
            </a: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도로 바뀔 경우</a:t>
            </a:r>
            <a:endParaRPr lang="en-US" altLang="ko-KR" sz="1300" b="0" u="none" kern="0" spc="-50" dirty="0" smtClean="0">
              <a:solidFill>
                <a:prstClr val="black"/>
              </a:solidFill>
              <a:latin typeface="맑은 고딕" pitchFamily="50" charset="-127"/>
            </a:endParaRPr>
          </a:p>
          <a:p>
            <a:pPr marL="539750" lvl="1" indent="-82550" defTabSz="914360">
              <a:lnSpc>
                <a:spcPct val="110000"/>
              </a:lnSpc>
              <a:spcBef>
                <a:spcPts val="500"/>
              </a:spcBef>
              <a:spcAft>
                <a:spcPts val="500"/>
              </a:spcAft>
              <a:buClr>
                <a:prstClr val="black"/>
              </a:buClr>
              <a:buFont typeface="Wingdings" pitchFamily="2" charset="2"/>
              <a:buChar char="Ø"/>
              <a:defRPr/>
            </a:pP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 -</a:t>
            </a:r>
            <a:r>
              <a:rPr lang="en-US" altLang="ko-KR" sz="1200" b="0" u="none" dirty="0" smtClean="0">
                <a:solidFill>
                  <a:srgbClr val="000000"/>
                </a:solidFill>
                <a:latin typeface="맑은 고딕" pitchFamily="50" charset="-127"/>
              </a:rPr>
              <a:t>21537.4 – (-24900.3)  = 3362.9</a:t>
            </a:r>
          </a:p>
          <a:p>
            <a:pPr marL="539750" lvl="1" indent="-82550" defTabSz="914360">
              <a:lnSpc>
                <a:spcPct val="110000"/>
              </a:lnSpc>
              <a:spcBef>
                <a:spcPts val="500"/>
              </a:spcBef>
              <a:spcAft>
                <a:spcPts val="500"/>
              </a:spcAft>
              <a:buClr>
                <a:prstClr val="black"/>
              </a:buClr>
              <a:buFont typeface="Wingdings" pitchFamily="2" charset="2"/>
              <a:buChar char="Ø"/>
              <a:defRPr/>
            </a:pPr>
            <a:r>
              <a:rPr lang="en-US" altLang="ko-KR" sz="1200" b="0" u="none" dirty="0" smtClean="0">
                <a:solidFill>
                  <a:srgbClr val="000000"/>
                </a:solidFill>
                <a:latin typeface="맑은 고딕" pitchFamily="50" charset="-127"/>
              </a:rPr>
              <a:t> 3362.9 </a:t>
            </a:r>
            <a:r>
              <a:rPr lang="ko-KR" altLang="en-US" sz="1200" b="0" u="none" dirty="0" smtClean="0">
                <a:solidFill>
                  <a:srgbClr val="000000"/>
                </a:solidFill>
                <a:latin typeface="맑은 고딕" pitchFamily="50" charset="-127"/>
              </a:rPr>
              <a:t>만큼의 판매량이 증가함</a:t>
            </a:r>
            <a:endParaRPr lang="en-US" altLang="ko-KR" sz="1300" b="0" u="none" kern="0" spc="-50" dirty="0">
              <a:solidFill>
                <a:prstClr val="black"/>
              </a:solidFill>
              <a:latin typeface="맑은 고딕" pitchFamily="50" charset="-127"/>
            </a:endParaRPr>
          </a:p>
          <a:p>
            <a:pPr marL="82550" indent="-82550" defTabSz="914360">
              <a:lnSpc>
                <a:spcPct val="110000"/>
              </a:lnSpc>
              <a:spcBef>
                <a:spcPts val="500"/>
              </a:spcBef>
              <a:spcAft>
                <a:spcPts val="500"/>
              </a:spcAft>
              <a:buClr>
                <a:prstClr val="black"/>
              </a:buClr>
              <a:buFont typeface="Wingdings" pitchFamily="2" charset="2"/>
              <a:buChar char="u"/>
              <a:defRPr/>
            </a:pP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기온과 계절</a:t>
            </a: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(</a:t>
            </a: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월</a:t>
            </a: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)</a:t>
            </a:r>
          </a:p>
          <a:p>
            <a:pPr marL="539750" lvl="1" indent="-276225" defTabSz="914360">
              <a:lnSpc>
                <a:spcPct val="110000"/>
              </a:lnSpc>
              <a:spcBef>
                <a:spcPts val="500"/>
              </a:spcBef>
              <a:spcAft>
                <a:spcPts val="500"/>
              </a:spcAft>
              <a:buClr>
                <a:prstClr val="black"/>
              </a:buClr>
              <a:buFont typeface="Wingdings" pitchFamily="2" charset="2"/>
              <a:buChar char="ü"/>
              <a:defRPr/>
            </a:pP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5</a:t>
            </a: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월에서 </a:t>
            </a: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7</a:t>
            </a: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월로 바뀌는 경우</a:t>
            </a:r>
            <a:endParaRPr lang="en-US" altLang="ko-KR" sz="1300" b="0" u="none" kern="0" spc="-50" dirty="0" smtClean="0">
              <a:solidFill>
                <a:prstClr val="black"/>
              </a:solidFill>
              <a:latin typeface="맑은 고딕" pitchFamily="50" charset="-127"/>
            </a:endParaRPr>
          </a:p>
          <a:p>
            <a:pPr marL="630238" lvl="2" indent="-173038" defTabSz="914360">
              <a:lnSpc>
                <a:spcPct val="110000"/>
              </a:lnSpc>
              <a:spcBef>
                <a:spcPts val="500"/>
              </a:spcBef>
              <a:spcAft>
                <a:spcPts val="500"/>
              </a:spcAft>
              <a:buClr>
                <a:prstClr val="black"/>
              </a:buClr>
              <a:buFont typeface="Wingdings" pitchFamily="2" charset="2"/>
              <a:buChar char="Ø"/>
              <a:defRPr/>
            </a:pP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 </a:t>
            </a: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계절</a:t>
            </a: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(</a:t>
            </a: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월</a:t>
            </a:r>
            <a:r>
              <a:rPr lang="en-US" altLang="ko-KR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)</a:t>
            </a:r>
            <a:r>
              <a:rPr lang="ko-KR" altLang="en-US" sz="1300" b="0" u="none" kern="0" spc="-50" dirty="0" smtClean="0">
                <a:solidFill>
                  <a:prstClr val="black"/>
                </a:solidFill>
                <a:latin typeface="맑은 고딕" pitchFamily="50" charset="-127"/>
              </a:rPr>
              <a:t>에 의한 판매량은 감소하는 것 처럼 보이나 기온에 의한 판매량 증가분 때문에 감소하는 것이 아님</a:t>
            </a:r>
            <a:endParaRPr lang="en-US" altLang="ko-KR" sz="1300" b="0" u="none" kern="0" spc="-50" dirty="0" smtClean="0">
              <a:solidFill>
                <a:prstClr val="black"/>
              </a:solidFill>
              <a:latin typeface="맑은 고딕" pitchFamily="50" charset="-127"/>
            </a:endParaRPr>
          </a:p>
          <a:p>
            <a:pPr marL="539750" lvl="1" indent="-276225" defTabSz="914360">
              <a:lnSpc>
                <a:spcPct val="110000"/>
              </a:lnSpc>
              <a:spcBef>
                <a:spcPts val="500"/>
              </a:spcBef>
              <a:spcAft>
                <a:spcPts val="500"/>
              </a:spcAft>
              <a:buClr>
                <a:prstClr val="black"/>
              </a:buClr>
              <a:buFont typeface="Wingdings" pitchFamily="2" charset="2"/>
              <a:buChar char="ü"/>
              <a:defRPr/>
            </a:pPr>
            <a:r>
              <a:rPr lang="en-US" altLang="ko-KR" sz="1200" b="0" u="none" dirty="0" smtClean="0">
                <a:solidFill>
                  <a:srgbClr val="000000"/>
                </a:solidFill>
                <a:latin typeface="맑은 고딕" pitchFamily="50" charset="-127"/>
              </a:rPr>
              <a:t>5</a:t>
            </a:r>
            <a:r>
              <a:rPr lang="ko-KR" altLang="en-US" sz="1200" b="0" u="none" dirty="0" smtClean="0">
                <a:solidFill>
                  <a:srgbClr val="000000"/>
                </a:solidFill>
                <a:latin typeface="맑은 고딕" pitchFamily="50" charset="-127"/>
              </a:rPr>
              <a:t>월의 </a:t>
            </a:r>
            <a:r>
              <a:rPr lang="en-US" altLang="ko-KR" sz="1200" b="0" u="none" dirty="0" smtClean="0">
                <a:solidFill>
                  <a:srgbClr val="000000"/>
                </a:solidFill>
                <a:latin typeface="맑은 고딕" pitchFamily="50" charset="-127"/>
              </a:rPr>
              <a:t>20</a:t>
            </a:r>
            <a:r>
              <a:rPr lang="ko-KR" altLang="en-US" sz="1200" b="0" u="none" spc="-10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℃ 와  </a:t>
            </a:r>
            <a:r>
              <a:rPr lang="en-US" altLang="ko-KR" sz="1200" b="0" u="none" spc="-10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7</a:t>
            </a:r>
            <a:r>
              <a:rPr lang="ko-KR" altLang="en-US" sz="1200" b="0" u="none" spc="-10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월에 </a:t>
            </a:r>
            <a:r>
              <a:rPr lang="en-US" altLang="ko-KR" sz="1200" b="0" u="none" spc="-10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28</a:t>
            </a:r>
            <a:r>
              <a:rPr lang="ko-KR" altLang="en-US" sz="1200" b="0" u="none" spc="-10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 ℃의 판매량 차이</a:t>
            </a:r>
            <a:endParaRPr lang="en-US" altLang="ko-KR" sz="1200" b="0" u="none" spc="-100" dirty="0" smtClean="0"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  <a:p>
            <a:pPr marL="630238" lvl="2" indent="-182563" defTabSz="914360">
              <a:lnSpc>
                <a:spcPct val="110000"/>
              </a:lnSpc>
              <a:spcBef>
                <a:spcPts val="500"/>
              </a:spcBef>
              <a:spcAft>
                <a:spcPts val="500"/>
              </a:spcAft>
              <a:buClr>
                <a:prstClr val="black"/>
              </a:buClr>
              <a:buFont typeface="Wingdings" pitchFamily="2" charset="2"/>
              <a:buChar char="Ø"/>
              <a:defRPr/>
            </a:pPr>
            <a:r>
              <a:rPr lang="en-US" altLang="ko-KR" sz="1200" b="0" u="none" dirty="0" smtClean="0">
                <a:solidFill>
                  <a:srgbClr val="000000"/>
                </a:solidFill>
                <a:latin typeface="맑은 고딕" pitchFamily="50" charset="-127"/>
              </a:rPr>
              <a:t>(-22645.3+72817.5) - (5037.4 + 28111.4)</a:t>
            </a:r>
          </a:p>
          <a:p>
            <a:pPr marL="630238" lvl="2" indent="-182563" defTabSz="914360">
              <a:lnSpc>
                <a:spcPct val="110000"/>
              </a:lnSpc>
              <a:spcBef>
                <a:spcPts val="500"/>
              </a:spcBef>
              <a:spcAft>
                <a:spcPts val="500"/>
              </a:spcAft>
              <a:buClr>
                <a:prstClr val="black"/>
              </a:buClr>
              <a:buFont typeface="Wingdings" pitchFamily="2" charset="2"/>
              <a:buChar char="Ø"/>
              <a:defRPr/>
            </a:pPr>
            <a:r>
              <a:rPr lang="en-US" altLang="ko-KR" sz="1200" b="0" u="none" spc="-10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7</a:t>
            </a:r>
            <a:r>
              <a:rPr lang="ko-KR" altLang="en-US" sz="1200" b="0" u="none" spc="-10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월  </a:t>
            </a:r>
            <a:r>
              <a:rPr lang="en-US" altLang="ko-KR" sz="1200" b="0" u="none" spc="-10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28</a:t>
            </a:r>
            <a:r>
              <a:rPr lang="ko-KR" altLang="en-US" sz="1200" b="0" u="none" spc="-10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 ℃에는  </a:t>
            </a:r>
            <a:r>
              <a:rPr lang="en-US" altLang="ko-KR" sz="1200" b="0" u="none" dirty="0" smtClean="0">
                <a:solidFill>
                  <a:srgbClr val="000000"/>
                </a:solidFill>
                <a:latin typeface="맑은 고딕" pitchFamily="50" charset="-127"/>
              </a:rPr>
              <a:t>17023.4</a:t>
            </a:r>
            <a:r>
              <a:rPr lang="ko-KR" altLang="en-US" sz="1200" b="0" u="none" dirty="0" smtClean="0">
                <a:solidFill>
                  <a:srgbClr val="000000"/>
                </a:solidFill>
                <a:latin typeface="맑은 고딕" pitchFamily="50" charset="-127"/>
              </a:rPr>
              <a:t> 만큼의 판매량이 증가</a:t>
            </a:r>
            <a:endParaRPr lang="en-US" altLang="ko-KR" sz="1200" b="0" u="none" dirty="0" smtClean="0">
              <a:solidFill>
                <a:srgbClr val="000000"/>
              </a:solidFill>
              <a:latin typeface="맑은 고딕" pitchFamily="50" charset="-127"/>
            </a:endParaRPr>
          </a:p>
        </p:txBody>
      </p:sp>
      <p:cxnSp>
        <p:nvCxnSpPr>
          <p:cNvPr id="18" name="직선 연결선 17"/>
          <p:cNvCxnSpPr/>
          <p:nvPr/>
        </p:nvCxnSpPr>
        <p:spPr bwMode="auto">
          <a:xfrm rot="5400000">
            <a:off x="3045008" y="4076473"/>
            <a:ext cx="3960000" cy="0"/>
          </a:xfrm>
          <a:prstGeom prst="line">
            <a:avLst/>
          </a:prstGeom>
          <a:solidFill>
            <a:srgbClr val="A3A3A3">
              <a:alpha val="2000"/>
            </a:srgbClr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9" name="표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388297760"/>
              </p:ext>
            </p:extLst>
          </p:nvPr>
        </p:nvGraphicFramePr>
        <p:xfrm>
          <a:off x="920552" y="2348880"/>
          <a:ext cx="1728192" cy="3101067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703459"/>
                <a:gridCol w="1024733"/>
              </a:tblGrid>
              <a:tr h="344563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1pPr>
                      <a:lvl2pPr marL="478822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2pPr>
                      <a:lvl3pPr marL="957644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3pPr>
                      <a:lvl4pPr marL="1436465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4pPr>
                      <a:lvl5pPr marL="1915286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5pPr>
                      <a:lvl6pPr marL="2394107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6pPr>
                      <a:lvl7pPr marL="2872929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7pPr>
                      <a:lvl8pPr marL="3351750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8pPr>
                      <a:lvl9pPr marL="3830572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1400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기온 ℃</a:t>
                      </a:r>
                      <a:endParaRPr lang="ko-KR" altLang="en-US" sz="1400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  <a:alpha val="80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1400" b="1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판매량</a:t>
                      </a:r>
                      <a:endParaRPr lang="ko-KR" altLang="en-US" sz="1400" b="1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  <a:alpha val="80000"/>
                      </a:sysClr>
                    </a:solidFill>
                  </a:tcPr>
                </a:tc>
              </a:tr>
              <a:tr h="344563">
                <a:tc>
                  <a:txBody>
                    <a:bodyPr/>
                    <a:lstStyle/>
                    <a:p>
                      <a:pPr marL="82550" indent="-82550" algn="ctr" latinLnBrk="0">
                        <a:buFont typeface="Arial" pitchFamily="34" charset="0"/>
                        <a:buNone/>
                      </a:pPr>
                      <a:r>
                        <a:rPr lang="en-US" altLang="ko-KR" sz="11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44563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marR="0" lvl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i="0" u="none" strike="noStrike" kern="1200" spc="-50" baseline="0" dirty="0" smtClean="0">
                          <a:solidFill>
                            <a:srgbClr val="000000"/>
                          </a:solidFill>
                          <a:latin typeface="Calibri" pitchFamily="34" charset="0"/>
                          <a:ea typeface="맑은 고딕" pitchFamily="50" charset="-127"/>
                          <a:cs typeface="+mn-cs"/>
                        </a:rPr>
                        <a:t>21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44563">
                <a:tc>
                  <a:txBody>
                    <a:bodyPr/>
                    <a:lstStyle/>
                    <a:p>
                      <a:pPr marL="82550" marR="0" lvl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i="0" u="none" strike="noStrike" kern="1200" spc="-50" baseline="0" dirty="0" smtClean="0">
                          <a:solidFill>
                            <a:srgbClr val="000000"/>
                          </a:solidFill>
                          <a:latin typeface="Calibri" pitchFamily="34" charset="0"/>
                          <a:ea typeface="맑은 고딕" pitchFamily="50" charset="-127"/>
                          <a:cs typeface="+mn-cs"/>
                        </a:rPr>
                        <a:t>22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44563">
                <a:tc gridSpan="2"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marR="0" lvl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···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44563">
                <a:tc>
                  <a:txBody>
                    <a:bodyPr/>
                    <a:lstStyle/>
                    <a:p>
                      <a:pPr marL="82550" marR="0" lvl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8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44563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marR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i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9</a:t>
                      </a:r>
                      <a:endParaRPr lang="ko-KR" altLang="en-US" sz="1100" b="0" i="0" u="none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44563">
                <a:tc>
                  <a:txBody>
                    <a:bodyPr/>
                    <a:lstStyle/>
                    <a:p>
                      <a:pPr marL="82550" marR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i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30</a:t>
                      </a:r>
                      <a:endParaRPr lang="ko-KR" altLang="en-US" sz="1100" b="0" i="0" u="none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44563">
                <a:tc gridSpan="2">
                  <a:txBody>
                    <a:bodyPr/>
                    <a:lstStyle/>
                    <a:p>
                      <a:pPr marL="82550" marR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···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0" name="표 19"/>
          <p:cNvGraphicFramePr>
            <a:graphicFrameLocks noGrp="1"/>
          </p:cNvGraphicFramePr>
          <p:nvPr/>
        </p:nvGraphicFramePr>
        <p:xfrm>
          <a:off x="2864768" y="2348880"/>
          <a:ext cx="1728192" cy="3101067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703459"/>
                <a:gridCol w="1024733"/>
              </a:tblGrid>
              <a:tr h="344563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1pPr>
                      <a:lvl2pPr marL="478822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2pPr>
                      <a:lvl3pPr marL="957644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3pPr>
                      <a:lvl4pPr marL="1436465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4pPr>
                      <a:lvl5pPr marL="1915286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5pPr>
                      <a:lvl6pPr marL="2394107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6pPr>
                      <a:lvl7pPr marL="2872929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7pPr>
                      <a:lvl8pPr marL="3351750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8pPr>
                      <a:lvl9pPr marL="3830572" algn="l" defTabSz="957644" rtl="0" eaLnBrk="1" latinLnBrk="1" hangingPunct="1">
                        <a:defRPr sz="19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1400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계절</a:t>
                      </a:r>
                      <a:r>
                        <a:rPr lang="en-US" altLang="ko-KR" sz="1400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lang="ko-KR" altLang="en-US" sz="1400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</a:t>
                      </a:r>
                      <a:r>
                        <a:rPr lang="en-US" altLang="ko-KR" sz="1400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  <a:endParaRPr lang="ko-KR" altLang="en-US" sz="1400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  <a:alpha val="80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0">
                        <a:lnSpc>
                          <a:spcPts val="1400"/>
                        </a:lnSpc>
                      </a:pPr>
                      <a:r>
                        <a:rPr lang="ko-KR" altLang="en-US" sz="1400" b="1" spc="-10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판매량</a:t>
                      </a:r>
                      <a:endParaRPr lang="ko-KR" altLang="en-US" sz="1400" b="1" spc="-100" baseline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  <a:alpha val="80000"/>
                      </a:sysClr>
                    </a:solidFill>
                  </a:tcPr>
                </a:tc>
              </a:tr>
              <a:tr h="344563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1pPr>
                      <a:lvl2pPr marL="47882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2pPr>
                      <a:lvl3pPr marL="957644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3pPr>
                      <a:lvl4pPr marL="1436465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4pPr>
                      <a:lvl5pPr marL="1915286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5pPr>
                      <a:lvl6pPr marL="2394107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6pPr>
                      <a:lvl7pPr marL="2872929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7pPr>
                      <a:lvl8pPr marL="335175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8pPr>
                      <a:lvl9pPr marL="383057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marL="0" marR="0" lvl="0" indent="-82550" algn="ctr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1</a:t>
                      </a:r>
                      <a:r>
                        <a:rPr lang="ko-KR" altLang="en-US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월</a:t>
                      </a:r>
                      <a:endParaRPr lang="en-US" altLang="ko-KR" sz="1100" b="0" kern="0" spc="0" noProof="0" dirty="0" smtClean="0">
                        <a:solidFill>
                          <a:sysClr val="windowText" lastClr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>
                          <a:lumMod val="65000"/>
                          <a:lumOff val="3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44563">
                <a:tc>
                  <a:txBody>
                    <a:bodyPr/>
                    <a:lstStyle/>
                    <a:p>
                      <a:pPr marL="0" marR="0" lvl="0" indent="-82550" algn="ctr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</a:t>
                      </a:r>
                      <a:r>
                        <a:rPr lang="ko-KR" altLang="en-US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월</a:t>
                      </a:r>
                      <a:endParaRPr lang="en-US" altLang="ko-KR" sz="1100" b="0" kern="0" spc="0" noProof="0" dirty="0" smtClean="0">
                        <a:solidFill>
                          <a:sysClr val="windowText" lastClr="000000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44563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1pPr>
                      <a:lvl2pPr marL="47882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2pPr>
                      <a:lvl3pPr marL="957644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3pPr>
                      <a:lvl4pPr marL="1436465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4pPr>
                      <a:lvl5pPr marL="1915286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5pPr>
                      <a:lvl6pPr marL="2394107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6pPr>
                      <a:lvl7pPr marL="2872929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7pPr>
                      <a:lvl8pPr marL="335175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8pPr>
                      <a:lvl9pPr marL="383057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marL="82550" indent="-82550" algn="ctr" latinLnBrk="0">
                        <a:buFont typeface="Arial" pitchFamily="34" charset="0"/>
                        <a:buNone/>
                      </a:pPr>
                      <a:r>
                        <a:rPr lang="en-US" altLang="ko-KR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3</a:t>
                      </a:r>
                      <a:r>
                        <a:rPr lang="ko-KR" altLang="en-US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월</a:t>
                      </a:r>
                      <a:endParaRPr lang="en-US" altLang="ko-KR" sz="1100" b="0" u="none" kern="1200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44563">
                <a:tc>
                  <a:txBody>
                    <a:bodyPr/>
                    <a:lstStyle/>
                    <a:p>
                      <a:pPr marL="82550" indent="-82550" algn="ctr" latinLnBrk="0">
                        <a:buFont typeface="Arial" pitchFamily="34" charset="0"/>
                        <a:buNone/>
                      </a:pPr>
                      <a:r>
                        <a:rPr lang="en-US" altLang="ko-KR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4</a:t>
                      </a:r>
                      <a:r>
                        <a:rPr lang="ko-KR" altLang="en-US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월</a:t>
                      </a:r>
                      <a:endParaRPr lang="en-US" altLang="ko-KR" sz="1100" b="0" u="none" kern="1200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44563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1pPr>
                      <a:lvl2pPr marL="47882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2pPr>
                      <a:lvl3pPr marL="957644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3pPr>
                      <a:lvl4pPr marL="1436465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4pPr>
                      <a:lvl5pPr marL="1915286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5pPr>
                      <a:lvl6pPr marL="2394107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6pPr>
                      <a:lvl7pPr marL="2872929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7pPr>
                      <a:lvl8pPr marL="3351750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8pPr>
                      <a:lvl9pPr marL="3830572" algn="l" defTabSz="957644" rtl="0" eaLnBrk="1" latinLnBrk="1" hangingPunct="1">
                        <a:defRPr sz="1900" kern="1200">
                          <a:solidFill>
                            <a:schemeClr val="dk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marL="82550" marR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5</a:t>
                      </a:r>
                      <a:r>
                        <a:rPr lang="ko-KR" altLang="en-US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월</a:t>
                      </a:r>
                      <a:endParaRPr lang="en-US" altLang="ko-KR" sz="1100" b="0" u="none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latin typeface="맑은 고딕"/>
                        </a:rPr>
                        <a:t>5037.4</a:t>
                      </a:r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44563">
                <a:tc>
                  <a:txBody>
                    <a:bodyPr/>
                    <a:lstStyle/>
                    <a:p>
                      <a:pPr marL="82550" marR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6</a:t>
                      </a:r>
                      <a:r>
                        <a:rPr lang="ko-KR" altLang="en-US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월</a:t>
                      </a:r>
                      <a:endParaRPr lang="en-US" altLang="ko-KR" sz="1100" b="0" u="none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44563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82550" marR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7</a:t>
                      </a:r>
                      <a:r>
                        <a:rPr lang="ko-KR" altLang="en-US" sz="1100" b="0" kern="0" spc="0" noProof="0" dirty="0" smtClean="0">
                          <a:solidFill>
                            <a:sysClr val="windowText" lastClr="000000"/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월</a:t>
                      </a:r>
                      <a:endParaRPr lang="en-US" altLang="ko-KR" sz="1100" b="0" u="none" spc="0" dirty="0" smtClean="0">
                        <a:solidFill>
                          <a:schemeClr val="tx1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100" b="0" i="0" u="none" strike="noStrike" dirty="0">
                          <a:solidFill>
                            <a:srgbClr val="000000"/>
                          </a:solidFill>
                          <a:latin typeface="맑은 고딕"/>
                        </a:rPr>
                        <a:t>-22645.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44563">
                <a:tc gridSpan="2">
                  <a:txBody>
                    <a:bodyPr/>
                    <a:lstStyle/>
                    <a:p>
                      <a:pPr marL="82550" marR="0" indent="-82550" algn="ctr" defTabSz="9576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ko-KR" sz="1100" b="0" u="none" spc="0" dirty="0" smtClean="0">
                          <a:solidFill>
                            <a:schemeClr val="tx1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···</a:t>
                      </a:r>
                    </a:p>
                  </a:txBody>
                  <a:tcPr marL="72000" marR="36000" marT="28800" marB="2880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100" b="0" i="0" u="none" strike="noStrike" dirty="0">
                        <a:solidFill>
                          <a:srgbClr val="000000"/>
                        </a:solidFill>
                        <a:latin typeface="맑은 고딕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  <p:grpSp>
        <p:nvGrpSpPr>
          <p:cNvPr id="3" name="그룹 52"/>
          <p:cNvGrpSpPr>
            <a:grpSpLocks noChangeAspect="1"/>
          </p:cNvGrpSpPr>
          <p:nvPr/>
        </p:nvGrpSpPr>
        <p:grpSpPr>
          <a:xfrm rot="538037">
            <a:off x="8745342" y="971371"/>
            <a:ext cx="979200" cy="307777"/>
            <a:chOff x="-162410" y="2120401"/>
            <a:chExt cx="1491428" cy="461717"/>
          </a:xfrm>
        </p:grpSpPr>
        <p:sp>
          <p:nvSpPr>
            <p:cNvPr id="26" name="Line 17"/>
            <p:cNvSpPr>
              <a:spLocks noChangeShapeType="1"/>
            </p:cNvSpPr>
            <p:nvPr/>
          </p:nvSpPr>
          <p:spPr bwMode="auto">
            <a:xfrm flipV="1">
              <a:off x="-142612" y="2132856"/>
              <a:ext cx="1440000" cy="0"/>
            </a:xfrm>
            <a:prstGeom prst="line">
              <a:avLst/>
            </a:prstGeom>
            <a:noFill/>
            <a:ln w="25400" cmpd="tri">
              <a:solidFill>
                <a:sysClr val="windowText" lastClr="000000">
                  <a:lumMod val="65000"/>
                  <a:lumOff val="35000"/>
                </a:sys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2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u="none" kern="0" spc="-1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맑은 고딕" pitchFamily="50" charset="-127"/>
              </a:endParaRPr>
            </a:p>
          </p:txBody>
        </p:sp>
        <p:sp>
          <p:nvSpPr>
            <p:cNvPr id="27" name="Line 17"/>
            <p:cNvSpPr>
              <a:spLocks noChangeShapeType="1"/>
            </p:cNvSpPr>
            <p:nvPr/>
          </p:nvSpPr>
          <p:spPr bwMode="auto">
            <a:xfrm flipV="1">
              <a:off x="-142612" y="2564904"/>
              <a:ext cx="1440000" cy="0"/>
            </a:xfrm>
            <a:prstGeom prst="line">
              <a:avLst/>
            </a:prstGeom>
            <a:noFill/>
            <a:ln w="25400" cmpd="tri">
              <a:solidFill>
                <a:sysClr val="windowText" lastClr="000000">
                  <a:lumMod val="65000"/>
                  <a:lumOff val="35000"/>
                </a:sys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2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u="none" kern="0" spc="-1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맑은 고딕" pitchFamily="50" charset="-127"/>
              </a:endParaRPr>
            </a:p>
          </p:txBody>
        </p:sp>
        <p:sp>
          <p:nvSpPr>
            <p:cNvPr id="28" name="Text Box 16"/>
            <p:cNvSpPr txBox="1">
              <a:spLocks noChangeArrowheads="1"/>
            </p:cNvSpPr>
            <p:nvPr/>
          </p:nvSpPr>
          <p:spPr bwMode="auto">
            <a:xfrm>
              <a:off x="-162410" y="2120401"/>
              <a:ext cx="1491428" cy="46171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anchor="ctr">
              <a:spAutoFit/>
            </a:bodyPr>
            <a:lstStyle/>
            <a:p>
              <a:pPr algn="ctr" defTabSz="762000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ko-KR" u="none" kern="0" spc="-100" dirty="0" smtClean="0">
                  <a:solidFill>
                    <a:sysClr val="windowText" lastClr="000000">
                      <a:lumMod val="65000"/>
                      <a:lumOff val="35000"/>
                    </a:sysClr>
                  </a:solidFill>
                  <a:latin typeface="맑은 고딕" pitchFamily="50" charset="-127"/>
                </a:rPr>
                <a:t>Illustrative</a:t>
              </a:r>
              <a:endParaRPr lang="ko-KR" altLang="en-US" u="none" kern="0" spc="-1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맑은 고딕" pitchFamily="50" charset="-127"/>
              </a:endParaRP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표 13"/>
          <p:cNvGraphicFramePr>
            <a:graphicFrameLocks noGrp="1"/>
          </p:cNvGraphicFramePr>
          <p:nvPr/>
        </p:nvGraphicFramePr>
        <p:xfrm>
          <a:off x="920551" y="1052736"/>
          <a:ext cx="7920881" cy="52980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8133"/>
                <a:gridCol w="1584175"/>
                <a:gridCol w="4277276"/>
                <a:gridCol w="871297"/>
              </a:tblGrid>
              <a:tr h="25451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u="none" kern="0" spc="3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일정</a:t>
                      </a:r>
                    </a:p>
                  </a:txBody>
                  <a:tcPr marL="90000" marR="90000" marT="54000" marB="54000"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u="none" kern="0" spc="3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항목</a:t>
                      </a:r>
                    </a:p>
                  </a:txBody>
                  <a:tcPr marL="90000" marR="90000" marT="54000" marB="54000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u="none" kern="0" spc="3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내용</a:t>
                      </a:r>
                    </a:p>
                  </a:txBody>
                  <a:tcPr marL="90000" marR="90000" marT="54000" marB="54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u="none" kern="0" spc="3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기간</a:t>
                      </a:r>
                    </a:p>
                  </a:txBody>
                  <a:tcPr marL="90000" marR="90000" marT="54000" marB="54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04062">
                <a:tc>
                  <a:txBody>
                    <a:bodyPr/>
                    <a:lstStyle/>
                    <a:p>
                      <a:pPr marL="177800" marR="0" lvl="0" indent="-177800" algn="r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’04.10.22 ~ ‘04.10.28</a:t>
                      </a:r>
                    </a:p>
                  </a:txBody>
                  <a:tcPr marL="54000" marR="180000" marT="54000" marB="54000" anchor="ctr"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ctr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R </a:t>
                      </a: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기본교육</a:t>
                      </a:r>
                      <a:endParaRPr kumimoji="0" lang="en-US" altLang="ko-KR" sz="13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54000" marR="180000" marT="54000" marB="54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R </a:t>
                      </a: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기본교육</a:t>
                      </a: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(</a:t>
                      </a: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데이터 읽기</a:t>
                      </a: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데이터 처리</a:t>
                      </a: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데이터 저장하기</a:t>
                      </a: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)</a:t>
                      </a:r>
                    </a:p>
                    <a:p>
                      <a:pPr marL="177800" marR="0" lvl="0" indent="-177800" algn="l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회귀분석 </a:t>
                      </a: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 </a:t>
                      </a:r>
                      <a:r>
                        <a:rPr kumimoji="0" lang="ko-KR" altLang="en-US" sz="1300" b="0" i="0" u="none" strike="noStrike" kern="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시계열</a:t>
                      </a: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분석</a:t>
                      </a:r>
                      <a:endParaRPr kumimoji="0" lang="en-US" altLang="ko-KR" sz="13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90000" marR="90000" marT="54000" marB="54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1</a:t>
                      </a:r>
                      <a:r>
                        <a:rPr kumimoji="0" lang="ko-KR" altLang="en-U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주</a:t>
                      </a:r>
                      <a:endParaRPr kumimoji="0" lang="en-US" altLang="ko-KR" sz="14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90000" marR="90000" marT="54000" marB="54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56179">
                <a:tc>
                  <a:txBody>
                    <a:bodyPr/>
                    <a:lstStyle/>
                    <a:p>
                      <a:pPr marL="177800" marR="0" lvl="0" indent="-177800" algn="r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’04.10.29 ~ ‘04.11.14</a:t>
                      </a:r>
                      <a:endParaRPr kumimoji="0" lang="ko-KR" altLang="en-US" sz="13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54000" marR="180000" marT="54000" marB="54000" anchor="ctr"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ctr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300" b="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기존 모형이해</a:t>
                      </a:r>
                      <a:endParaRPr lang="en-US" altLang="ko-KR" sz="1300" b="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4000" marR="180000" marT="54000" marB="54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R Script</a:t>
                      </a: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에 대한 </a:t>
                      </a: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full understanding(Cass &amp; </a:t>
                      </a:r>
                      <a:r>
                        <a:rPr kumimoji="0" lang="ko-KR" altLang="en-US" sz="1300" b="0" i="0" u="none" strike="noStrike" kern="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그외</a:t>
                      </a: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브랜드 </a:t>
                      </a: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Package </a:t>
                      </a: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포함</a:t>
                      </a: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)</a:t>
                      </a:r>
                    </a:p>
                  </a:txBody>
                  <a:tcPr marL="90000" marR="90000" marT="54000" marB="54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2</a:t>
                      </a:r>
                      <a:r>
                        <a:rPr kumimoji="0" lang="ko-KR" altLang="en-U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주</a:t>
                      </a:r>
                      <a:endParaRPr kumimoji="0" lang="en-US" altLang="ko-KR" sz="14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90000" marR="90000" marT="54000" marB="54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04062">
                <a:tc>
                  <a:txBody>
                    <a:bodyPr/>
                    <a:lstStyle/>
                    <a:p>
                      <a:pPr marL="177800" marR="0" lvl="0" indent="-177800" algn="r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’04.11.17 ~ ‘04.11.21</a:t>
                      </a:r>
                      <a:endParaRPr kumimoji="0" lang="ko-KR" altLang="en-US" sz="13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54000" marR="180000" marT="54000" marB="54000" anchor="ctr"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ctr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변수 수정</a:t>
                      </a: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추가</a:t>
                      </a:r>
                      <a:endParaRPr kumimoji="0" lang="en-US" altLang="ko-KR" sz="13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54000" marR="180000" marT="54000" marB="54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Setting</a:t>
                      </a: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되어 있는 변수 수정</a:t>
                      </a: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추가</a:t>
                      </a:r>
                      <a:endParaRPr kumimoji="0" lang="en-US" altLang="ko-KR" sz="13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177800" marR="0" lvl="0" indent="-177800" algn="l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R script</a:t>
                      </a: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에서 변수 수정</a:t>
                      </a: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추가</a:t>
                      </a:r>
                      <a:endParaRPr kumimoji="0" lang="en-US" altLang="ko-KR" sz="13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90000" marR="90000" marT="54000" marB="54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ctr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1</a:t>
                      </a:r>
                      <a:r>
                        <a:rPr kumimoji="0" lang="ko-KR" altLang="en-U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주</a:t>
                      </a:r>
                      <a:endParaRPr kumimoji="0" lang="en-US" altLang="ko-KR" sz="14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90000" marR="90000" marT="54000" marB="54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2992">
                <a:tc>
                  <a:txBody>
                    <a:bodyPr/>
                    <a:lstStyle/>
                    <a:p>
                      <a:pPr marL="177800" marR="0" lvl="0" indent="-177800" algn="r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’04.11.24 ~ ‘04.11.28</a:t>
                      </a:r>
                      <a:endParaRPr kumimoji="0" lang="ko-KR" altLang="en-US" sz="13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54000" marR="180000" marT="54000" marB="54000" anchor="ctr"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ctr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새로운 </a:t>
                      </a: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Event  </a:t>
                      </a: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반영</a:t>
                      </a:r>
                      <a:endParaRPr kumimoji="0" lang="en-US" altLang="ko-KR" sz="13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54000" marR="180000" marT="54000" marB="54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명절</a:t>
                      </a: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(</a:t>
                      </a: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설</a:t>
                      </a: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/</a:t>
                      </a: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추석</a:t>
                      </a: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)</a:t>
                      </a: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이벤트 반영</a:t>
                      </a:r>
                      <a:endParaRPr kumimoji="0" lang="en-US" altLang="ko-KR" sz="13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177800" marR="0" lvl="0" indent="-177800" algn="l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Claim </a:t>
                      </a: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이벤트 반영</a:t>
                      </a:r>
                      <a:endParaRPr kumimoji="0" lang="en-US" altLang="ko-KR" sz="13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90000" marR="90000" marT="54000" marB="54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ctr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1</a:t>
                      </a:r>
                      <a:r>
                        <a:rPr kumimoji="0" lang="ko-KR" altLang="en-U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주</a:t>
                      </a:r>
                      <a:endParaRPr kumimoji="0" lang="en-US" altLang="ko-KR" sz="14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90000" marR="90000" marT="54000" marB="54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04146">
                <a:tc>
                  <a:txBody>
                    <a:bodyPr/>
                    <a:lstStyle/>
                    <a:p>
                      <a:pPr marL="177800" marR="0" lvl="0" indent="-177800" algn="r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’04.12.08 ~ ‘04.12.12</a:t>
                      </a:r>
                      <a:endParaRPr kumimoji="0" lang="ko-KR" altLang="en-US" sz="13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54000" marR="180000" marT="54000" marB="54000" anchor="ctr"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ctr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새로운 모형 생성</a:t>
                      </a:r>
                      <a:endParaRPr kumimoji="0" lang="en-US" altLang="ko-KR" sz="13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54000" marR="180000" marT="54000" marB="54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기본 틀 생성하기</a:t>
                      </a:r>
                      <a:endParaRPr kumimoji="0" lang="en-US" altLang="ko-KR" sz="13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177800" marR="0" lvl="0" indent="-177800" algn="l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Trend </a:t>
                      </a: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반영하기</a:t>
                      </a:r>
                      <a:endParaRPr kumimoji="0" lang="en-US" altLang="ko-KR" sz="13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177800" marR="0" lvl="0" indent="-177800" algn="l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Event </a:t>
                      </a: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반영하기</a:t>
                      </a:r>
                      <a:endParaRPr kumimoji="0" lang="en-US" altLang="ko-KR" sz="13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90000" marR="90000" marT="54000" marB="54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ctr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1</a:t>
                      </a:r>
                      <a:r>
                        <a:rPr kumimoji="0" lang="ko-KR" altLang="en-U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주</a:t>
                      </a:r>
                      <a:endParaRPr kumimoji="0" lang="en-US" altLang="ko-KR" sz="14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90000" marR="90000" marT="54000" marB="54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2992">
                <a:tc>
                  <a:txBody>
                    <a:bodyPr/>
                    <a:lstStyle/>
                    <a:p>
                      <a:pPr marL="177800" marR="0" lvl="0" indent="-177800" algn="r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’04.12.15 ~ ‘04.12.19</a:t>
                      </a:r>
                      <a:endParaRPr kumimoji="0" lang="ko-KR" altLang="en-US" sz="13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54000" marR="180000" marT="54000" marB="54000" anchor="ctr"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ctr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300" b="0" i="0" u="none" strike="noStrike" kern="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잔차변동성</a:t>
                      </a: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모형</a:t>
                      </a:r>
                      <a:endParaRPr kumimoji="0" lang="en-US" altLang="ko-KR" sz="13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54000" marR="180000" marT="54000" marB="54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1300" b="0" i="0" u="none" strike="noStrike" kern="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잔차변동성모형에</a:t>
                      </a: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대한 이해 </a:t>
                      </a:r>
                      <a:endParaRPr kumimoji="0" lang="en-US" altLang="ko-KR" sz="13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177800" marR="0" lvl="0" indent="-177800" algn="l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ko-KR" altLang="en-US" sz="1300" b="0" i="0" u="none" strike="noStrike" kern="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잔차변동성모형에</a:t>
                      </a: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대한 </a:t>
                      </a: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R Script </a:t>
                      </a: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이해</a:t>
                      </a:r>
                      <a:endParaRPr kumimoji="0" lang="en-US" altLang="ko-KR" sz="13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90000" marR="90000" marT="54000" marB="54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ctr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1</a:t>
                      </a:r>
                      <a:r>
                        <a:rPr kumimoji="0" lang="ko-KR" altLang="en-U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주</a:t>
                      </a:r>
                      <a:endParaRPr kumimoji="0" lang="en-US" altLang="ko-KR" sz="14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90000" marR="90000" marT="54000" marB="54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76216">
                <a:tc>
                  <a:txBody>
                    <a:bodyPr/>
                    <a:lstStyle/>
                    <a:p>
                      <a:pPr marL="177800" marR="0" lvl="0" indent="-177800" algn="r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‘04.12.19 ~ ‘04.12.27</a:t>
                      </a:r>
                    </a:p>
                  </a:txBody>
                  <a:tcPr marL="54000" marR="180000" marT="54000" marB="54000" anchor="ctr"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ctr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Champion &amp; Challenger </a:t>
                      </a:r>
                    </a:p>
                  </a:txBody>
                  <a:tcPr marL="54000" marR="180000" marT="54000" marB="54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Champion&amp; Challenger</a:t>
                      </a: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대한 이해 </a:t>
                      </a:r>
                      <a:endParaRPr kumimoji="0" lang="en-US" altLang="ko-KR" sz="13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  <a:p>
                      <a:pPr marL="177800" marR="0" lvl="0" indent="-177800" algn="l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>
                          <a:prstClr val="blac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Champion&amp; Challenger</a:t>
                      </a: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 대한 </a:t>
                      </a: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R Script </a:t>
                      </a: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이해</a:t>
                      </a:r>
                      <a:endParaRPr kumimoji="0" lang="en-US" altLang="ko-KR" sz="13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itchFamily="50" charset="-127"/>
                        <a:ea typeface="맑은 고딕" pitchFamily="50" charset="-127"/>
                        <a:cs typeface="+mn-cs"/>
                      </a:endParaRPr>
                    </a:p>
                  </a:txBody>
                  <a:tcPr marL="90000" marR="90000" marT="54000" marB="54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60" rtl="0" eaLnBrk="1" fontAlgn="base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0"/>
                        </a:spcAft>
                        <a:buClr>
                          <a:srgbClr val="8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1</a:t>
                      </a:r>
                      <a:r>
                        <a:rPr kumimoji="0" lang="ko-KR" altLang="en-US" sz="13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uLnTx/>
                          <a:uFillTx/>
                          <a:latin typeface="맑은 고딕" pitchFamily="50" charset="-127"/>
                          <a:ea typeface="맑은 고딕" pitchFamily="50" charset="-127"/>
                          <a:cs typeface="+mn-cs"/>
                        </a:rPr>
                        <a:t>주</a:t>
                      </a:r>
                    </a:p>
                  </a:txBody>
                  <a:tcPr marL="90000" marR="90000" marT="54000" marB="5400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7" name="Rectangle 2"/>
          <p:cNvSpPr>
            <a:spLocks noGrp="1" noChangeArrowheads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dirty="0" smtClean="0">
                <a:latin typeface="맑은 고딕" pitchFamily="50" charset="-127"/>
              </a:rPr>
              <a:t>모형 교육 </a:t>
            </a:r>
            <a:r>
              <a:rPr lang="en-US" altLang="ko-KR" dirty="0" smtClean="0">
                <a:latin typeface="맑은 고딕" pitchFamily="50" charset="-127"/>
              </a:rPr>
              <a:t>– </a:t>
            </a:r>
            <a:r>
              <a:rPr lang="ko-KR" altLang="en-US" dirty="0" smtClean="0">
                <a:latin typeface="맑은 고딕" pitchFamily="50" charset="-127"/>
              </a:rPr>
              <a:t>교육 범위 및 일정</a:t>
            </a:r>
            <a:endParaRPr lang="en-US" altLang="ko-KR" dirty="0" smtClean="0">
              <a:latin typeface="맑은 고딕" pitchFamily="50" charset="-127"/>
            </a:endParaRPr>
          </a:p>
        </p:txBody>
      </p:sp>
      <p:sp>
        <p:nvSpPr>
          <p:cNvPr id="18" name="Rectangle 3"/>
          <p:cNvSpPr txBox="1">
            <a:spLocks noChangeArrowheads="1"/>
          </p:cNvSpPr>
          <p:nvPr/>
        </p:nvSpPr>
        <p:spPr bwMode="auto">
          <a:xfrm>
            <a:off x="273050" y="620688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1pPr>
            <a:lvl2pPr marL="742950" indent="-28575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2pPr>
            <a:lvl3pPr marL="11430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3pPr>
            <a:lvl4pPr marL="16002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4pPr>
            <a:lvl5pPr marL="2057400" indent="-228600" eaLnBrk="0" hangingPunct="0"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 u="sng">
                <a:solidFill>
                  <a:schemeClr val="tx1"/>
                </a:solidFill>
                <a:latin typeface="Calibri" pitchFamily="34" charset="0"/>
                <a:ea typeface="맑은 고딕" pitchFamily="50" charset="-127"/>
              </a:defRPr>
            </a:lvl9pPr>
          </a:lstStyle>
          <a:p>
            <a:pPr defTabSz="957240">
              <a:defRPr/>
            </a:pPr>
            <a:r>
              <a:rPr kumimoji="1" lang="en-US" altLang="ko-KR" sz="1600" u="none" dirty="0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R </a:t>
            </a:r>
            <a:r>
              <a:rPr kumimoji="1" lang="ko-KR" altLang="en-US" sz="1600" u="none" dirty="0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기본교육 </a:t>
            </a:r>
            <a:r>
              <a:rPr kumimoji="1" lang="en-US" altLang="ko-KR" sz="1600" u="none" dirty="0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1</a:t>
            </a:r>
            <a:r>
              <a:rPr kumimoji="1" lang="ko-KR" altLang="en-US" sz="1600" u="none" dirty="0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주</a:t>
            </a:r>
            <a:r>
              <a:rPr kumimoji="1" lang="en-US" altLang="ko-KR" sz="1600" u="none" dirty="0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, </a:t>
            </a:r>
            <a:r>
              <a:rPr kumimoji="1" lang="ko-KR" altLang="en-US" sz="1600" u="none" dirty="0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모형 이해 및 수정 </a:t>
            </a:r>
            <a:r>
              <a:rPr kumimoji="1" lang="en-US" altLang="ko-KR" sz="1600" u="none" dirty="0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6</a:t>
            </a:r>
            <a:r>
              <a:rPr kumimoji="1" lang="ko-KR" altLang="en-US" sz="1600" u="none" dirty="0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주</a:t>
            </a:r>
            <a:r>
              <a:rPr kumimoji="1" lang="en-US" altLang="ko-KR" sz="1600" u="none" dirty="0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,</a:t>
            </a:r>
            <a:r>
              <a:rPr kumimoji="1" lang="ko-KR" altLang="en-US" sz="1600" u="none" dirty="0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 새로운 모형 생성 </a:t>
            </a:r>
            <a:r>
              <a:rPr kumimoji="1" lang="en-US" altLang="ko-KR" sz="1600" u="none" dirty="0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1</a:t>
            </a:r>
            <a:r>
              <a:rPr kumimoji="1" lang="ko-KR" altLang="en-US" sz="1600" u="none" dirty="0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주 총 </a:t>
            </a:r>
            <a:r>
              <a:rPr kumimoji="1" lang="en-US" altLang="ko-KR" sz="1600" u="none" dirty="0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8</a:t>
            </a:r>
            <a:r>
              <a:rPr kumimoji="1" lang="ko-KR" altLang="en-US" sz="1600" u="none" dirty="0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주 수행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466" name="제목 2"/>
          <p:cNvSpPr>
            <a:spLocks noGrp="1"/>
          </p:cNvSpPr>
          <p:nvPr>
            <p:ph type="ctrTitle"/>
          </p:nvPr>
        </p:nvSpPr>
        <p:spPr>
          <a:xfrm>
            <a:off x="733425" y="3716338"/>
            <a:ext cx="8420100" cy="549275"/>
          </a:xfrm>
        </p:spPr>
        <p:txBody>
          <a:bodyPr/>
          <a:lstStyle/>
          <a:p>
            <a:pPr algn="ctr">
              <a:lnSpc>
                <a:spcPct val="90000"/>
              </a:lnSpc>
              <a:spcBef>
                <a:spcPct val="20000"/>
              </a:spcBef>
            </a:pPr>
            <a:r>
              <a:rPr lang="ko-KR" altLang="en-US" sz="3200" smtClean="0"/>
              <a:t>감사합니다</a:t>
            </a:r>
            <a:endParaRPr lang="en-US" altLang="ko-KR" sz="3200" smtClean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altLang="ko-KR" dirty="0" smtClean="0">
                <a:solidFill>
                  <a:schemeClr val="accent4"/>
                </a:solidFill>
                <a:latin typeface="맑은 고딕" pitchFamily="50" charset="-127"/>
              </a:rPr>
              <a:t>Table of Contents</a:t>
            </a: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538163" y="1661815"/>
            <a:ext cx="8832850" cy="327025"/>
          </a:xfrm>
          <a:prstGeom prst="rect">
            <a:avLst/>
          </a:prstGeo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95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anchor="ctr"/>
          <a:lstStyle/>
          <a:p>
            <a:pPr>
              <a:defRPr/>
            </a:pPr>
            <a:endParaRPr lang="ko-KR" altLang="en-US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96129" y="1182813"/>
            <a:ext cx="7929279" cy="49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1997" tIns="0" rIns="71997" bIns="0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16510"/>
              <a:contourClr>
                <a:schemeClr val="bg1"/>
              </a:contourClr>
            </a:sp3d>
          </a:bodyPr>
          <a:lstStyle/>
          <a:p>
            <a:pPr marL="177800" lvl="1" indent="-173038" fontAlgn="auto">
              <a:lnSpc>
                <a:spcPct val="150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1500" u="none" kern="0" dirty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프로젝트 </a:t>
            </a:r>
            <a:r>
              <a:rPr lang="ko-KR" altLang="en-US" sz="1500" u="none" kern="0" dirty="0" smtClean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개요</a:t>
            </a:r>
            <a:endParaRPr lang="en-US" altLang="ko-KR" sz="1500" u="none" kern="0" dirty="0">
              <a:ln w="15875">
                <a:noFill/>
              </a:ln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  <a:p>
            <a:pPr marL="177800" lvl="1" indent="-173038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1500" u="none" kern="0" dirty="0" smtClean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프로젝트 상세</a:t>
            </a:r>
            <a:endParaRPr lang="en-US" altLang="ko-KR" sz="1500" u="none" kern="0" dirty="0" smtClean="0">
              <a:ln w="15875">
                <a:noFill/>
              </a:ln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  <a:p>
            <a:pPr marL="530225" lvl="2" indent="-173038" fontAlgn="auto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ko-KR" altLang="en-US" u="none" kern="0" dirty="0" smtClean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모형 결과</a:t>
            </a:r>
            <a:endParaRPr lang="en-US" altLang="ko-KR" u="none" kern="0" dirty="0" smtClean="0">
              <a:ln w="15875">
                <a:noFill/>
              </a:ln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  <a:p>
            <a:pPr marL="987425" lvl="3" indent="-173038" fontAlgn="auto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 typeface="맑은 고딕" pitchFamily="50" charset="-127"/>
              <a:buChar char="–"/>
              <a:defRPr/>
            </a:pPr>
            <a:r>
              <a:rPr lang="en-US" altLang="ko-KR" u="none" kern="0" dirty="0" smtClean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Claim </a:t>
            </a:r>
            <a:r>
              <a:rPr lang="ko-KR" altLang="en-US" u="none" kern="0" dirty="0" smtClean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이슈</a:t>
            </a:r>
            <a:r>
              <a:rPr lang="en-US" altLang="ko-KR" u="none" kern="0" dirty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 </a:t>
            </a:r>
            <a:r>
              <a:rPr lang="ko-KR" altLang="en-US" u="none" kern="0" dirty="0" smtClean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전</a:t>
            </a:r>
            <a:r>
              <a:rPr lang="en-US" altLang="ko-KR" u="none" kern="0" dirty="0" smtClean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•</a:t>
            </a:r>
            <a:r>
              <a:rPr lang="ko-KR" altLang="en-US" u="none" kern="0" dirty="0" smtClean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후 모형 비교</a:t>
            </a:r>
            <a:endParaRPr lang="en-US" altLang="ko-KR" u="none" kern="0" dirty="0" smtClean="0">
              <a:ln w="15875">
                <a:noFill/>
              </a:ln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  <a:p>
            <a:pPr marL="987425" lvl="3" indent="-173038" fontAlgn="auto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 typeface="맑은 고딕" pitchFamily="50" charset="-127"/>
              <a:buChar char="–"/>
              <a:defRPr/>
            </a:pPr>
            <a:r>
              <a:rPr lang="ko-KR" altLang="en-US" u="none" kern="0" dirty="0" smtClean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주요 변수 항목</a:t>
            </a:r>
            <a:endParaRPr lang="en-US" altLang="ko-KR" u="none" kern="0" dirty="0" smtClean="0">
              <a:ln w="15875">
                <a:noFill/>
              </a:ln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  <a:p>
            <a:pPr marL="987425" lvl="3" indent="-173038" fontAlgn="auto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 typeface="맑은 고딕" pitchFamily="50" charset="-127"/>
              <a:buChar char="–"/>
              <a:defRPr/>
            </a:pPr>
            <a:r>
              <a:rPr lang="ko-KR" altLang="en-US" u="none" kern="0" dirty="0" smtClean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기온</a:t>
            </a:r>
            <a:r>
              <a:rPr lang="en-US" altLang="ko-KR" u="none" kern="0" dirty="0" smtClean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/</a:t>
            </a:r>
            <a:r>
              <a:rPr lang="ko-KR" altLang="en-US" u="none" kern="0" dirty="0" smtClean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휴일 변수의 영향도 분석 </a:t>
            </a:r>
            <a:endParaRPr lang="en-US" altLang="ko-KR" u="none" kern="0" dirty="0" smtClean="0">
              <a:ln w="15875">
                <a:noFill/>
              </a:ln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  <a:p>
            <a:pPr marL="530225" lvl="2" indent="-173038" fontAlgn="auto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ko-KR" altLang="en-US" u="none" kern="0" dirty="0" smtClean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모형 구축 방안</a:t>
            </a:r>
            <a:endParaRPr lang="en-US" altLang="ko-KR" u="none" kern="0" dirty="0" smtClean="0">
              <a:ln w="15875">
                <a:noFill/>
              </a:ln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  <a:p>
            <a:pPr marL="987425" lvl="3" indent="-173038" fontAlgn="auto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 typeface="맑은 고딕" pitchFamily="50" charset="-127"/>
              <a:buChar char="–"/>
              <a:defRPr/>
            </a:pPr>
            <a:r>
              <a:rPr lang="ko-KR" altLang="en-US" u="none" kern="0" dirty="0" smtClean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회귀분석 모델링 </a:t>
            </a:r>
            <a:endParaRPr lang="en-US" altLang="ko-KR" u="none" kern="0" dirty="0">
              <a:ln w="15875">
                <a:noFill/>
              </a:ln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  <a:p>
            <a:pPr marL="987425" lvl="3" indent="-173038" fontAlgn="auto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 typeface="맑은 고딕" pitchFamily="50" charset="-127"/>
              <a:buChar char="–"/>
              <a:defRPr/>
            </a:pPr>
            <a:r>
              <a:rPr lang="en-US" altLang="ko-KR" u="none" kern="0" dirty="0" smtClean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Claim</a:t>
            </a:r>
            <a:r>
              <a:rPr lang="ko-KR" altLang="en-US" u="none" kern="0" dirty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 </a:t>
            </a:r>
            <a:r>
              <a:rPr lang="ko-KR" altLang="en-US" u="none" kern="0" dirty="0" smtClean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이슈</a:t>
            </a:r>
            <a:r>
              <a:rPr lang="ko-KR" altLang="en-US" u="none" kern="0" dirty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 </a:t>
            </a:r>
            <a:r>
              <a:rPr lang="ko-KR" altLang="en-US" u="none" kern="0" dirty="0" smtClean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후 모형 보정</a:t>
            </a:r>
            <a:endParaRPr lang="en-US" altLang="ko-KR" u="none" kern="0" dirty="0" smtClean="0">
              <a:ln w="15875">
                <a:noFill/>
              </a:ln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  <a:p>
            <a:pPr marL="530225" lvl="2" indent="-173038" fontAlgn="auto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ko-KR" altLang="en-US" u="none" kern="0" dirty="0" smtClean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모형 교육</a:t>
            </a:r>
            <a:endParaRPr lang="en-US" altLang="ko-KR" u="none" kern="0" dirty="0" smtClean="0">
              <a:ln w="15875">
                <a:noFill/>
              </a:ln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  <a:p>
            <a:pPr marL="987425" lvl="3" indent="-173038" fontAlgn="auto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 typeface="맑은 고딕" pitchFamily="50" charset="-127"/>
              <a:buChar char="–"/>
              <a:defRPr/>
            </a:pPr>
            <a:r>
              <a:rPr lang="ko-KR" altLang="en-US" u="none" kern="0" dirty="0" smtClean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교육 목적</a:t>
            </a:r>
            <a:endParaRPr lang="en-US" altLang="ko-KR" u="none" kern="0" dirty="0" smtClean="0">
              <a:ln w="15875">
                <a:noFill/>
              </a:ln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  <a:p>
            <a:pPr marL="987425" lvl="3" indent="-173038" fontAlgn="auto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Font typeface="맑은 고딕" pitchFamily="50" charset="-127"/>
              <a:buChar char="–"/>
              <a:defRPr/>
            </a:pPr>
            <a:r>
              <a:rPr lang="ko-KR" altLang="en-US" u="none" kern="0" dirty="0" smtClean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교육 범위 및 일정</a:t>
            </a:r>
            <a:endParaRPr lang="en-US" altLang="ko-KR" u="none" kern="0" dirty="0" smtClean="0">
              <a:ln w="15875">
                <a:noFill/>
              </a:ln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  <a:p>
            <a:pPr marL="177800" lvl="1" indent="-173038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o-KR" altLang="en-US" sz="1500" u="none" kern="0" dirty="0" smtClean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프로젝트 유지보수</a:t>
            </a:r>
            <a:r>
              <a:rPr lang="en-US" altLang="ko-KR" sz="1500" u="none" kern="0" dirty="0" smtClean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 </a:t>
            </a:r>
          </a:p>
          <a:p>
            <a:pPr marL="177800" lvl="1" indent="-173038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ko-KR" sz="1500" u="none" kern="0" dirty="0" smtClean="0">
                <a:ln w="15875"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latin typeface="맑은 고딕" pitchFamily="50" charset="-127"/>
              </a:rPr>
              <a:t>Appendix</a:t>
            </a:r>
            <a:endParaRPr lang="en-US" altLang="ko-KR" sz="1500" u="none" kern="0" dirty="0">
              <a:ln w="15875">
                <a:noFill/>
              </a:ln>
              <a:solidFill>
                <a:srgbClr val="000000">
                  <a:lumMod val="95000"/>
                  <a:lumOff val="5000"/>
                </a:srgbClr>
              </a:solidFill>
              <a:latin typeface="맑은 고딕" pitchFamily="50" charset="-127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차트 15"/>
          <p:cNvGraphicFramePr/>
          <p:nvPr/>
        </p:nvGraphicFramePr>
        <p:xfrm>
          <a:off x="95216" y="3703638"/>
          <a:ext cx="8632123" cy="29289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 Box 16"/>
          <p:cNvSpPr txBox="1">
            <a:spLocks noChangeArrowheads="1"/>
          </p:cNvSpPr>
          <p:nvPr/>
        </p:nvSpPr>
        <p:spPr bwMode="auto">
          <a:xfrm>
            <a:off x="599281" y="1052736"/>
            <a:ext cx="7199313" cy="839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>
              <a:spcBef>
                <a:spcPct val="20000"/>
              </a:spcBef>
              <a:buFont typeface="Wingdings" pitchFamily="2" charset="2"/>
              <a:buChar char="l"/>
            </a:pPr>
            <a:r>
              <a:rPr lang="ko-KR" altLang="en-US" sz="1300" u="none" dirty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lang="ko-KR" altLang="en-US" sz="1300" u="none" dirty="0" smtClean="0">
                <a:solidFill>
                  <a:srgbClr val="000000"/>
                </a:solidFill>
                <a:latin typeface="맑은 고딕" pitchFamily="50" charset="-127"/>
              </a:rPr>
              <a:t>회사전체 </a:t>
            </a:r>
            <a:r>
              <a:rPr lang="ko-KR" altLang="en-US" sz="1300" u="none" dirty="0">
                <a:solidFill>
                  <a:srgbClr val="000000"/>
                </a:solidFill>
                <a:latin typeface="맑은 고딕" pitchFamily="50" charset="-127"/>
              </a:rPr>
              <a:t>판매량 </a:t>
            </a:r>
            <a:r>
              <a:rPr lang="ko-KR" altLang="en-US" sz="1300" u="none" dirty="0" smtClean="0">
                <a:solidFill>
                  <a:srgbClr val="000000"/>
                </a:solidFill>
                <a:latin typeface="맑은 고딕" pitchFamily="50" charset="-127"/>
              </a:rPr>
              <a:t>월별 </a:t>
            </a:r>
            <a:r>
              <a:rPr lang="ko-KR" altLang="en-US" sz="1300" u="none" dirty="0">
                <a:solidFill>
                  <a:srgbClr val="000000"/>
                </a:solidFill>
                <a:latin typeface="맑은 고딕" pitchFamily="50" charset="-127"/>
              </a:rPr>
              <a:t>예측 </a:t>
            </a:r>
            <a:r>
              <a:rPr lang="en-US" altLang="ko-KR" sz="1300" u="none" dirty="0">
                <a:solidFill>
                  <a:srgbClr val="000000"/>
                </a:solidFill>
                <a:latin typeface="맑은 고딕" pitchFamily="50" charset="-127"/>
              </a:rPr>
              <a:t>(</a:t>
            </a:r>
            <a:r>
              <a:rPr lang="en-US" altLang="ko-KR" sz="1300" u="none" dirty="0" smtClean="0">
                <a:solidFill>
                  <a:srgbClr val="000000"/>
                </a:solidFill>
                <a:latin typeface="맑은 고딕" pitchFamily="50" charset="-127"/>
              </a:rPr>
              <a:t>2014-01 </a:t>
            </a:r>
            <a:r>
              <a:rPr lang="en-US" altLang="ko-KR" sz="1300" u="none" dirty="0">
                <a:solidFill>
                  <a:srgbClr val="000000"/>
                </a:solidFill>
                <a:latin typeface="맑은 고딕" pitchFamily="50" charset="-127"/>
              </a:rPr>
              <a:t>~ </a:t>
            </a:r>
            <a:r>
              <a:rPr lang="en-US" altLang="ko-KR" sz="1300" u="none" dirty="0" smtClean="0">
                <a:solidFill>
                  <a:srgbClr val="000000"/>
                </a:solidFill>
                <a:latin typeface="맑은 고딕" pitchFamily="50" charset="-127"/>
              </a:rPr>
              <a:t>2014-08)</a:t>
            </a:r>
            <a:endParaRPr lang="en-US" altLang="ko-KR" sz="1300" u="none" dirty="0">
              <a:solidFill>
                <a:srgbClr val="000000"/>
              </a:solidFill>
              <a:latin typeface="맑은 고딕" pitchFamily="50" charset="-127"/>
            </a:endParaRPr>
          </a:p>
          <a:p>
            <a:pPr>
              <a:spcBef>
                <a:spcPct val="20000"/>
              </a:spcBef>
            </a:pPr>
            <a:r>
              <a:rPr lang="en-US" altLang="ko-KR" sz="1300" u="none" baseline="30000" dirty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lang="en-US" altLang="ko-KR" sz="1300" u="none" dirty="0">
                <a:solidFill>
                  <a:srgbClr val="000000"/>
                </a:solidFill>
                <a:latin typeface="맑은 고딕" pitchFamily="50" charset="-127"/>
              </a:rPr>
              <a:t>   - </a:t>
            </a:r>
            <a:r>
              <a:rPr lang="ko-KR" altLang="en-US" sz="1300" u="none" dirty="0">
                <a:solidFill>
                  <a:srgbClr val="000000"/>
                </a:solidFill>
                <a:latin typeface="맑은 고딕" pitchFamily="50" charset="-127"/>
              </a:rPr>
              <a:t>평균정확도</a:t>
            </a:r>
            <a:r>
              <a:rPr lang="en-US" altLang="ko-KR" sz="1300" u="none" dirty="0">
                <a:solidFill>
                  <a:srgbClr val="000000"/>
                </a:solidFill>
                <a:latin typeface="맑은 고딕" pitchFamily="50" charset="-127"/>
              </a:rPr>
              <a:t>: Claim </a:t>
            </a:r>
            <a:r>
              <a:rPr lang="ko-KR" altLang="en-US" sz="1300" u="none" dirty="0">
                <a:solidFill>
                  <a:srgbClr val="000000"/>
                </a:solidFill>
                <a:latin typeface="맑은 고딕" pitchFamily="50" charset="-127"/>
              </a:rPr>
              <a:t>전</a:t>
            </a:r>
            <a:r>
              <a:rPr lang="en-US" altLang="ko-KR" sz="1300" u="none" dirty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lang="ko-KR" altLang="en-US" sz="1300" u="none" dirty="0" smtClean="0">
                <a:solidFill>
                  <a:srgbClr val="000000"/>
                </a:solidFill>
                <a:latin typeface="맑은 고딕" pitchFamily="50" charset="-127"/>
              </a:rPr>
              <a:t>월 평균 </a:t>
            </a:r>
            <a:r>
              <a:rPr lang="en-US" altLang="ko-KR" sz="1300" u="none" dirty="0" smtClean="0">
                <a:solidFill>
                  <a:srgbClr val="000000"/>
                </a:solidFill>
                <a:latin typeface="맑은 고딕" pitchFamily="50" charset="-127"/>
              </a:rPr>
              <a:t>99% </a:t>
            </a:r>
            <a:r>
              <a:rPr lang="en-US" altLang="ko-KR" sz="1300" u="none" dirty="0">
                <a:solidFill>
                  <a:srgbClr val="000000"/>
                </a:solidFill>
                <a:latin typeface="맑은 고딕" pitchFamily="50" charset="-127"/>
              </a:rPr>
              <a:t>-&gt; Claim </a:t>
            </a:r>
            <a:r>
              <a:rPr lang="ko-KR" altLang="en-US" sz="1300" u="none" dirty="0">
                <a:solidFill>
                  <a:srgbClr val="000000"/>
                </a:solidFill>
                <a:latin typeface="맑은 고딕" pitchFamily="50" charset="-127"/>
              </a:rPr>
              <a:t>후</a:t>
            </a:r>
            <a:r>
              <a:rPr lang="en-US" altLang="ko-KR" sz="1300" u="none" dirty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lang="en-US" altLang="ko-KR" sz="1300" u="none" dirty="0" smtClean="0">
                <a:solidFill>
                  <a:srgbClr val="000000"/>
                </a:solidFill>
                <a:latin typeface="맑은 고딕" pitchFamily="50" charset="-127"/>
              </a:rPr>
              <a:t>89%</a:t>
            </a:r>
            <a:endParaRPr lang="en-US" altLang="ko-KR" sz="1300" u="none" dirty="0">
              <a:solidFill>
                <a:srgbClr val="000000"/>
              </a:solidFill>
              <a:latin typeface="맑은 고딕" pitchFamily="50" charset="-127"/>
            </a:endParaRPr>
          </a:p>
          <a:p>
            <a:pPr>
              <a:spcBef>
                <a:spcPct val="20000"/>
              </a:spcBef>
            </a:pPr>
            <a:endParaRPr lang="en-US" altLang="ko-KR" sz="1300" u="none" dirty="0">
              <a:solidFill>
                <a:srgbClr val="000000"/>
              </a:solidFill>
              <a:latin typeface="맑은 고딕" pitchFamily="50" charset="-127"/>
            </a:endParaRPr>
          </a:p>
          <a:p>
            <a:pPr>
              <a:spcBef>
                <a:spcPct val="20000"/>
              </a:spcBef>
            </a:pPr>
            <a:r>
              <a:rPr lang="en-US" altLang="ko-KR" sz="1300" u="none" baseline="30000" dirty="0">
                <a:solidFill>
                  <a:srgbClr val="000000"/>
                </a:solidFill>
                <a:latin typeface="맑은 고딕" pitchFamily="50" charset="-127"/>
              </a:rPr>
              <a:t>     </a:t>
            </a: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284956" y="683578"/>
            <a:ext cx="9336088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latinLnBrk="1">
              <a:lnSpc>
                <a:spcPct val="90000"/>
              </a:lnSpc>
              <a:spcAft>
                <a:spcPct val="10000"/>
              </a:spcAft>
              <a:buSzPct val="90000"/>
            </a:pPr>
            <a:r>
              <a:rPr kumimoji="1" lang="en-US" altLang="ko-KR" sz="1600" u="none" dirty="0" smtClean="0">
                <a:solidFill>
                  <a:srgbClr val="000000"/>
                </a:solidFill>
                <a:latin typeface="맑은 고딕" pitchFamily="50" charset="-127"/>
              </a:rPr>
              <a:t>Claim </a:t>
            </a:r>
            <a:r>
              <a:rPr kumimoji="1"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이슈 발생 이후 예측 정확도의 저하</a:t>
            </a:r>
            <a:endParaRPr kumimoji="1" lang="en-US" altLang="ko-KR" sz="1600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12" name="Rectangle 2"/>
          <p:cNvSpPr>
            <a:spLocks noGrp="1" noChangeArrowheads="1"/>
          </p:cNvSpPr>
          <p:nvPr>
            <p:ph type="title"/>
          </p:nvPr>
        </p:nvSpPr>
        <p:spPr>
          <a:xfrm>
            <a:off x="273050" y="114300"/>
            <a:ext cx="8664575" cy="457200"/>
          </a:xfrm>
        </p:spPr>
        <p:txBody>
          <a:bodyPr/>
          <a:lstStyle/>
          <a:p>
            <a:r>
              <a:rPr lang="ko-KR" altLang="en-US" dirty="0" smtClean="0">
                <a:latin typeface="맑은 고딕" pitchFamily="50" charset="-127"/>
              </a:rPr>
              <a:t>모형 결과 </a:t>
            </a:r>
            <a:r>
              <a:rPr lang="en-US" altLang="ko-KR" dirty="0" smtClean="0">
                <a:latin typeface="맑은 고딕" pitchFamily="50" charset="-127"/>
              </a:rPr>
              <a:t>– Claim </a:t>
            </a:r>
            <a:r>
              <a:rPr lang="ko-KR" altLang="en-US" dirty="0" smtClean="0">
                <a:latin typeface="맑은 고딕" pitchFamily="50" charset="-127"/>
              </a:rPr>
              <a:t>이슈 전∙후 모형 비교</a:t>
            </a:r>
            <a:endParaRPr lang="en-US" altLang="ko-KR" dirty="0" smtClean="0">
              <a:latin typeface="맑은 고딕" pitchFamily="50" charset="-127"/>
            </a:endParaRPr>
          </a:p>
        </p:txBody>
      </p:sp>
      <p:graphicFrame>
        <p:nvGraphicFramePr>
          <p:cNvPr id="14" name="표 13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424776271"/>
              </p:ext>
            </p:extLst>
          </p:nvPr>
        </p:nvGraphicFramePr>
        <p:xfrm>
          <a:off x="479163" y="2273382"/>
          <a:ext cx="9000425" cy="1163252"/>
        </p:xfrm>
        <a:graphic>
          <a:graphicData uri="http://schemas.openxmlformats.org/drawingml/2006/table">
            <a:tbl>
              <a:tblPr/>
              <a:tblGrid>
                <a:gridCol w="684783"/>
                <a:gridCol w="618434"/>
                <a:gridCol w="747432"/>
                <a:gridCol w="747432"/>
                <a:gridCol w="747432"/>
                <a:gridCol w="747432"/>
                <a:gridCol w="747432"/>
                <a:gridCol w="747432"/>
                <a:gridCol w="114219"/>
                <a:gridCol w="747432"/>
                <a:gridCol w="747432"/>
                <a:gridCol w="108669"/>
                <a:gridCol w="747432"/>
                <a:gridCol w="747432"/>
              </a:tblGrid>
              <a:tr h="214613"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50" b="0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　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50" b="1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1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50" b="1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2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50" b="1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3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50" b="1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4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50" b="1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5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50" b="1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6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50" b="1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7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250" b="1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50" b="1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8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50" b="1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09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250" b="1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50" b="1" i="0" u="none" strike="noStrike" spc="-100" baseline="0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0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50" b="1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-11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214613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50" b="1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실적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14613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50" b="1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예측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613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50" b="1" i="0" u="none" strike="noStrike" spc="-100" baseline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오차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250" b="0" i="0" u="none" strike="noStrike" spc="-100" baseline="0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14613"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6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정확도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20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9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20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7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20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8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20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9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20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9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20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7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20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9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2000" b="1" i="0" u="none" strike="noStrike" spc="-100" baseline="0" dirty="0">
                        <a:solidFill>
                          <a:srgbClr val="FFFFFF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20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1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20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88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2000" b="1" i="0" u="none" strike="noStrike" spc="-100" baseline="0" dirty="0">
                        <a:solidFill>
                          <a:srgbClr val="FFFFFF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20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8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2000" b="1" i="0" u="none" strike="noStrike" spc="-100" baseline="0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8%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4D4D"/>
                    </a:solidFill>
                  </a:tcPr>
                </a:tc>
              </a:tr>
            </a:tbl>
          </a:graphicData>
        </a:graphic>
      </p:graphicFrame>
      <p:sp>
        <p:nvSpPr>
          <p:cNvPr id="17" name="모서리가 둥근 직사각형 16"/>
          <p:cNvSpPr/>
          <p:nvPr/>
        </p:nvSpPr>
        <p:spPr bwMode="auto">
          <a:xfrm>
            <a:off x="6362147" y="2215054"/>
            <a:ext cx="1519811" cy="1285883"/>
          </a:xfrm>
          <a:prstGeom prst="roundRect">
            <a:avLst>
              <a:gd name="adj" fmla="val 9146"/>
            </a:avLst>
          </a:prstGeom>
          <a:solidFill>
            <a:srgbClr val="FFC000">
              <a:alpha val="14000"/>
            </a:srgbClr>
          </a:solidFill>
          <a:ln w="25400">
            <a:solidFill>
              <a:srgbClr val="FF9933"/>
            </a:solidFill>
            <a:prstDash val="dash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ko-KR" altLang="en-US" u="none" dirty="0" smtClean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19" name="모서리가 둥근 직사각형 18"/>
          <p:cNvSpPr/>
          <p:nvPr/>
        </p:nvSpPr>
        <p:spPr bwMode="auto">
          <a:xfrm>
            <a:off x="8047546" y="4637657"/>
            <a:ext cx="1368000" cy="571504"/>
          </a:xfrm>
          <a:prstGeom prst="roundRect">
            <a:avLst>
              <a:gd name="adj" fmla="val 8975"/>
            </a:avLst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/>
            <a:r>
              <a:rPr lang="en-US" altLang="ko-KR" sz="1200" u="none" dirty="0" smtClean="0">
                <a:solidFill>
                  <a:srgbClr val="FFFFFF"/>
                </a:solidFill>
                <a:latin typeface="맑은 고딕" pitchFamily="50" charset="-127"/>
              </a:rPr>
              <a:t>Claim </a:t>
            </a:r>
            <a:r>
              <a:rPr lang="ko-KR" altLang="en-US" sz="1200" u="none" dirty="0" smtClean="0">
                <a:solidFill>
                  <a:srgbClr val="FFFFFF"/>
                </a:solidFill>
                <a:latin typeface="맑은 고딕" pitchFamily="50" charset="-127"/>
              </a:rPr>
              <a:t>이슈 이후</a:t>
            </a:r>
            <a:endParaRPr lang="en-US" altLang="ko-KR" sz="1200" u="none" dirty="0" smtClean="0">
              <a:solidFill>
                <a:srgbClr val="FFFFFF"/>
              </a:solidFill>
              <a:latin typeface="맑은 고딕" pitchFamily="50" charset="-127"/>
            </a:endParaRPr>
          </a:p>
          <a:p>
            <a:pPr algn="ctr"/>
            <a:r>
              <a:rPr lang="en-US" altLang="ko-KR" sz="1200" u="none" dirty="0" smtClean="0">
                <a:solidFill>
                  <a:srgbClr val="FFFFFF"/>
                </a:solidFill>
                <a:latin typeface="맑은 고딕" pitchFamily="50" charset="-127"/>
              </a:rPr>
              <a:t>Gap </a:t>
            </a:r>
            <a:r>
              <a:rPr lang="ko-KR" altLang="en-US" sz="1200" u="none" dirty="0" smtClean="0">
                <a:solidFill>
                  <a:srgbClr val="FFFFFF"/>
                </a:solidFill>
                <a:latin typeface="맑은 고딕" pitchFamily="50" charset="-127"/>
              </a:rPr>
              <a:t>발생</a:t>
            </a:r>
          </a:p>
        </p:txBody>
      </p:sp>
      <p:grpSp>
        <p:nvGrpSpPr>
          <p:cNvPr id="2" name="그룹 52"/>
          <p:cNvGrpSpPr>
            <a:grpSpLocks noChangeAspect="1"/>
          </p:cNvGrpSpPr>
          <p:nvPr/>
        </p:nvGrpSpPr>
        <p:grpSpPr>
          <a:xfrm rot="538037">
            <a:off x="8745342" y="971371"/>
            <a:ext cx="979200" cy="307777"/>
            <a:chOff x="-162410" y="2120401"/>
            <a:chExt cx="1491428" cy="461717"/>
          </a:xfrm>
        </p:grpSpPr>
        <p:sp>
          <p:nvSpPr>
            <p:cNvPr id="23" name="Line 17"/>
            <p:cNvSpPr>
              <a:spLocks noChangeShapeType="1"/>
            </p:cNvSpPr>
            <p:nvPr/>
          </p:nvSpPr>
          <p:spPr bwMode="auto">
            <a:xfrm flipV="1">
              <a:off x="-142612" y="2132856"/>
              <a:ext cx="1440000" cy="0"/>
            </a:xfrm>
            <a:prstGeom prst="line">
              <a:avLst/>
            </a:prstGeom>
            <a:noFill/>
            <a:ln w="25400" cmpd="tri">
              <a:solidFill>
                <a:sysClr val="windowText" lastClr="000000">
                  <a:lumMod val="65000"/>
                  <a:lumOff val="35000"/>
                </a:sys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2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u="none" kern="0" spc="-1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맑은 고딕" pitchFamily="50" charset="-127"/>
              </a:endParaRPr>
            </a:p>
          </p:txBody>
        </p:sp>
        <p:sp>
          <p:nvSpPr>
            <p:cNvPr id="24" name="Line 17"/>
            <p:cNvSpPr>
              <a:spLocks noChangeShapeType="1"/>
            </p:cNvSpPr>
            <p:nvPr/>
          </p:nvSpPr>
          <p:spPr bwMode="auto">
            <a:xfrm flipV="1">
              <a:off x="-142612" y="2564904"/>
              <a:ext cx="1440000" cy="0"/>
            </a:xfrm>
            <a:prstGeom prst="line">
              <a:avLst/>
            </a:prstGeom>
            <a:noFill/>
            <a:ln w="25400" cmpd="tri">
              <a:solidFill>
                <a:sysClr val="windowText" lastClr="000000">
                  <a:lumMod val="65000"/>
                  <a:lumOff val="35000"/>
                </a:sys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23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u="none" kern="0" spc="-1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맑은 고딕" pitchFamily="50" charset="-127"/>
              </a:endParaRPr>
            </a:p>
          </p:txBody>
        </p:sp>
        <p:sp>
          <p:nvSpPr>
            <p:cNvPr id="25" name="Text Box 16"/>
            <p:cNvSpPr txBox="1">
              <a:spLocks noChangeArrowheads="1"/>
            </p:cNvSpPr>
            <p:nvPr/>
          </p:nvSpPr>
          <p:spPr bwMode="auto">
            <a:xfrm>
              <a:off x="-162410" y="2120401"/>
              <a:ext cx="1491428" cy="46171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anchor="ctr">
              <a:spAutoFit/>
            </a:bodyPr>
            <a:lstStyle/>
            <a:p>
              <a:pPr algn="ctr" defTabSz="762000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ko-KR" u="none" kern="0" spc="-100" dirty="0" smtClean="0">
                  <a:solidFill>
                    <a:sysClr val="windowText" lastClr="000000">
                      <a:lumMod val="65000"/>
                      <a:lumOff val="35000"/>
                    </a:sysClr>
                  </a:solidFill>
                  <a:latin typeface="맑은 고딕" pitchFamily="50" charset="-127"/>
                </a:rPr>
                <a:t>Illustrative</a:t>
              </a:r>
              <a:endParaRPr lang="ko-KR" altLang="en-US" u="none" kern="0" spc="-1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맑은 고딕" pitchFamily="50" charset="-127"/>
              </a:endParaRPr>
            </a:p>
          </p:txBody>
        </p:sp>
      </p:grpSp>
      <p:sp>
        <p:nvSpPr>
          <p:cNvPr id="26" name="왼쪽 화살표 25"/>
          <p:cNvSpPr/>
          <p:nvPr/>
        </p:nvSpPr>
        <p:spPr bwMode="auto">
          <a:xfrm rot="10800000">
            <a:off x="1166787" y="1634071"/>
            <a:ext cx="8321007" cy="569368"/>
          </a:xfrm>
          <a:prstGeom prst="leftArrow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ko-K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sz="1400" b="1" u="sng" kern="1200">
                <a:solidFill>
                  <a:schemeClr val="tx1"/>
                </a:solidFill>
                <a:latin typeface="Calibri" pitchFamily="34" charset="0"/>
                <a:ea typeface="맑은 고딕" pitchFamily="50" charset="-127"/>
                <a:cs typeface="+mn-cs"/>
              </a:defRPr>
            </a:lvl9pPr>
          </a:lstStyle>
          <a:p>
            <a:pPr algn="ctr"/>
            <a:endParaRPr lang="ko-KR" altLang="en-US" u="none" dirty="0" smtClean="0">
              <a:solidFill>
                <a:srgbClr val="000000"/>
              </a:solidFill>
              <a:latin typeface="맑은 고딕" pitchFamily="50" charset="-127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8184493" y="1761030"/>
            <a:ext cx="9028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u="none" dirty="0" smtClean="0">
                <a:solidFill>
                  <a:srgbClr val="FFFFFF"/>
                </a:solidFill>
              </a:rPr>
              <a:t>모델보정</a:t>
            </a:r>
            <a:endParaRPr lang="ko-KR" altLang="en-US" u="none" dirty="0">
              <a:solidFill>
                <a:srgbClr val="FFFFFF"/>
              </a:solidFill>
            </a:endParaRPr>
          </a:p>
        </p:txBody>
      </p:sp>
      <p:sp>
        <p:nvSpPr>
          <p:cNvPr id="28" name="직사각형 27"/>
          <p:cNvSpPr/>
          <p:nvPr/>
        </p:nvSpPr>
        <p:spPr bwMode="auto">
          <a:xfrm>
            <a:off x="1166786" y="1777118"/>
            <a:ext cx="6786610" cy="2844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ko-KR" altLang="en-US" u="none" dirty="0" smtClean="0">
                <a:solidFill>
                  <a:srgbClr val="FFFFFF"/>
                </a:solidFill>
              </a:rPr>
              <a:t>기존모형</a:t>
            </a:r>
            <a:endParaRPr lang="en-US" altLang="ko-KR" u="none" dirty="0" smtClean="0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79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ko-KR" altLang="en-US" dirty="0" smtClean="0"/>
              <a:t>모형결과 </a:t>
            </a:r>
            <a:r>
              <a:rPr lang="en-US" altLang="ko-KR" dirty="0" smtClean="0"/>
              <a:t>– Summary (1)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auto">
          <a:xfrm>
            <a:off x="274362" y="619093"/>
            <a:ext cx="885698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57240" latinLnBrk="0">
              <a:defRPr/>
            </a:pPr>
            <a:r>
              <a:rPr kumimoji="1" lang="ko-KR" altLang="en-US" sz="1600" u="none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Meiryo UI" pitchFamily="34" charset="-128"/>
              </a:rPr>
              <a:t>회사전체</a:t>
            </a:r>
            <a:r>
              <a:rPr kumimoji="1" lang="en-US" altLang="ko-KR" sz="1600" u="none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Meiryo UI" pitchFamily="34" charset="-128"/>
              </a:rPr>
              <a:t>, </a:t>
            </a:r>
            <a:r>
              <a:rPr kumimoji="1" lang="ko-KR" altLang="en-US" sz="1600" u="none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Meiryo UI" pitchFamily="34" charset="-128"/>
              </a:rPr>
              <a:t>브랜드</a:t>
            </a:r>
            <a:r>
              <a:rPr kumimoji="1" lang="en-US" altLang="ko-KR" sz="1600" u="none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Meiryo UI" pitchFamily="34" charset="-128"/>
              </a:rPr>
              <a:t>*</a:t>
            </a:r>
            <a:r>
              <a:rPr kumimoji="1" lang="ko-KR" altLang="en-US" sz="1600" u="none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Meiryo UI" pitchFamily="34" charset="-128"/>
              </a:rPr>
              <a:t>패키지 </a:t>
            </a:r>
            <a:r>
              <a:rPr kumimoji="1" lang="ko-KR" altLang="en-US" sz="1600" u="none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Meiryo UI" pitchFamily="34" charset="-128"/>
              </a:rPr>
              <a:t>예측 </a:t>
            </a:r>
            <a:r>
              <a:rPr kumimoji="1" lang="ko-KR" altLang="en-US" sz="1600" u="none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  <a:cs typeface="Meiryo UI" pitchFamily="34" charset="-128"/>
              </a:rPr>
              <a:t>모형 수행 결과</a:t>
            </a:r>
            <a:endParaRPr kumimoji="1" lang="ko-KR" altLang="en-US" sz="1600" u="none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  <a:cs typeface="Meiryo UI" pitchFamily="34" charset="-128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895722" y="5961913"/>
            <a:ext cx="7711094" cy="261604"/>
          </a:xfrm>
          <a:prstGeom prst="rect">
            <a:avLst/>
          </a:prstGeom>
        </p:spPr>
        <p:txBody>
          <a:bodyPr wrap="square" lIns="91433" tIns="45717" rIns="91433" bIns="45717" anchor="ctr">
            <a:spAutoFit/>
          </a:bodyPr>
          <a:lstStyle>
            <a:defPPr>
              <a:defRPr lang="ko-KR"/>
            </a:defPPr>
            <a:lvl1pPr marL="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3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0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88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5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2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9" algn="l" defTabSz="914195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792" indent="-177792" latinLnBrk="0">
              <a:spcBef>
                <a:spcPts val="300"/>
              </a:spcBef>
            </a:pPr>
            <a:r>
              <a:rPr lang="ko-KR" altLang="en-US" sz="1100" b="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주</a:t>
            </a:r>
            <a:r>
              <a:rPr lang="en-US" altLang="ko-KR" sz="1100" b="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1) </a:t>
            </a:r>
            <a:r>
              <a:rPr lang="ko-KR" altLang="en-US" sz="1100" b="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예측모형 </a:t>
            </a:r>
            <a:r>
              <a:rPr lang="en-US" altLang="ko-KR" sz="1100" b="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Adjust R</a:t>
            </a:r>
            <a:r>
              <a:rPr lang="en-US" altLang="ko-KR" sz="1100" b="0" u="none" baseline="30000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r>
              <a:rPr lang="en-US" altLang="ko-KR" sz="1100" b="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100" b="0" u="none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ko-KR" altLang="en-US" sz="1100" b="0" u="none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모델이 자료를 얼마나 잘 </a:t>
            </a:r>
            <a:r>
              <a:rPr lang="ko-KR" altLang="en-US" sz="1100" b="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설명하는지 </a:t>
            </a:r>
            <a:r>
              <a:rPr lang="ko-KR" altLang="en-US" sz="1100" b="0" u="none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나타내는 </a:t>
            </a:r>
            <a:r>
              <a:rPr lang="ko-KR" altLang="en-US" sz="1100" b="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지표</a:t>
            </a:r>
            <a:r>
              <a:rPr lang="en-US" altLang="ko-KR" sz="1100" b="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. 100%</a:t>
            </a:r>
            <a:r>
              <a:rPr lang="ko-KR" altLang="en-US" sz="1100" b="0" u="none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에 가까울수록 모델 설명력이 좋음</a:t>
            </a:r>
            <a:endParaRPr lang="en-US" altLang="ko-KR" sz="1100" b="0" u="none" dirty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12" name="표 11"/>
          <p:cNvGraphicFramePr>
            <a:graphicFrameLocks noGrp="1"/>
          </p:cNvGraphicFramePr>
          <p:nvPr/>
        </p:nvGraphicFramePr>
        <p:xfrm>
          <a:off x="966106" y="1071546"/>
          <a:ext cx="7811208" cy="4643465"/>
        </p:xfrm>
        <a:graphic>
          <a:graphicData uri="http://schemas.openxmlformats.org/drawingml/2006/table">
            <a:tbl>
              <a:tblPr/>
              <a:tblGrid>
                <a:gridCol w="933391"/>
                <a:gridCol w="608277"/>
                <a:gridCol w="900000"/>
                <a:gridCol w="1447280"/>
                <a:gridCol w="1447200"/>
                <a:gridCol w="2475060"/>
              </a:tblGrid>
              <a:tr h="27404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구분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404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기</a:t>
                      </a: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평균 예측정확도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모형 </a:t>
                      </a:r>
                      <a:r>
                        <a:rPr lang="en-US" sz="1200" b="1" i="0" u="none" strike="noStrike" dirty="0" err="1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Adj.R</a:t>
                      </a:r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-Square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TEST </a:t>
                      </a:r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기간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4040"/>
                    </a:solidFill>
                  </a:tcPr>
                </a:tc>
              </a:tr>
              <a:tr h="258816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rgbClr val="0D0D0D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회사전체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별</a:t>
                      </a: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9%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0.931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3.12 ~ 2014.11 (12</a:t>
                      </a:r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개월</a:t>
                      </a:r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43592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D0D0D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Cass 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Can</a:t>
                      </a: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6%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0.888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.08 ~ 2014.12 (21</a:t>
                      </a:r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</a:t>
                      </a:r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881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PET</a:t>
                      </a: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7%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0.877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.08 ~ 2014.12 (21</a:t>
                      </a:r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</a:t>
                      </a:r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881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Bottle</a:t>
                      </a: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7%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0.919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.08 ~ 2014.12 (21</a:t>
                      </a:r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</a:t>
                      </a:r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881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Keg</a:t>
                      </a: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6%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0.864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.08 ~ 2014.12 (21</a:t>
                      </a:r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</a:t>
                      </a:r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881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err="1">
                          <a:solidFill>
                            <a:srgbClr val="0D0D0D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CassLight</a:t>
                      </a:r>
                      <a:r>
                        <a:rPr lang="en-US" sz="1200" b="1" i="0" u="none" strike="noStrike" dirty="0">
                          <a:solidFill>
                            <a:srgbClr val="0D0D0D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D0D0D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Can</a:t>
                      </a: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6%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0.887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.08 ~ 2014.12 (21</a:t>
                      </a:r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</a:t>
                      </a:r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4359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D0D0D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PET</a:t>
                      </a: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6%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0.879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.08 ~ 2014.12 (21</a:t>
                      </a:r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</a:t>
                      </a:r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8816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D0D0D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OB 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Can</a:t>
                      </a: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7%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0.800 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.04 ~ 2014.07 (18</a:t>
                      </a:r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</a:t>
                      </a:r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881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PET</a:t>
                      </a: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6%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0.834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.04 ~ 2014.07 (18</a:t>
                      </a:r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</a:t>
                      </a:r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881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Bottle</a:t>
                      </a: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5%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0.826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.04 ~ 2014.07 (18</a:t>
                      </a:r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</a:t>
                      </a:r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881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Keg</a:t>
                      </a: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7%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0.929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.04 ~ 2014.07 (18</a:t>
                      </a:r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</a:t>
                      </a:r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881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err="1">
                          <a:solidFill>
                            <a:srgbClr val="0D0D0D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Cafri</a:t>
                      </a:r>
                      <a:endParaRPr lang="en-US" sz="1200" b="1" i="0" u="none" strike="noStrike" dirty="0">
                        <a:solidFill>
                          <a:srgbClr val="0D0D0D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D0D0D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Can </a:t>
                      </a: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2%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0.682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.04 ~ 2014.07 (18</a:t>
                      </a:r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</a:t>
                      </a:r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881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D0D0D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Bottle</a:t>
                      </a: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8%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0.717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.04 ~ 2014.07 (18</a:t>
                      </a:r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</a:t>
                      </a:r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881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D0D0D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Budweiser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D0D0D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Can</a:t>
                      </a: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1%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0.646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.04 ~ 2014.07 (18</a:t>
                      </a:r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</a:t>
                      </a:r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881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D0D0D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Bottle</a:t>
                      </a: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4%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0.822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.04 ~ 2014.07 (18</a:t>
                      </a:r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</a:t>
                      </a:r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881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err="1">
                          <a:solidFill>
                            <a:srgbClr val="0D0D0D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Hoegaarden</a:t>
                      </a:r>
                      <a:endParaRPr lang="en-US" sz="1200" b="1" i="0" u="none" strike="noStrike" dirty="0">
                        <a:solidFill>
                          <a:srgbClr val="0D0D0D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D0D0D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Can </a:t>
                      </a: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5%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0.670 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.04 ~ 2014.07 (18</a:t>
                      </a:r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</a:t>
                      </a:r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881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D0D0D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Bottle</a:t>
                      </a: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0" i="0" u="none" strike="noStrike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별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5836" marR="5836" marT="58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7%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0.709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014.04 ~ 2014.07 (18</a:t>
                      </a:r>
                      <a:r>
                        <a:rPr lang="ko-KR" altLang="en-US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</a:t>
                      </a:r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</a:p>
                  </a:txBody>
                  <a:tcPr marL="5836" marR="5836" marT="583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79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ko-KR" altLang="en-US" dirty="0" smtClean="0"/>
              <a:t>모형결과 </a:t>
            </a:r>
            <a:r>
              <a:rPr lang="en-US" altLang="ko-KR" dirty="0" smtClean="0"/>
              <a:t>– Summary (2)</a:t>
            </a:r>
          </a:p>
        </p:txBody>
      </p:sp>
      <p:sp>
        <p:nvSpPr>
          <p:cNvPr id="235794" name="Text Box 16"/>
          <p:cNvSpPr txBox="1">
            <a:spLocks noChangeArrowheads="1"/>
          </p:cNvSpPr>
          <p:nvPr/>
        </p:nvSpPr>
        <p:spPr bwMode="auto">
          <a:xfrm>
            <a:off x="273050" y="622300"/>
            <a:ext cx="9288463" cy="5413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0" hangingPunct="0">
              <a:spcBef>
                <a:spcPct val="20000"/>
              </a:spcBef>
            </a:pPr>
            <a:r>
              <a:rPr kumimoji="1" lang="ko-KR" altLang="en-US" sz="1600" u="none" dirty="0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회사전체</a:t>
            </a:r>
            <a:r>
              <a:rPr kumimoji="1" lang="en-US" altLang="ko-KR" sz="1600" u="none" dirty="0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, </a:t>
            </a:r>
            <a:r>
              <a:rPr kumimoji="1" lang="ko-KR" altLang="en-US" sz="1600" u="none" dirty="0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브랜드</a:t>
            </a:r>
            <a:r>
              <a:rPr kumimoji="1" lang="en-US" altLang="ko-KR" sz="1600" u="none" dirty="0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*</a:t>
            </a:r>
            <a:r>
              <a:rPr kumimoji="1" lang="ko-KR" altLang="en-US" sz="1600" u="none" dirty="0" smtClean="0">
                <a:solidFill>
                  <a:prstClr val="black"/>
                </a:solidFill>
                <a:latin typeface="맑은 고딕" pitchFamily="50" charset="-127"/>
                <a:cs typeface="Meiryo UI" pitchFamily="34" charset="-128"/>
              </a:rPr>
              <a:t>패키지 </a:t>
            </a:r>
            <a:r>
              <a:rPr lang="ko-KR" altLang="en-US" sz="1600" u="none" dirty="0" err="1" smtClean="0">
                <a:solidFill>
                  <a:srgbClr val="000000"/>
                </a:solidFill>
                <a:latin typeface="맑은 고딕" pitchFamily="50" charset="-127"/>
              </a:rPr>
              <a:t>주별</a:t>
            </a:r>
            <a:r>
              <a:rPr lang="ko-KR" altLang="en-US" sz="1600" u="none" dirty="0" smtClean="0">
                <a:solidFill>
                  <a:srgbClr val="000000"/>
                </a:solidFill>
                <a:latin typeface="맑은 고딕" pitchFamily="50" charset="-127"/>
              </a:rPr>
              <a:t> </a:t>
            </a:r>
            <a:r>
              <a:rPr lang="ko-KR" altLang="en-US" sz="1600" u="none" dirty="0">
                <a:solidFill>
                  <a:srgbClr val="000000"/>
                </a:solidFill>
                <a:latin typeface="맑은 고딕" pitchFamily="50" charset="-127"/>
              </a:rPr>
              <a:t>예측 정확도</a:t>
            </a:r>
            <a:endParaRPr lang="en-US" altLang="ko-KR" sz="1600" u="none" dirty="0">
              <a:solidFill>
                <a:srgbClr val="000000"/>
              </a:solidFill>
              <a:latin typeface="맑은 고딕" pitchFamily="50" charset="-127"/>
            </a:endParaRPr>
          </a:p>
          <a:p>
            <a:pPr eaLnBrk="0" hangingPunct="0">
              <a:spcBef>
                <a:spcPct val="20000"/>
              </a:spcBef>
            </a:pPr>
            <a:r>
              <a:rPr lang="en-US" altLang="ko-KR" sz="1500" u="none" dirty="0">
                <a:solidFill>
                  <a:srgbClr val="000000"/>
                </a:solidFill>
                <a:latin typeface="맑은 고딕" pitchFamily="50" charset="-127"/>
              </a:rPr>
              <a:t>    - </a:t>
            </a:r>
            <a:r>
              <a:rPr lang="ko-KR" altLang="en-US" sz="1500" u="none" dirty="0">
                <a:solidFill>
                  <a:srgbClr val="000000"/>
                </a:solidFill>
                <a:latin typeface="맑은 고딕" pitchFamily="50" charset="-127"/>
              </a:rPr>
              <a:t>기간 </a:t>
            </a:r>
            <a:r>
              <a:rPr lang="en-US" altLang="ko-KR" sz="1500" u="none" dirty="0">
                <a:solidFill>
                  <a:srgbClr val="000000"/>
                </a:solidFill>
                <a:latin typeface="맑은 고딕" pitchFamily="50" charset="-127"/>
              </a:rPr>
              <a:t>: 2014</a:t>
            </a:r>
            <a:r>
              <a:rPr lang="ko-KR" altLang="en-US" sz="1500" u="none" dirty="0">
                <a:solidFill>
                  <a:srgbClr val="000000"/>
                </a:solidFill>
                <a:latin typeface="맑은 고딕" pitchFamily="50" charset="-127"/>
              </a:rPr>
              <a:t>년 </a:t>
            </a:r>
            <a:r>
              <a:rPr lang="en-US" altLang="ko-KR" sz="1500" u="none" dirty="0" smtClean="0">
                <a:solidFill>
                  <a:srgbClr val="000000"/>
                </a:solidFill>
                <a:latin typeface="맑은 고딕" pitchFamily="50" charset="-127"/>
              </a:rPr>
              <a:t>11</a:t>
            </a:r>
            <a:r>
              <a:rPr lang="ko-KR" altLang="en-US" sz="1500" u="none" dirty="0" smtClean="0">
                <a:solidFill>
                  <a:srgbClr val="000000"/>
                </a:solidFill>
                <a:latin typeface="맑은 고딕" pitchFamily="50" charset="-127"/>
              </a:rPr>
              <a:t>월 </a:t>
            </a:r>
            <a:r>
              <a:rPr lang="en-US" altLang="ko-KR" sz="1500" u="none" dirty="0" smtClean="0">
                <a:solidFill>
                  <a:srgbClr val="000000"/>
                </a:solidFill>
                <a:latin typeface="맑은 고딕" pitchFamily="50" charset="-127"/>
              </a:rPr>
              <a:t>5</a:t>
            </a:r>
            <a:r>
              <a:rPr lang="ko-KR" altLang="en-US" sz="1500" u="none" dirty="0" smtClean="0">
                <a:solidFill>
                  <a:srgbClr val="000000"/>
                </a:solidFill>
                <a:latin typeface="맑은 고딕" pitchFamily="50" charset="-127"/>
              </a:rPr>
              <a:t>주 </a:t>
            </a:r>
            <a:r>
              <a:rPr lang="en-US" altLang="ko-KR" sz="1500" u="none" dirty="0">
                <a:solidFill>
                  <a:srgbClr val="000000"/>
                </a:solidFill>
                <a:latin typeface="맑은 고딕" pitchFamily="50" charset="-127"/>
              </a:rPr>
              <a:t>~ 2014</a:t>
            </a:r>
            <a:r>
              <a:rPr lang="ko-KR" altLang="en-US" sz="1500" u="none" dirty="0">
                <a:solidFill>
                  <a:srgbClr val="000000"/>
                </a:solidFill>
                <a:latin typeface="맑은 고딕" pitchFamily="50" charset="-127"/>
              </a:rPr>
              <a:t>년 </a:t>
            </a:r>
            <a:r>
              <a:rPr lang="en-US" altLang="ko-KR" sz="1500" u="none" dirty="0" smtClean="0">
                <a:solidFill>
                  <a:srgbClr val="000000"/>
                </a:solidFill>
                <a:latin typeface="맑은 고딕" pitchFamily="50" charset="-127"/>
              </a:rPr>
              <a:t>12</a:t>
            </a:r>
            <a:r>
              <a:rPr lang="ko-KR" altLang="en-US" sz="1500" u="none" dirty="0" smtClean="0">
                <a:solidFill>
                  <a:srgbClr val="000000"/>
                </a:solidFill>
                <a:latin typeface="맑은 고딕" pitchFamily="50" charset="-127"/>
              </a:rPr>
              <a:t>월 </a:t>
            </a:r>
            <a:r>
              <a:rPr lang="en-US" altLang="ko-KR" sz="1500" u="none" dirty="0" smtClean="0">
                <a:solidFill>
                  <a:srgbClr val="000000"/>
                </a:solidFill>
                <a:latin typeface="맑은 고딕" pitchFamily="50" charset="-127"/>
              </a:rPr>
              <a:t>3</a:t>
            </a:r>
            <a:r>
              <a:rPr lang="ko-KR" altLang="en-US" sz="1500" u="none" dirty="0" smtClean="0">
                <a:solidFill>
                  <a:srgbClr val="000000"/>
                </a:solidFill>
                <a:latin typeface="맑은 고딕" pitchFamily="50" charset="-127"/>
              </a:rPr>
              <a:t>주</a:t>
            </a:r>
            <a:endParaRPr lang="en-US" altLang="ko-KR" u="none" dirty="0">
              <a:solidFill>
                <a:srgbClr val="000000"/>
              </a:solidFill>
              <a:latin typeface="맑은 고딕" pitchFamily="50" charset="-127"/>
            </a:endParaRPr>
          </a:p>
        </p:txBody>
      </p:sp>
      <p:graphicFrame>
        <p:nvGraphicFramePr>
          <p:cNvPr id="9" name="내용 개체 틀 8"/>
          <p:cNvGraphicFramePr>
            <a:graphicFrameLocks noGrp="1"/>
          </p:cNvGraphicFramePr>
          <p:nvPr>
            <p:ph idx="1"/>
          </p:nvPr>
        </p:nvGraphicFramePr>
        <p:xfrm>
          <a:off x="273050" y="1357298"/>
          <a:ext cx="9387288" cy="2286018"/>
        </p:xfrm>
        <a:graphic>
          <a:graphicData uri="http://schemas.openxmlformats.org/drawingml/2006/table">
            <a:tbl>
              <a:tblPr/>
              <a:tblGrid>
                <a:gridCol w="745065"/>
                <a:gridCol w="628650"/>
                <a:gridCol w="628650"/>
                <a:gridCol w="748759"/>
                <a:gridCol w="508541"/>
                <a:gridCol w="628650"/>
                <a:gridCol w="791635"/>
                <a:gridCol w="507600"/>
                <a:gridCol w="628650"/>
                <a:gridCol w="763073"/>
                <a:gridCol w="507600"/>
                <a:gridCol w="628650"/>
                <a:gridCol w="628650"/>
                <a:gridCol w="507600"/>
                <a:gridCol w="535515"/>
              </a:tblGrid>
              <a:tr h="265474"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예측모델</a:t>
                      </a:r>
                    </a:p>
                  </a:txBody>
                  <a:tcPr marL="1731" marR="1731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404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1</a:t>
                      </a:r>
                      <a:r>
                        <a:rPr lang="ko-KR" altLang="en-US" sz="11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 </a:t>
                      </a:r>
                      <a:r>
                        <a:rPr lang="en-US" altLang="ko-KR" sz="11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5</a:t>
                      </a:r>
                      <a:r>
                        <a:rPr lang="ko-KR" altLang="en-US" sz="11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차 </a:t>
                      </a:r>
                    </a:p>
                  </a:txBody>
                  <a:tcPr marL="1731" marR="1731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404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2</a:t>
                      </a:r>
                      <a:r>
                        <a:rPr lang="ko-KR" altLang="en-US" sz="11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 </a:t>
                      </a:r>
                      <a:r>
                        <a:rPr lang="en-US" altLang="ko-KR" sz="11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</a:t>
                      </a:r>
                      <a:r>
                        <a:rPr lang="ko-KR" altLang="en-US" sz="11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차 </a:t>
                      </a:r>
                    </a:p>
                  </a:txBody>
                  <a:tcPr marL="1731" marR="1731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404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2</a:t>
                      </a:r>
                      <a:r>
                        <a:rPr lang="ko-KR" altLang="en-US" sz="11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 </a:t>
                      </a:r>
                      <a:r>
                        <a:rPr lang="en-US" altLang="ko-KR" sz="11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lang="ko-KR" altLang="en-US" sz="11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차 </a:t>
                      </a:r>
                    </a:p>
                  </a:txBody>
                  <a:tcPr marL="1731" marR="1731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404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1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2</a:t>
                      </a:r>
                      <a:r>
                        <a:rPr lang="ko-KR" altLang="en-US" sz="11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월 </a:t>
                      </a:r>
                      <a:r>
                        <a:rPr lang="en-US" altLang="ko-KR" sz="11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3</a:t>
                      </a:r>
                      <a:r>
                        <a:rPr lang="ko-KR" altLang="en-US" sz="11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주차 </a:t>
                      </a:r>
                    </a:p>
                  </a:txBody>
                  <a:tcPr marL="1731" marR="1731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404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전체 </a:t>
                      </a:r>
                    </a:p>
                  </a:txBody>
                  <a:tcPr marL="1731" marR="1731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4040"/>
                    </a:solidFill>
                  </a:tcPr>
                </a:tc>
              </a:tr>
              <a:tr h="258099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실적</a:t>
                      </a:r>
                    </a:p>
                  </a:txBody>
                  <a:tcPr marL="1731" marR="1731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예측</a:t>
                      </a:r>
                    </a:p>
                  </a:txBody>
                  <a:tcPr marL="1731" marR="1731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정확도</a:t>
                      </a:r>
                    </a:p>
                  </a:txBody>
                  <a:tcPr marL="1731" marR="1731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실적</a:t>
                      </a:r>
                    </a:p>
                  </a:txBody>
                  <a:tcPr marL="1731" marR="1731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예측</a:t>
                      </a:r>
                    </a:p>
                  </a:txBody>
                  <a:tcPr marL="1731" marR="1731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정확도</a:t>
                      </a:r>
                    </a:p>
                  </a:txBody>
                  <a:tcPr marL="1731" marR="1731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실적</a:t>
                      </a:r>
                    </a:p>
                  </a:txBody>
                  <a:tcPr marL="1731" marR="1731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예측</a:t>
                      </a:r>
                    </a:p>
                  </a:txBody>
                  <a:tcPr marL="1731" marR="1731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정확도</a:t>
                      </a:r>
                    </a:p>
                  </a:txBody>
                  <a:tcPr marL="1731" marR="1731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실적</a:t>
                      </a:r>
                    </a:p>
                  </a:txBody>
                  <a:tcPr marL="1731" marR="1731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예측</a:t>
                      </a:r>
                    </a:p>
                  </a:txBody>
                  <a:tcPr marL="1731" marR="1731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정확도</a:t>
                      </a:r>
                    </a:p>
                  </a:txBody>
                  <a:tcPr marL="1731" marR="1731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 dirty="0">
                          <a:solidFill>
                            <a:srgbClr val="FFFFF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평균 </a:t>
                      </a:r>
                    </a:p>
                  </a:txBody>
                  <a:tcPr marL="1731" marR="1731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4040"/>
                    </a:solidFill>
                  </a:tcPr>
                </a:tc>
              </a:tr>
              <a:tr h="235975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회사전체 </a:t>
                      </a:r>
                    </a:p>
                  </a:txBody>
                  <a:tcPr marL="1731" marR="1731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 dirty="0">
                          <a:solidFill>
                            <a:srgbClr val="0F253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3%</a:t>
                      </a: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6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 dirty="0">
                          <a:solidFill>
                            <a:srgbClr val="0F253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9%</a:t>
                      </a: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6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 dirty="0">
                          <a:solidFill>
                            <a:srgbClr val="0F253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00%</a:t>
                      </a: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6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 dirty="0">
                          <a:solidFill>
                            <a:srgbClr val="0F253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00%</a:t>
                      </a: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6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8%</a:t>
                      </a: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99"/>
                    </a:solidFill>
                  </a:tcPr>
                </a:tc>
              </a:tr>
              <a:tr h="258099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Cass</a:t>
                      </a:r>
                    </a:p>
                  </a:txBody>
                  <a:tcPr marL="1731" marR="1731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Can</a:t>
                      </a:r>
                    </a:p>
                  </a:txBody>
                  <a:tcPr marL="1731" marR="1731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 dirty="0">
                          <a:solidFill>
                            <a:srgbClr val="0F253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9%</a:t>
                      </a: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6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 dirty="0">
                          <a:solidFill>
                            <a:srgbClr val="0F253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9%</a:t>
                      </a: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6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 dirty="0">
                          <a:solidFill>
                            <a:srgbClr val="0F253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100%</a:t>
                      </a: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6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 dirty="0">
                          <a:solidFill>
                            <a:srgbClr val="0F253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5%</a:t>
                      </a: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6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8%</a:t>
                      </a: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99"/>
                    </a:solidFill>
                  </a:tcPr>
                </a:tc>
              </a:tr>
              <a:tr h="2580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PET</a:t>
                      </a:r>
                    </a:p>
                  </a:txBody>
                  <a:tcPr marL="1731" marR="1731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 dirty="0">
                          <a:solidFill>
                            <a:srgbClr val="0F253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5%</a:t>
                      </a: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6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 dirty="0">
                          <a:solidFill>
                            <a:srgbClr val="0F253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9%</a:t>
                      </a: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6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 dirty="0">
                          <a:solidFill>
                            <a:srgbClr val="0F253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1%</a:t>
                      </a: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6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 dirty="0">
                          <a:solidFill>
                            <a:srgbClr val="0F253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8%</a:t>
                      </a: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6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6%</a:t>
                      </a: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99"/>
                    </a:solidFill>
                  </a:tcPr>
                </a:tc>
              </a:tr>
              <a:tr h="2580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Bottle</a:t>
                      </a:r>
                    </a:p>
                  </a:txBody>
                  <a:tcPr marL="1731" marR="1731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 dirty="0">
                          <a:solidFill>
                            <a:srgbClr val="0F253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5%</a:t>
                      </a: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6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 dirty="0">
                          <a:solidFill>
                            <a:srgbClr val="0F253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9%</a:t>
                      </a: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6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 dirty="0">
                          <a:solidFill>
                            <a:srgbClr val="0F253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8%</a:t>
                      </a: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6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 dirty="0">
                          <a:solidFill>
                            <a:srgbClr val="0F253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89%</a:t>
                      </a: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6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5%</a:t>
                      </a: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99"/>
                    </a:solidFill>
                  </a:tcPr>
                </a:tc>
              </a:tr>
              <a:tr h="2580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Keg</a:t>
                      </a:r>
                    </a:p>
                  </a:txBody>
                  <a:tcPr marL="1731" marR="1731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 dirty="0">
                          <a:solidFill>
                            <a:srgbClr val="0F253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0%</a:t>
                      </a: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6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 dirty="0">
                          <a:solidFill>
                            <a:srgbClr val="0F253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6%</a:t>
                      </a: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6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 dirty="0">
                          <a:solidFill>
                            <a:srgbClr val="0F253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5%</a:t>
                      </a: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6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 dirty="0">
                          <a:solidFill>
                            <a:srgbClr val="0F253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3%</a:t>
                      </a: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6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4%</a:t>
                      </a: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99"/>
                    </a:solidFill>
                  </a:tcPr>
                </a:tc>
              </a:tr>
              <a:tr h="235975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CassLight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</a:p>
                  </a:txBody>
                  <a:tcPr marL="1731" marR="1731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Can</a:t>
                      </a:r>
                    </a:p>
                  </a:txBody>
                  <a:tcPr marL="1731" marR="1731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 dirty="0">
                          <a:solidFill>
                            <a:srgbClr val="0F253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8%</a:t>
                      </a: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6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 dirty="0">
                          <a:solidFill>
                            <a:srgbClr val="0F253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8%</a:t>
                      </a: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6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 dirty="0">
                          <a:solidFill>
                            <a:srgbClr val="0F253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6%</a:t>
                      </a: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6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 dirty="0">
                          <a:solidFill>
                            <a:srgbClr val="0F253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7%</a:t>
                      </a: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6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7%</a:t>
                      </a: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99"/>
                    </a:solidFill>
                  </a:tcPr>
                </a:tc>
              </a:tr>
              <a:tr h="2580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PET</a:t>
                      </a:r>
                    </a:p>
                  </a:txBody>
                  <a:tcPr marL="1731" marR="1731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 dirty="0">
                          <a:solidFill>
                            <a:srgbClr val="0F253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84%</a:t>
                      </a: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6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 dirty="0">
                          <a:solidFill>
                            <a:srgbClr val="0F253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1%</a:t>
                      </a: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6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 dirty="0">
                          <a:solidFill>
                            <a:srgbClr val="0F253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6%</a:t>
                      </a: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6F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100" b="1" i="0" u="none" strike="noStrike" dirty="0">
                          <a:solidFill>
                            <a:srgbClr val="0F253F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87%</a:t>
                      </a:r>
                    </a:p>
                  </a:txBody>
                  <a:tcPr marL="1731" marR="10800" marT="173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6F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100" b="1" i="0" u="none" strike="noStrike" dirty="0">
                          <a:solidFill>
                            <a:srgbClr val="000000"/>
                          </a:solidFill>
                          <a:latin typeface="맑은 고딕" pitchFamily="50" charset="-127"/>
                          <a:ea typeface="맑은 고딕" pitchFamily="50" charset="-127"/>
                        </a:rPr>
                        <a:t>90%</a:t>
                      </a:r>
                    </a:p>
                  </a:txBody>
                  <a:tcPr marL="1731" marR="10800" marT="17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99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heme/theme1.xml><?xml version="1.0" encoding="utf-8"?>
<a:theme xmlns:a="http://schemas.openxmlformats.org/drawingml/2006/main" name="2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9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0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1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2_OBC Presentation Template">
  <a:themeElements>
    <a:clrScheme name="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OBC Presentation Template">
      <a:majorFont>
        <a:latin typeface="Calibri"/>
        <a:ea typeface="맑은 고딕"/>
        <a:cs typeface="Arial"/>
      </a:majorFont>
      <a:minorFont>
        <a:latin typeface="Calibri"/>
        <a:ea typeface="맑은 고딕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/>
        </a:solidFill>
        <a:ln>
          <a:noFill/>
        </a:ln>
        <a:effectLst>
          <a:prstShdw prst="shdw18" dist="17961" dir="13500000">
            <a:srgbClr val="FFFFFF">
              <a:gamma/>
              <a:shade val="60000"/>
              <a:invGamma/>
            </a:srgbClr>
          </a:prstShdw>
        </a:effectLst>
        <a:extLst>
          <a:ext uri="{91240B29-F687-4F45-9708-019B960494DF}">
            <a14:hiddenLine xmlns:a14="http://schemas.microsoft.com/office/drawing/2010/main" xmlns="" w="9525">
              <a:solidFill>
                <a:schemeClr val="bg2"/>
              </a:solidFill>
              <a:miter lim="800000"/>
              <a:headEnd/>
              <a:tailEnd/>
            </a14:hiddenLine>
          </a:ext>
        </a:extLst>
      </a:spPr>
      <a:bodyPr wrap="square" anchor="t" anchorCtr="0"/>
      <a:lstStyle>
        <a:defPPr marL="0" marR="0" indent="0" algn="l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100" b="0" i="0" u="none" strike="noStrike" kern="0" cap="none" spc="0" normalizeH="0" baseline="0" noProof="0" dirty="0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+mn-ea"/>
            <a:ea typeface="+mn-ea"/>
          </a:defRPr>
        </a:defPPr>
      </a:lstStyle>
    </a:spDef>
  </a:objectDefaults>
  <a:extraClrSchemeLst>
    <a:extraClrScheme>
      <a:clrScheme name="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2_Default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Default Design">
      <a:majorFont>
        <a:latin typeface="Arial"/>
        <a:ea typeface="돋움"/>
        <a:cs typeface=""/>
      </a:majorFont>
      <a:minorFont>
        <a:latin typeface="Arial"/>
        <a:ea typeface="돋움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1">
              <a:lumMod val="65000"/>
              <a:lumOff val="3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돋움" pitchFamily="50" charset="-127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>
              <a:lumMod val="65000"/>
              <a:lumOff val="3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3_Default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Default Design">
      <a:majorFont>
        <a:latin typeface="Arial"/>
        <a:ea typeface="돋움"/>
        <a:cs typeface=""/>
      </a:majorFont>
      <a:minorFont>
        <a:latin typeface="Arial"/>
        <a:ea typeface="돋움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1">
              <a:lumMod val="65000"/>
              <a:lumOff val="3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돋움" pitchFamily="50" charset="-127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>
              <a:lumMod val="65000"/>
              <a:lumOff val="3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3_OBC Presentation Template">
  <a:themeElements>
    <a:clrScheme name="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OBC Presentation Template">
      <a:majorFont>
        <a:latin typeface="Calibri"/>
        <a:ea typeface="맑은 고딕"/>
        <a:cs typeface="Arial"/>
      </a:majorFont>
      <a:minorFont>
        <a:latin typeface="Calibri"/>
        <a:ea typeface="맑은 고딕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4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15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16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17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18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4_Default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Default Design">
      <a:majorFont>
        <a:latin typeface="Arial"/>
        <a:ea typeface="돋움"/>
        <a:cs typeface=""/>
      </a:majorFont>
      <a:minorFont>
        <a:latin typeface="Arial"/>
        <a:ea typeface="돋움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1">
              <a:lumMod val="65000"/>
              <a:lumOff val="3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돋움" pitchFamily="50" charset="-127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>
              <a:lumMod val="65000"/>
              <a:lumOff val="3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12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32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19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28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7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8.xml><?xml version="1.0" encoding="utf-8"?>
<a:theme xmlns:a="http://schemas.openxmlformats.org/drawingml/2006/main" name="20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9.xml><?xml version="1.0" encoding="utf-8"?>
<a:theme xmlns:a="http://schemas.openxmlformats.org/drawingml/2006/main" name="21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OBC Presentation Template">
  <a:themeElements>
    <a:clrScheme name="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OBC Presentation Template">
      <a:majorFont>
        <a:latin typeface="Calibri"/>
        <a:ea typeface="맑은 고딕"/>
        <a:cs typeface="Arial"/>
      </a:majorFont>
      <a:minorFont>
        <a:latin typeface="Calibri"/>
        <a:ea typeface="맑은 고딕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/>
        </a:solidFill>
        <a:ln>
          <a:noFill/>
        </a:ln>
        <a:effectLst>
          <a:prstShdw prst="shdw18" dist="17961" dir="13500000">
            <a:srgbClr val="FFFFFF">
              <a:gamma/>
              <a:shade val="60000"/>
              <a:invGamma/>
            </a:srgbClr>
          </a:prstShdw>
        </a:effectLst>
        <a:extLst>
          <a:ext uri="{91240B29-F687-4F45-9708-019B960494DF}">
            <a14:hiddenLine xmlns:a14="http://schemas.microsoft.com/office/drawing/2010/main" xmlns="" w="9525">
              <a:solidFill>
                <a:schemeClr val="bg2"/>
              </a:solidFill>
              <a:miter lim="800000"/>
              <a:headEnd/>
              <a:tailEnd/>
            </a14:hiddenLine>
          </a:ext>
        </a:extLst>
      </a:spPr>
      <a:bodyPr wrap="square" anchor="t" anchorCtr="0"/>
      <a:lstStyle>
        <a:defPPr marL="0" marR="0" indent="0" algn="l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100" b="0" i="0" u="none" strike="noStrike" kern="0" cap="none" spc="0" normalizeH="0" baseline="0" noProof="0" dirty="0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+mn-ea"/>
            <a:ea typeface="+mn-ea"/>
          </a:defRPr>
        </a:defPPr>
      </a:lstStyle>
    </a:spDef>
  </a:objectDefaults>
  <a:extraClrSchemeLst>
    <a:extraClrScheme>
      <a:clrScheme name="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0.xml><?xml version="1.0" encoding="utf-8"?>
<a:theme xmlns:a="http://schemas.openxmlformats.org/drawingml/2006/main" name="OBC Presentation Template">
  <a:themeElements>
    <a:clrScheme name="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OBC Presentation Template">
      <a:majorFont>
        <a:latin typeface="Calibri"/>
        <a:ea typeface="맑은 고딕"/>
        <a:cs typeface="Arial"/>
      </a:majorFont>
      <a:minorFont>
        <a:latin typeface="Calibri"/>
        <a:ea typeface="맑은 고딕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1.xml><?xml version="1.0" encoding="utf-8"?>
<a:theme xmlns:a="http://schemas.openxmlformats.org/drawingml/2006/main" name="22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2.xml><?xml version="1.0" encoding="utf-8"?>
<a:theme xmlns:a="http://schemas.openxmlformats.org/drawingml/2006/main" name="23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3.xml><?xml version="1.0" encoding="utf-8"?>
<a:theme xmlns:a="http://schemas.openxmlformats.org/drawingml/2006/main" name="24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4.xml><?xml version="1.0" encoding="utf-8"?>
<a:theme xmlns:a="http://schemas.openxmlformats.org/drawingml/2006/main" name="25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5.xml><?xml version="1.0" encoding="utf-8"?>
<a:theme xmlns:a="http://schemas.openxmlformats.org/drawingml/2006/main" name="26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6.xml><?xml version="1.0" encoding="utf-8"?>
<a:theme xmlns:a="http://schemas.openxmlformats.org/drawingml/2006/main" name="27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=""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=""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7.xml><?xml version="1.0" encoding="utf-8"?>
<a:theme xmlns:a="http://schemas.openxmlformats.org/drawingml/2006/main" name="28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=""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=""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8.xml><?xml version="1.0" encoding="utf-8"?>
<a:theme xmlns:a="http://schemas.openxmlformats.org/drawingml/2006/main" name="29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9.xml><?xml version="1.0" encoding="utf-8"?>
<a:theme xmlns:a="http://schemas.openxmlformats.org/drawingml/2006/main" name="30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1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0.xml><?xml version="1.0" encoding="utf-8"?>
<a:theme xmlns:a="http://schemas.openxmlformats.org/drawingml/2006/main" name="31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=""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=""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1.xml><?xml version="1.0" encoding="utf-8"?>
<a:theme xmlns:a="http://schemas.openxmlformats.org/drawingml/2006/main" name="32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=""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=""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2.xml><?xml version="1.0" encoding="utf-8"?>
<a:theme xmlns:a="http://schemas.openxmlformats.org/drawingml/2006/main" name="33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3.xml><?xml version="1.0" encoding="utf-8"?>
<a:theme xmlns:a="http://schemas.openxmlformats.org/drawingml/2006/main" name="34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4.xml><?xml version="1.0" encoding="utf-8"?>
<a:theme xmlns:a="http://schemas.openxmlformats.org/drawingml/2006/main" name="35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=""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=""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5.xml><?xml version="1.0" encoding="utf-8"?>
<a:theme xmlns:a="http://schemas.openxmlformats.org/drawingml/2006/main" name="36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=""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=""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6.xml><?xml version="1.0" encoding="utf-8"?>
<a:theme xmlns:a="http://schemas.openxmlformats.org/drawingml/2006/main" name="37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=""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=""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7.xml><?xml version="1.0" encoding="utf-8"?>
<a:theme xmlns:a="http://schemas.openxmlformats.org/drawingml/2006/main" name="38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=""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=""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8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9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4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7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8_OBC Presentation Template">
  <a:themeElements>
    <a:clrScheme name="1_OBC Presentation Template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OBC Presentation Template">
      <a:majorFont>
        <a:latin typeface="Calibri"/>
        <a:ea typeface="굴림"/>
        <a:cs typeface="Arial"/>
      </a:majorFont>
      <a:minorFont>
        <a:latin typeface="Calibri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u="none" dirty="0" smtClean="0"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ko-KR" altLang="en-US" sz="14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맑은 고딕" pitchFamily="50" charset="-127"/>
            <a:cs typeface="Arial" pitchFamily="34" charset="0"/>
          </a:defRPr>
        </a:defPPr>
      </a:lstStyle>
    </a:lnDef>
  </a:objectDefaults>
  <a:extraClrSchemeLst>
    <a:extraClrScheme>
      <a:clrScheme name="1_OBC 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BC Presentation Template 13">
        <a:dk1>
          <a:srgbClr val="C60C30"/>
        </a:dk1>
        <a:lt1>
          <a:srgbClr val="FFFFFF"/>
        </a:lt1>
        <a:dk2>
          <a:srgbClr val="FECB00"/>
        </a:dk2>
        <a:lt2>
          <a:srgbClr val="C2B59B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A90927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ADAFA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BC Presentation Template 14">
        <a:dk1>
          <a:srgbClr val="000000"/>
        </a:dk1>
        <a:lt1>
          <a:srgbClr val="FFFFFF"/>
        </a:lt1>
        <a:dk2>
          <a:srgbClr val="FECB00"/>
        </a:dk2>
        <a:lt2>
          <a:srgbClr val="B5ACA6"/>
        </a:lt2>
        <a:accent1>
          <a:srgbClr val="FFA02F"/>
        </a:accent1>
        <a:accent2>
          <a:srgbClr val="FF5800"/>
        </a:accent2>
        <a:accent3>
          <a:srgbClr val="FFFFFF"/>
        </a:accent3>
        <a:accent4>
          <a:srgbClr val="000000"/>
        </a:accent4>
        <a:accent5>
          <a:srgbClr val="FFCDAD"/>
        </a:accent5>
        <a:accent6>
          <a:srgbClr val="E74F00"/>
        </a:accent6>
        <a:hlink>
          <a:srgbClr val="513C40"/>
        </a:hlink>
        <a:folHlink>
          <a:srgbClr val="C60C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1407</TotalTime>
  <Words>4839</Words>
  <Application>Microsoft Office PowerPoint</Application>
  <PresentationFormat>A4 용지(210x297mm)</PresentationFormat>
  <Paragraphs>1686</Paragraphs>
  <Slides>53</Slides>
  <Notes>2</Notes>
  <HiddenSlides>0</HiddenSlides>
  <MMClips>0</MMClips>
  <ScaleCrop>false</ScaleCrop>
  <HeadingPairs>
    <vt:vector size="6" baseType="variant">
      <vt:variant>
        <vt:lpstr>테마</vt:lpstr>
      </vt:variant>
      <vt:variant>
        <vt:i4>47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53</vt:i4>
      </vt:variant>
    </vt:vector>
  </HeadingPairs>
  <TitlesOfParts>
    <vt:vector size="101" baseType="lpstr">
      <vt:lpstr>2_OBC Presentation Template</vt:lpstr>
      <vt:lpstr>3_OBC Presentation Template</vt:lpstr>
      <vt:lpstr>1_OBC Presentation Template</vt:lpstr>
      <vt:lpstr>11_디자인 사용자 지정</vt:lpstr>
      <vt:lpstr>4_OBC Presentation Template</vt:lpstr>
      <vt:lpstr>5_OBC Presentation Template</vt:lpstr>
      <vt:lpstr>6_OBC Presentation Template</vt:lpstr>
      <vt:lpstr>7_OBC Presentation Template</vt:lpstr>
      <vt:lpstr>8_OBC Presentation Template</vt:lpstr>
      <vt:lpstr>9_OBC Presentation Template</vt:lpstr>
      <vt:lpstr>10_OBC Presentation Template</vt:lpstr>
      <vt:lpstr>11_OBC Presentation Template</vt:lpstr>
      <vt:lpstr>12_OBC Presentation Template</vt:lpstr>
      <vt:lpstr>2_Default Design</vt:lpstr>
      <vt:lpstr>3_Default Design</vt:lpstr>
      <vt:lpstr>13_OBC Presentation Template</vt:lpstr>
      <vt:lpstr>14_OBC Presentation Template</vt:lpstr>
      <vt:lpstr>15_OBC Presentation Template</vt:lpstr>
      <vt:lpstr>16_OBC Presentation Template</vt:lpstr>
      <vt:lpstr>17_OBC Presentation Template</vt:lpstr>
      <vt:lpstr>18_OBC Presentation Template</vt:lpstr>
      <vt:lpstr>4_Default Design</vt:lpstr>
      <vt:lpstr>12_디자인 사용자 지정</vt:lpstr>
      <vt:lpstr>32_디자인 사용자 지정</vt:lpstr>
      <vt:lpstr>19_OBC Presentation Template</vt:lpstr>
      <vt:lpstr>28_디자인 사용자 지정</vt:lpstr>
      <vt:lpstr>디자인 사용자 지정</vt:lpstr>
      <vt:lpstr>20_OBC Presentation Template</vt:lpstr>
      <vt:lpstr>21_OBC Presentation Template</vt:lpstr>
      <vt:lpstr>OBC Presentation Template</vt:lpstr>
      <vt:lpstr>22_OBC Presentation Template</vt:lpstr>
      <vt:lpstr>23_OBC Presentation Template</vt:lpstr>
      <vt:lpstr>24_OBC Presentation Template</vt:lpstr>
      <vt:lpstr>25_OBC Presentation Template</vt:lpstr>
      <vt:lpstr>26_OBC Presentation Template</vt:lpstr>
      <vt:lpstr>27_OBC Presentation Template</vt:lpstr>
      <vt:lpstr>28_OBC Presentation Template</vt:lpstr>
      <vt:lpstr>29_OBC Presentation Template</vt:lpstr>
      <vt:lpstr>30_OBC Presentation Template</vt:lpstr>
      <vt:lpstr>31_OBC Presentation Template</vt:lpstr>
      <vt:lpstr>32_OBC Presentation Template</vt:lpstr>
      <vt:lpstr>33_OBC Presentation Template</vt:lpstr>
      <vt:lpstr>34_OBC Presentation Template</vt:lpstr>
      <vt:lpstr>35_OBC Presentation Template</vt:lpstr>
      <vt:lpstr>36_OBC Presentation Template</vt:lpstr>
      <vt:lpstr>37_OBC Presentation Template</vt:lpstr>
      <vt:lpstr>38_OBC Presentation Template</vt:lpstr>
      <vt:lpstr>수식</vt:lpstr>
      <vt:lpstr>OB Sales Forecasting</vt:lpstr>
      <vt:lpstr>Table of Contents</vt:lpstr>
      <vt:lpstr>추진 목적</vt:lpstr>
      <vt:lpstr>추진 일정</vt:lpstr>
      <vt:lpstr>추진 범위 – 요약</vt:lpstr>
      <vt:lpstr>Table of Contents</vt:lpstr>
      <vt:lpstr>모형 결과 – Claim 이슈 전∙후 모형 비교</vt:lpstr>
      <vt:lpstr>모형결과 – Summary (1)</vt:lpstr>
      <vt:lpstr>모형결과 – Summary (2)</vt:lpstr>
      <vt:lpstr>모형결과 – 회사전체 판매량 월별 예측 (1) Model Fitting</vt:lpstr>
      <vt:lpstr>모형결과 – 회사전체 판매량 주별 예측 (1) Model Fitting</vt:lpstr>
      <vt:lpstr>모형결과 – 회사전체 판매량 주별 예측 (2) Trend</vt:lpstr>
      <vt:lpstr>모형결과 – 회사전체 판매량 주별 예측 (3) Regression Equation</vt:lpstr>
      <vt:lpstr>모형결과 – 회사전체 판매량 주별 예측 (3) Regression Equation</vt:lpstr>
      <vt:lpstr>모형결과 – Cass Bottle 판매량 주별 예측 (1) Model Fitting</vt:lpstr>
      <vt:lpstr>모형결과 - Cass Bottle 판매량 주별 예측 (2) Trend</vt:lpstr>
      <vt:lpstr>모형결과 – Cass Bottle 판매량 주별 예측 (3) Regression Equation</vt:lpstr>
      <vt:lpstr>모형결과 – Cass Bottle 판매량 주별 예측 (3) Regression Equation</vt:lpstr>
      <vt:lpstr>모형결과 – Cass Can 판매량 주별 예측 (1) Model Fitting</vt:lpstr>
      <vt:lpstr>모형결과 - Cass Can 판매량 주별 예측 (2) Trend</vt:lpstr>
      <vt:lpstr>모형결과 – Cass Can 판매량 주별 예측 (3) Regression Equation</vt:lpstr>
      <vt:lpstr>모형결과 – Cass Can 판매량 주별 예측 (3) Regression Equation</vt:lpstr>
      <vt:lpstr>모형결과 – 회사전체 기온 Impact</vt:lpstr>
      <vt:lpstr>모형 구축방안 – 회귀 분석 모델링</vt:lpstr>
      <vt:lpstr>모형 구축방안 – 회귀 분석 모델링 ; 계속</vt:lpstr>
      <vt:lpstr>모형 구축방안 – 회귀 분석 모델링 ; 계속</vt:lpstr>
      <vt:lpstr>모형 구축방안 – 회귀 분석 모델링</vt:lpstr>
      <vt:lpstr>모형 구축방안 - Claim 이슈 후 모형 보정</vt:lpstr>
      <vt:lpstr>모델 구축방안 - Claim 이슈 후 모형 보정</vt:lpstr>
      <vt:lpstr>교육 및 유지보수 지원</vt:lpstr>
      <vt:lpstr>Table of Contents</vt:lpstr>
      <vt:lpstr>Table of Contents</vt:lpstr>
      <vt:lpstr>슬라이드 33</vt:lpstr>
      <vt:lpstr>슬라이드 34</vt:lpstr>
      <vt:lpstr>슬라이드 35</vt:lpstr>
      <vt:lpstr>슬라이드 36</vt:lpstr>
      <vt:lpstr>슬라이드 37</vt:lpstr>
      <vt:lpstr>슬라이드 38</vt:lpstr>
      <vt:lpstr>슬라이드 39</vt:lpstr>
      <vt:lpstr>슬라이드 40</vt:lpstr>
      <vt:lpstr>슬라이드 41</vt:lpstr>
      <vt:lpstr>슬라이드 42</vt:lpstr>
      <vt:lpstr>슬라이드 43</vt:lpstr>
      <vt:lpstr>슬라이드 44</vt:lpstr>
      <vt:lpstr>슬라이드 45</vt:lpstr>
      <vt:lpstr>슬라이드 46</vt:lpstr>
      <vt:lpstr>슬라이드 47</vt:lpstr>
      <vt:lpstr>슬라이드 48</vt:lpstr>
      <vt:lpstr>슬라이드 49</vt:lpstr>
      <vt:lpstr>슬라이드 50</vt:lpstr>
      <vt:lpstr>모형결과 – 회사전체 계절과 기온의 상관관계 분석</vt:lpstr>
      <vt:lpstr>모형 교육 – 교육 범위 및 일정</vt:lpstr>
      <vt:lpstr>감사합니다</vt:lpstr>
    </vt:vector>
  </TitlesOfParts>
  <Company>Oriental Brewery Co.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BC Monthly Report</dc:title>
  <dc:creator>Jiin.Kim</dc:creator>
  <cp:lastModifiedBy>76287</cp:lastModifiedBy>
  <cp:revision>6208</cp:revision>
  <cp:lastPrinted>2014-11-07T09:01:25Z</cp:lastPrinted>
  <dcterms:created xsi:type="dcterms:W3CDTF">2008-11-28T08:15:53Z</dcterms:created>
  <dcterms:modified xsi:type="dcterms:W3CDTF">2015-03-04T00:37:07Z</dcterms:modified>
</cp:coreProperties>
</file>